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fntdata" ContentType="application/x-fontdata"/>
  <Default Extension="vml" ContentType="application/vnd.openxmlformats-officedocument.vmlDrawing"/>
  <Default Extension="gif" ContentType="image/gif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theme/theme3.xml" ContentType="application/vnd.openxmlformats-officedocument.theme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theme/theme4.xml" ContentType="application/vnd.openxmlformats-officedocument.theme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theme/theme5.xml" ContentType="application/vnd.openxmlformats-officedocument.theme+xml"/>
  <Override PartName="/ppt/theme/theme6.xml" ContentType="application/vnd.openxmlformats-officedocument.theme+xml"/>
  <Override PartName="/ppt/theme/theme7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saveSubsetFonts="1" autoCompressPictures="0">
  <p:sldMasterIdLst>
    <p:sldMasterId id="2147483662" r:id="rId4"/>
    <p:sldMasterId id="2147483744" r:id="rId5"/>
    <p:sldMasterId id="2147483749" r:id="rId6"/>
    <p:sldMasterId id="2147483785" r:id="rId7"/>
    <p:sldMasterId id="2147483790" r:id="rId8"/>
  </p:sldMasterIdLst>
  <p:notesMasterIdLst>
    <p:notesMasterId r:id="rId44"/>
  </p:notesMasterIdLst>
  <p:handoutMasterIdLst>
    <p:handoutMasterId r:id="rId45"/>
  </p:handoutMasterIdLst>
  <p:sldIdLst>
    <p:sldId id="256" r:id="rId9"/>
    <p:sldId id="296" r:id="rId10"/>
    <p:sldId id="257" r:id="rId11"/>
    <p:sldId id="258" r:id="rId12"/>
    <p:sldId id="260" r:id="rId13"/>
    <p:sldId id="261" r:id="rId14"/>
    <p:sldId id="265" r:id="rId15"/>
    <p:sldId id="266" r:id="rId16"/>
    <p:sldId id="284" r:id="rId17"/>
    <p:sldId id="259" r:id="rId18"/>
    <p:sldId id="283" r:id="rId19"/>
    <p:sldId id="294" r:id="rId20"/>
    <p:sldId id="285" r:id="rId21"/>
    <p:sldId id="273" r:id="rId22"/>
    <p:sldId id="293" r:id="rId23"/>
    <p:sldId id="292" r:id="rId24"/>
    <p:sldId id="289" r:id="rId25"/>
    <p:sldId id="290" r:id="rId26"/>
    <p:sldId id="288" r:id="rId27"/>
    <p:sldId id="262" r:id="rId28"/>
    <p:sldId id="264" r:id="rId29"/>
    <p:sldId id="263" r:id="rId30"/>
    <p:sldId id="267" r:id="rId31"/>
    <p:sldId id="269" r:id="rId32"/>
    <p:sldId id="270" r:id="rId33"/>
    <p:sldId id="275" r:id="rId34"/>
    <p:sldId id="276" r:id="rId35"/>
    <p:sldId id="282" r:id="rId36"/>
    <p:sldId id="281" r:id="rId37"/>
    <p:sldId id="277" r:id="rId38"/>
    <p:sldId id="278" r:id="rId39"/>
    <p:sldId id="279" r:id="rId40"/>
    <p:sldId id="287" r:id="rId41"/>
    <p:sldId id="291" r:id="rId42"/>
    <p:sldId id="295" r:id="rId43"/>
  </p:sldIdLst>
  <p:sldSz cx="9906000" cy="6858000" type="A4"/>
  <p:notesSz cx="6858000" cy="9144000"/>
  <p:embeddedFontLst>
    <p:embeddedFont>
      <p:font typeface="ING Me" panose="02000506040000020004" pitchFamily="2" charset="0"/>
      <p:regular r:id="rId46"/>
      <p:bold r:id="rId47"/>
      <p:italic r:id="rId48"/>
      <p:boldItalic r:id="rId49"/>
    </p:embeddedFont>
    <p:embeddedFont>
      <p:font typeface="ＭＳ Ｐゴシック" panose="020B0600070205080204" pitchFamily="34" charset="-128"/>
      <p:regular r:id="rId50"/>
    </p:embeddedFont>
    <p:embeddedFont>
      <p:font typeface="Arial Unicode MS" panose="020B0604020202020204" pitchFamily="34" charset="-128"/>
      <p:regular r:id="rId51"/>
    </p:embeddedFont>
  </p:embeddedFontLst>
  <p:custDataLst>
    <p:tags r:id="rId52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2341" userDrawn="1">
          <p15:clr>
            <a:srgbClr val="A4A3A4"/>
          </p15:clr>
        </p15:guide>
        <p15:guide id="2" orient="horz" pos="813">
          <p15:clr>
            <a:srgbClr val="A4A3A4"/>
          </p15:clr>
        </p15:guide>
        <p15:guide id="3" orient="horz" pos="725">
          <p15:clr>
            <a:srgbClr val="A4A3A4"/>
          </p15:clr>
        </p15:guide>
        <p15:guide id="4" orient="horz" pos="181">
          <p15:clr>
            <a:srgbClr val="A4A3A4"/>
          </p15:clr>
        </p15:guide>
        <p15:guide id="5" orient="horz" pos="3917">
          <p15:clr>
            <a:srgbClr val="A4A3A4"/>
          </p15:clr>
        </p15:guide>
        <p15:guide id="6" pos="3840">
          <p15:clr>
            <a:srgbClr val="A4A3A4"/>
          </p15:clr>
        </p15:guide>
        <p15:guide id="7" pos="7160">
          <p15:clr>
            <a:srgbClr val="A4A3A4"/>
          </p15:clr>
        </p15:guide>
        <p15:guide id="8" pos="544">
          <p15:clr>
            <a:srgbClr val="A4A3A4"/>
          </p15:clr>
        </p15:guide>
        <p15:guide id="9" pos="7509">
          <p15:clr>
            <a:srgbClr val="A4A3A4"/>
          </p15:clr>
        </p15:guide>
        <p15:guide id="10" pos="449">
          <p15:clr>
            <a:srgbClr val="A4A3A4"/>
          </p15:clr>
        </p15:guide>
        <p15:guide id="11" pos="3726">
          <p15:clr>
            <a:srgbClr val="A4A3A4"/>
          </p15:clr>
        </p15:guide>
        <p15:guide id="12" pos="3962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 xmlns="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clrMru>
    <a:srgbClr val="349651"/>
    <a:srgbClr val="E9E9E9"/>
    <a:srgbClr val="FF6200"/>
    <a:srgbClr val="FDFDFD"/>
    <a:srgbClr val="C90068"/>
    <a:srgbClr val="17A7DC"/>
    <a:srgbClr val="A8A8A8"/>
    <a:srgbClr val="CFDA1E"/>
    <a:srgbClr val="53509E"/>
    <a:srgbClr val="00974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150"/>
    </p:ext>
    <p:ext uri="{FD5EFAAD-0ECE-453E-9831-46B23BE46B34}">
      <p15:chartTrackingRefBased xmlns:p15="http://schemas.microsoft.com/office/powerpoint/2012/main" xmlns="" val="1"/>
    </p:ext>
  </p:extLst>
</p:presentationPr>
</file>

<file path=ppt/tableStyles.xml><?xml version="1.0" encoding="utf-8"?>
<a:tblStyleLst xmlns:a="http://schemas.openxmlformats.org/drawingml/2006/main" def="{69012ECD-51FC-41F1-AA8D-1B2483CD663E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72833802-FEF1-4C79-8D5D-14CF1EAF98D9}" styleName="Light Style 2 - Accent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236" autoAdjust="0"/>
    <p:restoredTop sz="90698" autoAdjust="0"/>
  </p:normalViewPr>
  <p:slideViewPr>
    <p:cSldViewPr snapToGrid="0" showGuides="1">
      <p:cViewPr>
        <p:scale>
          <a:sx n="75" d="100"/>
          <a:sy n="75" d="100"/>
        </p:scale>
        <p:origin x="-1656" y="-210"/>
      </p:cViewPr>
      <p:guideLst>
        <p:guide orient="horz" pos="2341"/>
        <p:guide orient="horz" pos="813"/>
        <p:guide orient="horz" pos="725"/>
        <p:guide orient="horz" pos="181"/>
        <p:guide orient="horz" pos="3917"/>
        <p:guide pos="3120"/>
        <p:guide pos="5818"/>
        <p:guide pos="442"/>
        <p:guide pos="6101"/>
        <p:guide pos="365"/>
        <p:guide pos="3027"/>
        <p:guide pos="3219"/>
      </p:guideLst>
    </p:cSldViewPr>
  </p:slideViewPr>
  <p:outlineViewPr>
    <p:cViewPr>
      <p:scale>
        <a:sx n="33" d="100"/>
        <a:sy n="33" d="100"/>
      </p:scale>
      <p:origin x="0" y="-31278"/>
    </p:cViewPr>
  </p:outlineViewPr>
  <p:notesTextViewPr>
    <p:cViewPr>
      <p:scale>
        <a:sx n="75" d="100"/>
        <a:sy n="75" d="100"/>
      </p:scale>
      <p:origin x="0" y="0"/>
    </p:cViewPr>
  </p:notesTextViewPr>
  <p:sorterViewPr>
    <p:cViewPr>
      <p:scale>
        <a:sx n="60" d="100"/>
        <a:sy n="60" d="100"/>
      </p:scale>
      <p:origin x="0" y="3414"/>
    </p:cViewPr>
  </p:sorterViewPr>
  <p:notesViewPr>
    <p:cSldViewPr snapToGrid="0" showGuides="1">
      <p:cViewPr varScale="1">
        <p:scale>
          <a:sx n="95" d="100"/>
          <a:sy n="95" d="100"/>
        </p:scale>
        <p:origin x="2664" y="96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5.xml"/><Relationship Id="rId18" Type="http://schemas.openxmlformats.org/officeDocument/2006/relationships/slide" Target="slides/slide10.xml"/><Relationship Id="rId26" Type="http://schemas.openxmlformats.org/officeDocument/2006/relationships/slide" Target="slides/slide18.xml"/><Relationship Id="rId39" Type="http://schemas.openxmlformats.org/officeDocument/2006/relationships/slide" Target="slides/slide31.xml"/><Relationship Id="rId21" Type="http://schemas.openxmlformats.org/officeDocument/2006/relationships/slide" Target="slides/slide13.xml"/><Relationship Id="rId34" Type="http://schemas.openxmlformats.org/officeDocument/2006/relationships/slide" Target="slides/slide26.xml"/><Relationship Id="rId42" Type="http://schemas.openxmlformats.org/officeDocument/2006/relationships/slide" Target="slides/slide34.xml"/><Relationship Id="rId47" Type="http://schemas.openxmlformats.org/officeDocument/2006/relationships/font" Target="fonts/font2.fntdata"/><Relationship Id="rId50" Type="http://schemas.openxmlformats.org/officeDocument/2006/relationships/font" Target="fonts/font5.fntdata"/><Relationship Id="rId55" Type="http://schemas.openxmlformats.org/officeDocument/2006/relationships/theme" Target="theme/theme1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4.xml"/><Relationship Id="rId17" Type="http://schemas.openxmlformats.org/officeDocument/2006/relationships/slide" Target="slides/slide9.xml"/><Relationship Id="rId25" Type="http://schemas.openxmlformats.org/officeDocument/2006/relationships/slide" Target="slides/slide17.xml"/><Relationship Id="rId33" Type="http://schemas.openxmlformats.org/officeDocument/2006/relationships/slide" Target="slides/slide25.xml"/><Relationship Id="rId38" Type="http://schemas.openxmlformats.org/officeDocument/2006/relationships/slide" Target="slides/slide30.xml"/><Relationship Id="rId46" Type="http://schemas.openxmlformats.org/officeDocument/2006/relationships/font" Target="fonts/font1.fntdata"/><Relationship Id="rId2" Type="http://schemas.openxmlformats.org/officeDocument/2006/relationships/customXml" Target="../customXml/item2.xml"/><Relationship Id="rId16" Type="http://schemas.openxmlformats.org/officeDocument/2006/relationships/slide" Target="slides/slide8.xml"/><Relationship Id="rId20" Type="http://schemas.openxmlformats.org/officeDocument/2006/relationships/slide" Target="slides/slide12.xml"/><Relationship Id="rId29" Type="http://schemas.openxmlformats.org/officeDocument/2006/relationships/slide" Target="slides/slide21.xml"/><Relationship Id="rId41" Type="http://schemas.openxmlformats.org/officeDocument/2006/relationships/slide" Target="slides/slide33.xml"/><Relationship Id="rId54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3.xml"/><Relationship Id="rId24" Type="http://schemas.openxmlformats.org/officeDocument/2006/relationships/slide" Target="slides/slide16.xml"/><Relationship Id="rId32" Type="http://schemas.openxmlformats.org/officeDocument/2006/relationships/slide" Target="slides/slide24.xml"/><Relationship Id="rId37" Type="http://schemas.openxmlformats.org/officeDocument/2006/relationships/slide" Target="slides/slide29.xml"/><Relationship Id="rId40" Type="http://schemas.openxmlformats.org/officeDocument/2006/relationships/slide" Target="slides/slide32.xml"/><Relationship Id="rId45" Type="http://schemas.openxmlformats.org/officeDocument/2006/relationships/handoutMaster" Target="handoutMasters/handoutMaster1.xml"/><Relationship Id="rId53" Type="http://schemas.openxmlformats.org/officeDocument/2006/relationships/presProps" Target="presProp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7.xml"/><Relationship Id="rId23" Type="http://schemas.openxmlformats.org/officeDocument/2006/relationships/slide" Target="slides/slide15.xml"/><Relationship Id="rId28" Type="http://schemas.openxmlformats.org/officeDocument/2006/relationships/slide" Target="slides/slide20.xml"/><Relationship Id="rId36" Type="http://schemas.openxmlformats.org/officeDocument/2006/relationships/slide" Target="slides/slide28.xml"/><Relationship Id="rId49" Type="http://schemas.openxmlformats.org/officeDocument/2006/relationships/font" Target="fonts/font4.fntdata"/><Relationship Id="rId10" Type="http://schemas.openxmlformats.org/officeDocument/2006/relationships/slide" Target="slides/slide2.xml"/><Relationship Id="rId19" Type="http://schemas.openxmlformats.org/officeDocument/2006/relationships/slide" Target="slides/slide11.xml"/><Relationship Id="rId31" Type="http://schemas.openxmlformats.org/officeDocument/2006/relationships/slide" Target="slides/slide23.xml"/><Relationship Id="rId44" Type="http://schemas.openxmlformats.org/officeDocument/2006/relationships/notesMaster" Target="notesMasters/notesMaster1.xml"/><Relationship Id="rId52" Type="http://schemas.openxmlformats.org/officeDocument/2006/relationships/tags" Target="tags/tag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1.xml"/><Relationship Id="rId14" Type="http://schemas.openxmlformats.org/officeDocument/2006/relationships/slide" Target="slides/slide6.xml"/><Relationship Id="rId22" Type="http://schemas.openxmlformats.org/officeDocument/2006/relationships/slide" Target="slides/slide14.xml"/><Relationship Id="rId27" Type="http://schemas.openxmlformats.org/officeDocument/2006/relationships/slide" Target="slides/slide19.xml"/><Relationship Id="rId30" Type="http://schemas.openxmlformats.org/officeDocument/2006/relationships/slide" Target="slides/slide22.xml"/><Relationship Id="rId35" Type="http://schemas.openxmlformats.org/officeDocument/2006/relationships/slide" Target="slides/slide27.xml"/><Relationship Id="rId43" Type="http://schemas.openxmlformats.org/officeDocument/2006/relationships/slide" Target="slides/slide35.xml"/><Relationship Id="rId48" Type="http://schemas.openxmlformats.org/officeDocument/2006/relationships/font" Target="fonts/font3.fntdata"/><Relationship Id="rId56" Type="http://schemas.openxmlformats.org/officeDocument/2006/relationships/tableStyles" Target="tableStyles.xml"/><Relationship Id="rId8" Type="http://schemas.openxmlformats.org/officeDocument/2006/relationships/slideMaster" Target="slideMasters/slideMaster5.xml"/><Relationship Id="rId51" Type="http://schemas.openxmlformats.org/officeDocument/2006/relationships/font" Target="fonts/font6.fntdata"/><Relationship Id="rId3" Type="http://schemas.openxmlformats.org/officeDocument/2006/relationships/customXml" Target="../customXml/item3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>
              <a:latin typeface="ING Me" pitchFamily="2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49DD6AA-DA07-4B49-84C4-DD15DC5E0A8E}" type="datetimeFigureOut">
              <a:rPr lang="en-GB" smtClean="0">
                <a:latin typeface="ING Me" pitchFamily="2" charset="0"/>
              </a:rPr>
              <a:t>17/05/2016</a:t>
            </a:fld>
            <a:endParaRPr lang="en-GB">
              <a:latin typeface="ING Me" pitchFamily="2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>
              <a:latin typeface="ING Me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9527329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-1" y="0"/>
            <a:ext cx="5651999" cy="3240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000">
                <a:latin typeface="+mn-lt"/>
              </a:defRPr>
            </a:lvl1pPr>
          </a:lstStyle>
          <a:p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5778000" y="0"/>
            <a:ext cx="1080000" cy="3240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000">
                <a:latin typeface="+mn-lt"/>
              </a:defRPr>
            </a:lvl1pPr>
          </a:lstStyle>
          <a:p>
            <a:fld id="{B6962210-35F6-42EB-A3B8-FCE6E13B30BA}" type="datetimeFigureOut">
              <a:rPr lang="en-GB" smtClean="0"/>
              <a:pPr/>
              <a:t>17/05/2016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200150" y="685800"/>
            <a:ext cx="44577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3943349"/>
            <a:ext cx="5486400" cy="4741863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-1" y="8856661"/>
            <a:ext cx="5652000" cy="252000"/>
          </a:xfrm>
          <a:prstGeom prst="rect">
            <a:avLst/>
          </a:prstGeom>
        </p:spPr>
        <p:txBody>
          <a:bodyPr vert="horz" lIns="91440" tIns="45720" rIns="91440" bIns="45720" rtlCol="0" anchor="t" anchorCtr="0"/>
          <a:lstStyle>
            <a:lvl1pPr algn="l">
              <a:defRPr sz="1000">
                <a:latin typeface="+mn-lt"/>
              </a:defRPr>
            </a:lvl1pPr>
          </a:lstStyle>
          <a:p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5778000" y="8856661"/>
            <a:ext cx="1080000" cy="252000"/>
          </a:xfrm>
          <a:prstGeom prst="rect">
            <a:avLst/>
          </a:prstGeom>
        </p:spPr>
        <p:txBody>
          <a:bodyPr vert="horz" lIns="91440" tIns="45720" rIns="91440" bIns="45720" rtlCol="0" anchor="t" anchorCtr="0"/>
          <a:lstStyle>
            <a:lvl1pPr algn="r">
              <a:defRPr sz="1000">
                <a:latin typeface="+mn-lt"/>
              </a:defRPr>
            </a:lvl1pPr>
          </a:lstStyle>
          <a:p>
            <a:fld id="{E762DFE1-544E-4AD0-8AE2-9ADF9877B110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0833784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lnSpc>
        <a:spcPct val="110000"/>
      </a:lnSpc>
      <a:defRPr sz="1000" kern="1200">
        <a:solidFill>
          <a:schemeClr val="tx1"/>
        </a:solidFill>
        <a:latin typeface="+mn-lt"/>
        <a:ea typeface="+mn-ea"/>
        <a:cs typeface="+mn-cs"/>
      </a:defRPr>
    </a:lvl1pPr>
    <a:lvl2pPr marL="174625" indent="-174625" algn="l" defTabSz="914400" rtl="0" eaLnBrk="1" latinLnBrk="0" hangingPunct="1">
      <a:lnSpc>
        <a:spcPct val="110000"/>
      </a:lnSpc>
      <a:buFont typeface="ING Me" pitchFamily="2" charset="0"/>
      <a:buChar char="•"/>
      <a:defRPr sz="1000" kern="1200">
        <a:solidFill>
          <a:schemeClr val="tx1"/>
        </a:solidFill>
        <a:latin typeface="ING Me" pitchFamily="2" charset="0"/>
        <a:ea typeface="+mn-ea"/>
        <a:cs typeface="+mn-cs"/>
      </a:defRPr>
    </a:lvl2pPr>
    <a:lvl3pPr marL="360363" indent="-174625" algn="l" defTabSz="914400" rtl="0" eaLnBrk="1" latinLnBrk="0" hangingPunct="1">
      <a:lnSpc>
        <a:spcPct val="110000"/>
      </a:lnSpc>
      <a:buFont typeface="ING Me" pitchFamily="2" charset="0"/>
      <a:buChar char="•"/>
      <a:defRPr sz="1000" kern="1200">
        <a:solidFill>
          <a:schemeClr val="tx1"/>
        </a:solidFill>
        <a:latin typeface="ING Me" pitchFamily="2" charset="0"/>
        <a:ea typeface="+mn-ea"/>
        <a:cs typeface="+mn-cs"/>
      </a:defRPr>
    </a:lvl3pPr>
    <a:lvl4pPr marL="534988" indent="-174625" algn="l" defTabSz="914400" rtl="0" eaLnBrk="1" latinLnBrk="0" hangingPunct="1">
      <a:lnSpc>
        <a:spcPct val="110000"/>
      </a:lnSpc>
      <a:buFont typeface="ING Me" pitchFamily="2" charset="0"/>
      <a:buChar char="•"/>
      <a:defRPr sz="1000" kern="1200">
        <a:solidFill>
          <a:schemeClr val="tx1"/>
        </a:solidFill>
        <a:latin typeface="ING Me" pitchFamily="2" charset="0"/>
        <a:ea typeface="+mn-ea"/>
        <a:cs typeface="+mn-cs"/>
      </a:defRPr>
    </a:lvl4pPr>
    <a:lvl5pPr marL="719138" indent="-174625" algn="l" defTabSz="914400" rtl="0" eaLnBrk="1" latinLnBrk="0" hangingPunct="1">
      <a:lnSpc>
        <a:spcPct val="110000"/>
      </a:lnSpc>
      <a:buFont typeface="ING Me" pitchFamily="2" charset="0"/>
      <a:buChar char="•"/>
      <a:defRPr sz="1000" kern="1200">
        <a:solidFill>
          <a:schemeClr val="tx1"/>
        </a:solidFill>
        <a:latin typeface="ING Me" pitchFamily="2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.emf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.emf"/></Relationships>
</file>

<file path=ppt/slideLayouts/_rels/slideLayout1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5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.emf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7.png"/><Relationship Id="rId2" Type="http://schemas.openxmlformats.org/officeDocument/2006/relationships/tags" Target="../tags/tag18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6.png"/><Relationship Id="rId5" Type="http://schemas.openxmlformats.org/officeDocument/2006/relationships/image" Target="../media/image8.emf"/><Relationship Id="rId4" Type="http://schemas.openxmlformats.org/officeDocument/2006/relationships/oleObject" Target="../embeddings/oleObject2.bin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1.emf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1.emf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1.emf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1.emf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3.xml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7.png"/><Relationship Id="rId2" Type="http://schemas.openxmlformats.org/officeDocument/2006/relationships/tags" Target="../tags/tag3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6.png"/><Relationship Id="rId5" Type="http://schemas.openxmlformats.org/officeDocument/2006/relationships/image" Target="../media/image8.emf"/><Relationship Id="rId4" Type="http://schemas.openxmlformats.org/officeDocument/2006/relationships/oleObject" Target="../embeddings/oleObject4.bin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5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5.xml"/></Relationships>
</file>

<file path=ppt/slideLayouts/_rels/slideLayout8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5.xml"/></Relationships>
</file>

<file path=ppt/slideLayouts/_rels/slideLayout8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5.xml"/></Relationships>
</file>

<file path=ppt/slideLayouts/_rels/slideLayout8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1.emf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1.emf"/></Relationships>
</file>

<file path=ppt/slideLayouts/_rels/slideLayout8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1.emf"/></Relationships>
</file>

<file path=ppt/slideLayouts/_rels/slideLayout8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1.emf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.emf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5.xml"/></Relationships>
</file>

<file path=ppt/slideLayouts/_rels/slideLayout9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5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dia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4" name="Group 43"/>
          <p:cNvGrpSpPr/>
          <p:nvPr userDrawn="1"/>
        </p:nvGrpSpPr>
        <p:grpSpPr bwMode="gray">
          <a:xfrm>
            <a:off x="1" y="1643202"/>
            <a:ext cx="9213354" cy="3055937"/>
            <a:chOff x="409575" y="3144838"/>
            <a:chExt cx="11339513" cy="3055937"/>
          </a:xfrm>
        </p:grpSpPr>
        <p:sp>
          <p:nvSpPr>
            <p:cNvPr id="45" name="Freeform 5"/>
            <p:cNvSpPr>
              <a:spLocks/>
            </p:cNvSpPr>
            <p:nvPr/>
          </p:nvSpPr>
          <p:spPr bwMode="gray">
            <a:xfrm>
              <a:off x="409575" y="5521325"/>
              <a:ext cx="11339513" cy="679450"/>
            </a:xfrm>
            <a:custGeom>
              <a:avLst/>
              <a:gdLst>
                <a:gd name="T0" fmla="*/ 0 w 2680"/>
                <a:gd name="T1" fmla="*/ 0 h 160"/>
                <a:gd name="T2" fmla="*/ 0 w 2680"/>
                <a:gd name="T3" fmla="*/ 160 h 160"/>
                <a:gd name="T4" fmla="*/ 2656 w 2680"/>
                <a:gd name="T5" fmla="*/ 160 h 160"/>
                <a:gd name="T6" fmla="*/ 2680 w 2680"/>
                <a:gd name="T7" fmla="*/ 136 h 160"/>
                <a:gd name="T8" fmla="*/ 2680 w 2680"/>
                <a:gd name="T9" fmla="*/ 0 h 160"/>
                <a:gd name="T10" fmla="*/ 0 w 2680"/>
                <a:gd name="T11" fmla="*/ 0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80" h="160">
                  <a:moveTo>
                    <a:pt x="0" y="0"/>
                  </a:moveTo>
                  <a:cubicBezTo>
                    <a:pt x="0" y="160"/>
                    <a:pt x="0" y="160"/>
                    <a:pt x="0" y="160"/>
                  </a:cubicBezTo>
                  <a:cubicBezTo>
                    <a:pt x="2656" y="160"/>
                    <a:pt x="2656" y="160"/>
                    <a:pt x="2656" y="160"/>
                  </a:cubicBezTo>
                  <a:cubicBezTo>
                    <a:pt x="2656" y="160"/>
                    <a:pt x="2680" y="160"/>
                    <a:pt x="2680" y="136"/>
                  </a:cubicBezTo>
                  <a:cubicBezTo>
                    <a:pt x="2680" y="0"/>
                    <a:pt x="2680" y="0"/>
                    <a:pt x="2680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EAEAE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6" name="Freeform 6"/>
            <p:cNvSpPr>
              <a:spLocks/>
            </p:cNvSpPr>
            <p:nvPr/>
          </p:nvSpPr>
          <p:spPr bwMode="gray">
            <a:xfrm>
              <a:off x="409575" y="3144838"/>
              <a:ext cx="11339513" cy="2376487"/>
            </a:xfrm>
            <a:custGeom>
              <a:avLst/>
              <a:gdLst>
                <a:gd name="T0" fmla="*/ 0 w 2680"/>
                <a:gd name="T1" fmla="*/ 0 h 560"/>
                <a:gd name="T2" fmla="*/ 0 w 2680"/>
                <a:gd name="T3" fmla="*/ 560 h 560"/>
                <a:gd name="T4" fmla="*/ 2680 w 2680"/>
                <a:gd name="T5" fmla="*/ 560 h 560"/>
                <a:gd name="T6" fmla="*/ 2680 w 2680"/>
                <a:gd name="T7" fmla="*/ 24 h 560"/>
                <a:gd name="T8" fmla="*/ 2656 w 2680"/>
                <a:gd name="T9" fmla="*/ 0 h 560"/>
                <a:gd name="T10" fmla="*/ 0 w 2680"/>
                <a:gd name="T11" fmla="*/ 0 h 5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80" h="560">
                  <a:moveTo>
                    <a:pt x="0" y="0"/>
                  </a:moveTo>
                  <a:cubicBezTo>
                    <a:pt x="0" y="560"/>
                    <a:pt x="0" y="560"/>
                    <a:pt x="0" y="560"/>
                  </a:cubicBezTo>
                  <a:cubicBezTo>
                    <a:pt x="2680" y="560"/>
                    <a:pt x="2680" y="560"/>
                    <a:pt x="2680" y="560"/>
                  </a:cubicBezTo>
                  <a:cubicBezTo>
                    <a:pt x="2680" y="24"/>
                    <a:pt x="2680" y="24"/>
                    <a:pt x="2680" y="24"/>
                  </a:cubicBezTo>
                  <a:cubicBezTo>
                    <a:pt x="2680" y="24"/>
                    <a:pt x="2680" y="0"/>
                    <a:pt x="2656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F62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8" name="Rectangle 7"/>
          <p:cNvSpPr/>
          <p:nvPr userDrawn="1"/>
        </p:nvSpPr>
        <p:spPr bwMode="gray">
          <a:xfrm>
            <a:off x="2" y="6024880"/>
            <a:ext cx="9904532" cy="8331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2400"/>
          </a:p>
        </p:txBody>
      </p:sp>
      <p:sp>
        <p:nvSpPr>
          <p:cNvPr id="25" name="Title 1"/>
          <p:cNvSpPr>
            <a:spLocks noGrp="1"/>
          </p:cNvSpPr>
          <p:nvPr>
            <p:ph type="ctrTitle"/>
          </p:nvPr>
        </p:nvSpPr>
        <p:spPr bwMode="gray">
          <a:xfrm>
            <a:off x="684477" y="2116803"/>
            <a:ext cx="8379482" cy="1227573"/>
          </a:xfrm>
        </p:spPr>
        <p:txBody>
          <a:bodyPr anchor="ctr" anchorCtr="0">
            <a:noAutofit/>
          </a:bodyPr>
          <a:lstStyle>
            <a:lvl1pPr algn="l">
              <a:lnSpc>
                <a:spcPts val="4600"/>
              </a:lnSpc>
              <a:defRPr sz="4600">
                <a:solidFill>
                  <a:schemeClr val="bg1"/>
                </a:solidFill>
              </a:defRPr>
            </a:lvl1pPr>
          </a:lstStyle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  <p:sp>
        <p:nvSpPr>
          <p:cNvPr id="26" name="Subtitle 2"/>
          <p:cNvSpPr>
            <a:spLocks noGrp="1"/>
          </p:cNvSpPr>
          <p:nvPr>
            <p:ph type="subTitle" idx="1"/>
          </p:nvPr>
        </p:nvSpPr>
        <p:spPr bwMode="gray">
          <a:xfrm>
            <a:off x="684477" y="4240704"/>
            <a:ext cx="5754721" cy="306798"/>
          </a:xfrm>
        </p:spPr>
        <p:txBody>
          <a:bodyPr anchor="ctr" anchorCtr="0">
            <a:noAutofit/>
          </a:bodyPr>
          <a:lstStyle>
            <a:lvl1pPr marL="0" indent="0" algn="l">
              <a:lnSpc>
                <a:spcPts val="2200"/>
              </a:lnSpc>
              <a:buNone/>
              <a:defRPr sz="2000" b="0" i="0"/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nl-NL" noProof="0" smtClean="0"/>
              <a:t>Klik om de ondertitelstijl van het model te bewerken</a:t>
            </a:r>
            <a:endParaRPr lang="en-GB" noProof="0" dirty="0"/>
          </a:p>
        </p:txBody>
      </p:sp>
      <p:sp>
        <p:nvSpPr>
          <p:cNvPr id="27" name="Text Placeholder 6"/>
          <p:cNvSpPr>
            <a:spLocks noGrp="1"/>
          </p:cNvSpPr>
          <p:nvPr>
            <p:ph type="body" sz="quarter" idx="11"/>
          </p:nvPr>
        </p:nvSpPr>
        <p:spPr bwMode="gray">
          <a:xfrm>
            <a:off x="684451" y="3556803"/>
            <a:ext cx="8373361" cy="385233"/>
          </a:xfrm>
        </p:spPr>
        <p:txBody>
          <a:bodyPr>
            <a:noAutofit/>
          </a:bodyPr>
          <a:lstStyle>
            <a:lvl1pPr>
              <a:lnSpc>
                <a:spcPts val="2200"/>
              </a:lnSpc>
              <a:defRPr sz="220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noProof="0" smtClean="0"/>
              <a:t>Klik om de modelstijlen te bewerken</a:t>
            </a:r>
          </a:p>
        </p:txBody>
      </p:sp>
      <p:sp>
        <p:nvSpPr>
          <p:cNvPr id="23" name="Picture Placeholder 2"/>
          <p:cNvSpPr>
            <a:spLocks noGrp="1"/>
          </p:cNvSpPr>
          <p:nvPr>
            <p:ph type="pic" sz="quarter" idx="13" hasCustomPrompt="1"/>
          </p:nvPr>
        </p:nvSpPr>
        <p:spPr>
          <a:xfrm>
            <a:off x="681038" y="5242064"/>
            <a:ext cx="1784250" cy="1318571"/>
          </a:xfrm>
        </p:spPr>
        <p:txBody>
          <a:bodyPr lIns="0" anchor="ctr" anchorCtr="0"/>
          <a:lstStyle>
            <a:lvl1pPr algn="l">
              <a:lnSpc>
                <a:spcPct val="100000"/>
              </a:lnSpc>
              <a:defRPr sz="900" b="0"/>
            </a:lvl1pPr>
          </a:lstStyle>
          <a:p>
            <a:r>
              <a:rPr lang="en-GB" dirty="0" smtClean="0"/>
              <a:t>Click to insert project logo</a:t>
            </a:r>
            <a:endParaRPr lang="en-GB" dirty="0"/>
          </a:p>
        </p:txBody>
      </p:sp>
      <p:pic>
        <p:nvPicPr>
          <p:cNvPr id="38" name="Picture 37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428199" y="6203775"/>
            <a:ext cx="1233535" cy="378000"/>
          </a:xfrm>
          <a:prstGeom prst="rect">
            <a:avLst/>
          </a:prstGeom>
        </p:spPr>
      </p:pic>
      <p:cxnSp>
        <p:nvCxnSpPr>
          <p:cNvPr id="13" name="Straight Connector 12"/>
          <p:cNvCxnSpPr/>
          <p:nvPr userDrawn="1"/>
        </p:nvCxnSpPr>
        <p:spPr>
          <a:xfrm>
            <a:off x="681038" y="6953250"/>
            <a:ext cx="0" cy="360000"/>
          </a:xfrm>
          <a:prstGeom prst="line">
            <a:avLst/>
          </a:prstGeom>
          <a:ln>
            <a:head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>
            <a:off x="2449809" y="6953250"/>
            <a:ext cx="0" cy="36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/>
          <p:cNvCxnSpPr/>
          <p:nvPr userDrawn="1"/>
        </p:nvCxnSpPr>
        <p:spPr>
          <a:xfrm>
            <a:off x="-346674" y="6559200"/>
            <a:ext cx="292500" cy="0"/>
          </a:xfrm>
          <a:prstGeom prst="line">
            <a:avLst/>
          </a:prstGeom>
          <a:ln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/>
          <p:cNvCxnSpPr/>
          <p:nvPr userDrawn="1"/>
        </p:nvCxnSpPr>
        <p:spPr>
          <a:xfrm>
            <a:off x="-346674" y="6200775"/>
            <a:ext cx="292500" cy="0"/>
          </a:xfrm>
          <a:prstGeom prst="line">
            <a:avLst/>
          </a:prstGeom>
          <a:ln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extBox 20"/>
          <p:cNvSpPr txBox="1"/>
          <p:nvPr userDrawn="1"/>
        </p:nvSpPr>
        <p:spPr>
          <a:xfrm>
            <a:off x="980423" y="7019958"/>
            <a:ext cx="1170000" cy="226591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ctr"/>
            <a:r>
              <a:rPr lang="en-GB" sz="1000" smtClean="0"/>
              <a:t>Max.</a:t>
            </a:r>
            <a:r>
              <a:rPr lang="en-GB" sz="1000" baseline="0" smtClean="0"/>
              <a:t> width</a:t>
            </a:r>
            <a:endParaRPr lang="en-GB" sz="1000" smtClean="0"/>
          </a:p>
        </p:txBody>
      </p:sp>
      <p:sp>
        <p:nvSpPr>
          <p:cNvPr id="22" name="TextBox 21"/>
          <p:cNvSpPr txBox="1"/>
          <p:nvPr userDrawn="1"/>
        </p:nvSpPr>
        <p:spPr>
          <a:xfrm>
            <a:off x="-1224174" y="6266695"/>
            <a:ext cx="1170000" cy="226591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r"/>
            <a:r>
              <a:rPr lang="en-GB" sz="1000" smtClean="0"/>
              <a:t>Min.</a:t>
            </a:r>
            <a:r>
              <a:rPr lang="en-GB" sz="1000" baseline="0" smtClean="0"/>
              <a:t> height</a:t>
            </a:r>
            <a:endParaRPr lang="en-GB" sz="1000" smtClean="0"/>
          </a:p>
        </p:txBody>
      </p:sp>
      <p:cxnSp>
        <p:nvCxnSpPr>
          <p:cNvPr id="24" name="Straight Connector 23"/>
          <p:cNvCxnSpPr/>
          <p:nvPr userDrawn="1"/>
        </p:nvCxnSpPr>
        <p:spPr>
          <a:xfrm>
            <a:off x="-346674" y="5242062"/>
            <a:ext cx="2925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extBox 27"/>
          <p:cNvSpPr txBox="1"/>
          <p:nvPr userDrawn="1"/>
        </p:nvSpPr>
        <p:spPr>
          <a:xfrm>
            <a:off x="-1224174" y="5297121"/>
            <a:ext cx="1170000" cy="226591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r"/>
            <a:r>
              <a:rPr lang="en-GB" sz="1000" smtClean="0"/>
              <a:t>Max.</a:t>
            </a:r>
            <a:r>
              <a:rPr lang="en-GB" sz="1000" baseline="0" smtClean="0"/>
              <a:t> height</a:t>
            </a:r>
            <a:endParaRPr lang="en-GB" sz="1000" smtClean="0"/>
          </a:p>
        </p:txBody>
      </p:sp>
      <p:grpSp>
        <p:nvGrpSpPr>
          <p:cNvPr id="53" name="Group 52"/>
          <p:cNvGrpSpPr/>
          <p:nvPr userDrawn="1"/>
        </p:nvGrpSpPr>
        <p:grpSpPr bwMode="gray">
          <a:xfrm>
            <a:off x="-1653580" y="0"/>
            <a:ext cx="1521000" cy="4689612"/>
            <a:chOff x="-2581275" y="595116"/>
            <a:chExt cx="1872000" cy="4689612"/>
          </a:xfrm>
        </p:grpSpPr>
        <p:sp>
          <p:nvSpPr>
            <p:cNvPr id="54" name="Rectangle 104"/>
            <p:cNvSpPr>
              <a:spLocks noChangeArrowheads="1"/>
            </p:cNvSpPr>
            <p:nvPr/>
          </p:nvSpPr>
          <p:spPr bwMode="gray">
            <a:xfrm>
              <a:off x="-2581275" y="4276728"/>
              <a:ext cx="1872000" cy="100800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55" name="Rectangle 104"/>
            <p:cNvSpPr>
              <a:spLocks noChangeArrowheads="1"/>
            </p:cNvSpPr>
            <p:nvPr userDrawn="1"/>
          </p:nvSpPr>
          <p:spPr bwMode="gray">
            <a:xfrm>
              <a:off x="-2581275" y="595116"/>
              <a:ext cx="1872000" cy="3672087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56" name="Rectangle 105"/>
            <p:cNvSpPr>
              <a:spLocks noChangeArrowheads="1"/>
            </p:cNvSpPr>
            <p:nvPr userDrawn="1"/>
          </p:nvSpPr>
          <p:spPr bwMode="gray">
            <a:xfrm>
              <a:off x="-2449513" y="1136650"/>
              <a:ext cx="215900" cy="215900"/>
            </a:xfrm>
            <a:prstGeom prst="rect">
              <a:avLst/>
            </a:prstGeom>
            <a:solidFill>
              <a:srgbClr val="FF6200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57" name="Rectangle 106"/>
            <p:cNvSpPr>
              <a:spLocks noChangeArrowheads="1"/>
            </p:cNvSpPr>
            <p:nvPr userDrawn="1"/>
          </p:nvSpPr>
          <p:spPr bwMode="gray">
            <a:xfrm>
              <a:off x="-2159000" y="1146175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Orang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55, 98, 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8" name="Rectangle 107"/>
            <p:cNvSpPr>
              <a:spLocks noChangeArrowheads="1"/>
            </p:cNvSpPr>
            <p:nvPr userDrawn="1"/>
          </p:nvSpPr>
          <p:spPr bwMode="gray">
            <a:xfrm>
              <a:off x="-2449513" y="1571626"/>
              <a:ext cx="215900" cy="215900"/>
            </a:xfrm>
            <a:prstGeom prst="rect">
              <a:avLst/>
            </a:prstGeom>
            <a:solidFill>
              <a:srgbClr val="A8A8A8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59" name="Rectangle 108"/>
            <p:cNvSpPr>
              <a:spLocks noChangeArrowheads="1"/>
            </p:cNvSpPr>
            <p:nvPr userDrawn="1"/>
          </p:nvSpPr>
          <p:spPr bwMode="gray">
            <a:xfrm>
              <a:off x="-2159000" y="15970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ght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68, 168, 16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0" name="Rectangle 109"/>
            <p:cNvSpPr>
              <a:spLocks noChangeArrowheads="1"/>
            </p:cNvSpPr>
            <p:nvPr userDrawn="1"/>
          </p:nvSpPr>
          <p:spPr bwMode="gray">
            <a:xfrm>
              <a:off x="-2449513" y="2058988"/>
              <a:ext cx="215900" cy="215900"/>
            </a:xfrm>
            <a:prstGeom prst="rect">
              <a:avLst/>
            </a:prstGeom>
            <a:solidFill>
              <a:srgbClr val="52519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61" name="Rectangle 110"/>
            <p:cNvSpPr>
              <a:spLocks noChangeArrowheads="1"/>
            </p:cNvSpPr>
            <p:nvPr userDrawn="1"/>
          </p:nvSpPr>
          <p:spPr bwMode="gray">
            <a:xfrm>
              <a:off x="-2159000" y="2068513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Indigo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82, 81, 153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2" name="Rectangle 111"/>
            <p:cNvSpPr>
              <a:spLocks noChangeArrowheads="1"/>
            </p:cNvSpPr>
            <p:nvPr userDrawn="1"/>
          </p:nvSpPr>
          <p:spPr bwMode="gray">
            <a:xfrm>
              <a:off x="-2449513" y="2527301"/>
              <a:ext cx="215900" cy="215900"/>
            </a:xfrm>
            <a:prstGeom prst="rect">
              <a:avLst/>
            </a:prstGeom>
            <a:solidFill>
              <a:srgbClr val="60A6DA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63" name="Rectangle 112"/>
            <p:cNvSpPr>
              <a:spLocks noChangeArrowheads="1"/>
            </p:cNvSpPr>
            <p:nvPr userDrawn="1"/>
          </p:nvSpPr>
          <p:spPr bwMode="gray">
            <a:xfrm>
              <a:off x="-2159000" y="25368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Sk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96, 166, 2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4" name="Rectangle 113"/>
            <p:cNvSpPr>
              <a:spLocks noChangeArrowheads="1"/>
            </p:cNvSpPr>
            <p:nvPr userDrawn="1"/>
          </p:nvSpPr>
          <p:spPr bwMode="gray">
            <a:xfrm>
              <a:off x="-2449513" y="762000"/>
              <a:ext cx="1692000" cy="165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90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200" b="1" smtClean="0">
                  <a:solidFill>
                    <a:srgbClr val="333333"/>
                  </a:solidFill>
                </a:rPr>
                <a:t>Colour Guidelines</a:t>
              </a:r>
              <a:endParaRPr lang="en-GB" altLang="en-US" sz="1200" b="1">
                <a:solidFill>
                  <a:srgbClr val="333333"/>
                </a:solidFill>
              </a:endParaRPr>
            </a:p>
          </p:txBody>
        </p:sp>
        <p:sp>
          <p:nvSpPr>
            <p:cNvPr id="65" name="Rectangle 107"/>
            <p:cNvSpPr>
              <a:spLocks noChangeArrowheads="1"/>
            </p:cNvSpPr>
            <p:nvPr/>
          </p:nvSpPr>
          <p:spPr bwMode="gray">
            <a:xfrm>
              <a:off x="-2449513" y="2962277"/>
              <a:ext cx="215900" cy="215900"/>
            </a:xfrm>
            <a:prstGeom prst="rect">
              <a:avLst/>
            </a:prstGeom>
            <a:solidFill>
              <a:srgbClr val="AB006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66" name="Rectangle 108"/>
            <p:cNvSpPr>
              <a:spLocks noChangeArrowheads="1"/>
            </p:cNvSpPr>
            <p:nvPr/>
          </p:nvSpPr>
          <p:spPr bwMode="gray">
            <a:xfrm>
              <a:off x="-2159000" y="29876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Fuchsia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71, 0, 102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7" name="Rectangle 109"/>
            <p:cNvSpPr>
              <a:spLocks noChangeArrowheads="1"/>
            </p:cNvSpPr>
            <p:nvPr/>
          </p:nvSpPr>
          <p:spPr bwMode="gray">
            <a:xfrm>
              <a:off x="-2449513" y="3449639"/>
              <a:ext cx="215900" cy="215900"/>
            </a:xfrm>
            <a:prstGeom prst="rect">
              <a:avLst/>
            </a:prstGeom>
            <a:solidFill>
              <a:srgbClr val="D0D93C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68" name="Rectangle 110"/>
            <p:cNvSpPr>
              <a:spLocks noChangeArrowheads="1"/>
            </p:cNvSpPr>
            <p:nvPr/>
          </p:nvSpPr>
          <p:spPr bwMode="gray">
            <a:xfrm>
              <a:off x="-2159000" y="3459164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m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08, 217, 6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9" name="Rectangle 111"/>
            <p:cNvSpPr>
              <a:spLocks noChangeArrowheads="1"/>
            </p:cNvSpPr>
            <p:nvPr/>
          </p:nvSpPr>
          <p:spPr bwMode="gray">
            <a:xfrm>
              <a:off x="-2449513" y="3917952"/>
              <a:ext cx="215900" cy="215900"/>
            </a:xfrm>
            <a:prstGeom prst="rect">
              <a:avLst/>
            </a:prstGeom>
            <a:solidFill>
              <a:srgbClr val="01964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70" name="Rectangle 112"/>
            <p:cNvSpPr>
              <a:spLocks noChangeArrowheads="1"/>
            </p:cNvSpPr>
            <p:nvPr/>
          </p:nvSpPr>
          <p:spPr bwMode="gray">
            <a:xfrm>
              <a:off x="-2159000" y="39274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eaf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2, 150, 8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71" name="Rectangle 109"/>
            <p:cNvSpPr>
              <a:spLocks noChangeArrowheads="1"/>
            </p:cNvSpPr>
            <p:nvPr/>
          </p:nvSpPr>
          <p:spPr bwMode="gray">
            <a:xfrm>
              <a:off x="-2449513" y="4405314"/>
              <a:ext cx="215900" cy="215900"/>
            </a:xfrm>
            <a:prstGeom prst="rect">
              <a:avLst/>
            </a:prstGeom>
            <a:solidFill>
              <a:srgbClr val="76767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72" name="Rectangle 110"/>
            <p:cNvSpPr>
              <a:spLocks noChangeArrowheads="1"/>
            </p:cNvSpPr>
            <p:nvPr/>
          </p:nvSpPr>
          <p:spPr bwMode="gray">
            <a:xfrm>
              <a:off x="-2159000" y="4414839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Mid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18, 118, 1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73" name="Rectangle 111"/>
            <p:cNvSpPr>
              <a:spLocks noChangeArrowheads="1"/>
            </p:cNvSpPr>
            <p:nvPr/>
          </p:nvSpPr>
          <p:spPr bwMode="gray">
            <a:xfrm>
              <a:off x="-2449513" y="4873627"/>
              <a:ext cx="215900" cy="215900"/>
            </a:xfrm>
            <a:prstGeom prst="rect">
              <a:avLst/>
            </a:prstGeom>
            <a:solidFill>
              <a:srgbClr val="333333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74" name="Rectangle 112"/>
            <p:cNvSpPr>
              <a:spLocks noChangeArrowheads="1"/>
            </p:cNvSpPr>
            <p:nvPr/>
          </p:nvSpPr>
          <p:spPr bwMode="gray">
            <a:xfrm>
              <a:off x="-2159000" y="4883152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Text Colour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1, 51, 5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</p:grpSp>
      <p:pic>
        <p:nvPicPr>
          <p:cNvPr id="42" name="Picture 41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-1466554" y="4402733"/>
            <a:ext cx="125761" cy="138908"/>
          </a:xfrm>
          <a:prstGeom prst="rect">
            <a:avLst/>
          </a:prstGeom>
        </p:spPr>
      </p:pic>
      <p:sp>
        <p:nvSpPr>
          <p:cNvPr id="43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6636209" y="4291504"/>
            <a:ext cx="2427750" cy="275612"/>
          </a:xfrm>
        </p:spPr>
        <p:txBody>
          <a:bodyPr tIns="0" bIns="0"/>
          <a:lstStyle>
            <a:lvl1pPr marL="0" indent="0" algn="r">
              <a:lnSpc>
                <a:spcPct val="100000"/>
              </a:lnSpc>
              <a:buNone/>
              <a:defRPr sz="1500">
                <a:solidFill>
                  <a:srgbClr val="000000"/>
                </a:solidFill>
                <a:latin typeface="+mn-lt"/>
              </a:defRPr>
            </a:lvl1pPr>
            <a:lvl2pPr>
              <a:defRPr sz="2200">
                <a:solidFill>
                  <a:srgbClr val="000000"/>
                </a:solidFill>
              </a:defRPr>
            </a:lvl2pPr>
            <a:lvl3pPr>
              <a:defRPr sz="2200">
                <a:solidFill>
                  <a:srgbClr val="000000"/>
                </a:solidFill>
              </a:defRPr>
            </a:lvl3pPr>
            <a:lvl4pPr>
              <a:defRPr sz="2200">
                <a:solidFill>
                  <a:srgbClr val="000000"/>
                </a:solidFill>
              </a:defRPr>
            </a:lvl4pPr>
            <a:lvl5pPr>
              <a:defRPr sz="2200">
                <a:solidFill>
                  <a:srgbClr val="000000"/>
                </a:solidFill>
              </a:defRPr>
            </a:lvl5pPr>
          </a:lstStyle>
          <a:p>
            <a:pPr lvl="0"/>
            <a:r>
              <a:rPr lang="en-GB" noProof="0" dirty="0" smtClean="0"/>
              <a:t>Click to edit location and date</a:t>
            </a:r>
          </a:p>
        </p:txBody>
      </p:sp>
    </p:spTree>
    <p:extLst>
      <p:ext uri="{BB962C8B-B14F-4D97-AF65-F5344CB8AC3E}">
        <p14:creationId xmlns:p14="http://schemas.microsoft.com/office/powerpoint/2010/main" val="2686825790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1" orient="horz" pos="4135" userDrawn="1">
          <p15:clr>
            <a:srgbClr val="FBAE40"/>
          </p15:clr>
        </p15:guide>
        <p15:guide id="2" orient="horz" pos="3304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F Title Slide Full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4" name="Group 73"/>
          <p:cNvGrpSpPr>
            <a:grpSpLocks noChangeAspect="1"/>
          </p:cNvGrpSpPr>
          <p:nvPr userDrawn="1"/>
        </p:nvGrpSpPr>
        <p:grpSpPr bwMode="gray">
          <a:xfrm>
            <a:off x="0" y="1643199"/>
            <a:ext cx="4801323" cy="3045600"/>
            <a:chOff x="3465513" y="2070100"/>
            <a:chExt cx="5260975" cy="2711450"/>
          </a:xfrm>
        </p:grpSpPr>
        <p:sp>
          <p:nvSpPr>
            <p:cNvPr id="75" name="Freeform 5"/>
            <p:cNvSpPr>
              <a:spLocks/>
            </p:cNvSpPr>
            <p:nvPr userDrawn="1"/>
          </p:nvSpPr>
          <p:spPr bwMode="gray">
            <a:xfrm>
              <a:off x="3465513" y="4095750"/>
              <a:ext cx="5260975" cy="685800"/>
            </a:xfrm>
            <a:custGeom>
              <a:avLst/>
              <a:gdLst>
                <a:gd name="T0" fmla="*/ 0 w 1400"/>
                <a:gd name="T1" fmla="*/ 0 h 182"/>
                <a:gd name="T2" fmla="*/ 0 w 1400"/>
                <a:gd name="T3" fmla="*/ 182 h 182"/>
                <a:gd name="T4" fmla="*/ 1376 w 1400"/>
                <a:gd name="T5" fmla="*/ 182 h 182"/>
                <a:gd name="T6" fmla="*/ 1400 w 1400"/>
                <a:gd name="T7" fmla="*/ 158 h 182"/>
                <a:gd name="T8" fmla="*/ 1400 w 1400"/>
                <a:gd name="T9" fmla="*/ 0 h 182"/>
                <a:gd name="T10" fmla="*/ 0 w 1400"/>
                <a:gd name="T11" fmla="*/ 0 h 1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400" h="182">
                  <a:moveTo>
                    <a:pt x="0" y="0"/>
                  </a:moveTo>
                  <a:cubicBezTo>
                    <a:pt x="0" y="182"/>
                    <a:pt x="0" y="182"/>
                    <a:pt x="0" y="182"/>
                  </a:cubicBezTo>
                  <a:cubicBezTo>
                    <a:pt x="1376" y="182"/>
                    <a:pt x="1376" y="182"/>
                    <a:pt x="1376" y="182"/>
                  </a:cubicBezTo>
                  <a:cubicBezTo>
                    <a:pt x="1376" y="182"/>
                    <a:pt x="1400" y="182"/>
                    <a:pt x="1400" y="158"/>
                  </a:cubicBezTo>
                  <a:cubicBezTo>
                    <a:pt x="1400" y="0"/>
                    <a:pt x="1400" y="0"/>
                    <a:pt x="1400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EAEAEA"/>
            </a:solidFill>
            <a:ln w="9525">
              <a:solidFill>
                <a:srgbClr val="EAEAEA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6" name="Freeform 75"/>
            <p:cNvSpPr>
              <a:spLocks/>
            </p:cNvSpPr>
            <p:nvPr userDrawn="1"/>
          </p:nvSpPr>
          <p:spPr bwMode="gray">
            <a:xfrm>
              <a:off x="3465513" y="2070100"/>
              <a:ext cx="5260975" cy="2025650"/>
            </a:xfrm>
            <a:custGeom>
              <a:avLst/>
              <a:gdLst>
                <a:gd name="T0" fmla="*/ 0 w 1400"/>
                <a:gd name="T1" fmla="*/ 0 h 538"/>
                <a:gd name="T2" fmla="*/ 0 w 1400"/>
                <a:gd name="T3" fmla="*/ 538 h 538"/>
                <a:gd name="T4" fmla="*/ 1400 w 1400"/>
                <a:gd name="T5" fmla="*/ 538 h 538"/>
                <a:gd name="T6" fmla="*/ 1400 w 1400"/>
                <a:gd name="T7" fmla="*/ 24 h 538"/>
                <a:gd name="T8" fmla="*/ 1376 w 1400"/>
                <a:gd name="T9" fmla="*/ 0 h 538"/>
                <a:gd name="T10" fmla="*/ 0 w 1400"/>
                <a:gd name="T11" fmla="*/ 0 h 5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400" h="538">
                  <a:moveTo>
                    <a:pt x="0" y="0"/>
                  </a:moveTo>
                  <a:cubicBezTo>
                    <a:pt x="0" y="538"/>
                    <a:pt x="0" y="538"/>
                    <a:pt x="0" y="538"/>
                  </a:cubicBezTo>
                  <a:cubicBezTo>
                    <a:pt x="1400" y="538"/>
                    <a:pt x="1400" y="538"/>
                    <a:pt x="1400" y="538"/>
                  </a:cubicBezTo>
                  <a:cubicBezTo>
                    <a:pt x="1400" y="24"/>
                    <a:pt x="1400" y="24"/>
                    <a:pt x="1400" y="24"/>
                  </a:cubicBezTo>
                  <a:cubicBezTo>
                    <a:pt x="1400" y="24"/>
                    <a:pt x="1400" y="0"/>
                    <a:pt x="1376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F6200"/>
            </a:solidFill>
            <a:ln w="9525">
              <a:solidFill>
                <a:srgbClr val="FF6200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9" name="Title 1"/>
          <p:cNvSpPr>
            <a:spLocks noGrp="1"/>
          </p:cNvSpPr>
          <p:nvPr>
            <p:ph type="ctrTitle"/>
          </p:nvPr>
        </p:nvSpPr>
        <p:spPr bwMode="gray">
          <a:xfrm>
            <a:off x="684479" y="2012286"/>
            <a:ext cx="3963347" cy="1461600"/>
          </a:xfrm>
        </p:spPr>
        <p:txBody>
          <a:bodyPr anchor="ctr" anchorCtr="0">
            <a:noAutofit/>
          </a:bodyPr>
          <a:lstStyle>
            <a:lvl1pPr algn="l">
              <a:lnSpc>
                <a:spcPts val="3800"/>
              </a:lnSpc>
              <a:defRPr sz="3800">
                <a:solidFill>
                  <a:schemeClr val="bg1"/>
                </a:solidFill>
              </a:defRPr>
            </a:lvl1pPr>
          </a:lstStyle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  <p:sp>
        <p:nvSpPr>
          <p:cNvPr id="10" name="Subtitle 2"/>
          <p:cNvSpPr>
            <a:spLocks noGrp="1"/>
          </p:cNvSpPr>
          <p:nvPr>
            <p:ph type="subTitle" idx="1"/>
          </p:nvPr>
        </p:nvSpPr>
        <p:spPr bwMode="gray">
          <a:xfrm>
            <a:off x="684479" y="4031478"/>
            <a:ext cx="3963347" cy="306798"/>
          </a:xfrm>
        </p:spPr>
        <p:txBody>
          <a:bodyPr anchor="ctr" anchorCtr="0">
            <a:noAutofit/>
          </a:bodyPr>
          <a:lstStyle>
            <a:lvl1pPr marL="0" indent="0" algn="l">
              <a:lnSpc>
                <a:spcPts val="2200"/>
              </a:lnSpc>
              <a:buNone/>
              <a:defRPr sz="1700" b="0" i="0"/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nl-NL" noProof="0" smtClean="0"/>
              <a:t>Klik om de ondertitelstijl van het model te bewerken</a:t>
            </a:r>
            <a:endParaRPr lang="en-GB" noProof="0" dirty="0"/>
          </a:p>
        </p:txBody>
      </p:sp>
      <p:sp>
        <p:nvSpPr>
          <p:cNvPr id="11" name="Text Placeholder 6"/>
          <p:cNvSpPr>
            <a:spLocks noGrp="1"/>
          </p:cNvSpPr>
          <p:nvPr>
            <p:ph type="body" sz="quarter" idx="11"/>
          </p:nvPr>
        </p:nvSpPr>
        <p:spPr bwMode="gray">
          <a:xfrm>
            <a:off x="684479" y="3603486"/>
            <a:ext cx="3963347" cy="290712"/>
          </a:xfrm>
        </p:spPr>
        <p:txBody>
          <a:bodyPr bIns="0">
            <a:noAutofit/>
          </a:bodyPr>
          <a:lstStyle>
            <a:lvl1pPr algn="l">
              <a:lnSpc>
                <a:spcPts val="1700"/>
              </a:lnSpc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noProof="0" smtClean="0"/>
              <a:t>Klik om de modelstijlen te bewerken</a:t>
            </a:r>
          </a:p>
        </p:txBody>
      </p:sp>
      <p:sp>
        <p:nvSpPr>
          <p:cNvPr id="12" name="Rectangle 11"/>
          <p:cNvSpPr/>
          <p:nvPr userDrawn="1"/>
        </p:nvSpPr>
        <p:spPr bwMode="gray">
          <a:xfrm>
            <a:off x="2" y="6024880"/>
            <a:ext cx="9904532" cy="8331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2400"/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428199" y="6203775"/>
            <a:ext cx="1233535" cy="378000"/>
          </a:xfrm>
          <a:prstGeom prst="rect">
            <a:avLst/>
          </a:prstGeom>
        </p:spPr>
      </p:pic>
      <p:pic>
        <p:nvPicPr>
          <p:cNvPr id="19" name="Picture Placeholder 36"/>
          <p:cNvPicPr>
            <a:picLocks noChangeAspect="1"/>
          </p:cNvPicPr>
          <p:nvPr userDrawn="1"/>
        </p:nvPicPr>
        <p:blipFill rotWithShape="1">
          <a:blip r:embed="rId3"/>
          <a:stretch/>
        </p:blipFill>
        <p:spPr bwMode="gray">
          <a:xfrm>
            <a:off x="681038" y="6291860"/>
            <a:ext cx="1784250" cy="287825"/>
          </a:xfrm>
          <a:prstGeom prst="rect">
            <a:avLst/>
          </a:prstGeom>
        </p:spPr>
      </p:pic>
      <p:grpSp>
        <p:nvGrpSpPr>
          <p:cNvPr id="42" name="Group 41"/>
          <p:cNvGrpSpPr/>
          <p:nvPr userDrawn="1"/>
        </p:nvGrpSpPr>
        <p:grpSpPr bwMode="gray">
          <a:xfrm>
            <a:off x="-1653580" y="0"/>
            <a:ext cx="1521000" cy="4689612"/>
            <a:chOff x="-2581275" y="595116"/>
            <a:chExt cx="1872000" cy="4689612"/>
          </a:xfrm>
        </p:grpSpPr>
        <p:sp>
          <p:nvSpPr>
            <p:cNvPr id="43" name="Rectangle 104"/>
            <p:cNvSpPr>
              <a:spLocks noChangeArrowheads="1"/>
            </p:cNvSpPr>
            <p:nvPr/>
          </p:nvSpPr>
          <p:spPr bwMode="gray">
            <a:xfrm>
              <a:off x="-2581275" y="4276728"/>
              <a:ext cx="1872000" cy="100800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44" name="Rectangle 104"/>
            <p:cNvSpPr>
              <a:spLocks noChangeArrowheads="1"/>
            </p:cNvSpPr>
            <p:nvPr userDrawn="1"/>
          </p:nvSpPr>
          <p:spPr bwMode="gray">
            <a:xfrm>
              <a:off x="-2581275" y="595116"/>
              <a:ext cx="1872000" cy="3672087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45" name="Rectangle 105"/>
            <p:cNvSpPr>
              <a:spLocks noChangeArrowheads="1"/>
            </p:cNvSpPr>
            <p:nvPr userDrawn="1"/>
          </p:nvSpPr>
          <p:spPr bwMode="gray">
            <a:xfrm>
              <a:off x="-2449513" y="1136650"/>
              <a:ext cx="215900" cy="215900"/>
            </a:xfrm>
            <a:prstGeom prst="rect">
              <a:avLst/>
            </a:prstGeom>
            <a:solidFill>
              <a:srgbClr val="FF6200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46" name="Rectangle 106"/>
            <p:cNvSpPr>
              <a:spLocks noChangeArrowheads="1"/>
            </p:cNvSpPr>
            <p:nvPr userDrawn="1"/>
          </p:nvSpPr>
          <p:spPr bwMode="gray">
            <a:xfrm>
              <a:off x="-2159000" y="1146175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Orang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55, 98, 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47" name="Rectangle 107"/>
            <p:cNvSpPr>
              <a:spLocks noChangeArrowheads="1"/>
            </p:cNvSpPr>
            <p:nvPr userDrawn="1"/>
          </p:nvSpPr>
          <p:spPr bwMode="gray">
            <a:xfrm>
              <a:off x="-2449513" y="1571626"/>
              <a:ext cx="215900" cy="215900"/>
            </a:xfrm>
            <a:prstGeom prst="rect">
              <a:avLst/>
            </a:prstGeom>
            <a:solidFill>
              <a:srgbClr val="A8A8A8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48" name="Rectangle 108"/>
            <p:cNvSpPr>
              <a:spLocks noChangeArrowheads="1"/>
            </p:cNvSpPr>
            <p:nvPr userDrawn="1"/>
          </p:nvSpPr>
          <p:spPr bwMode="gray">
            <a:xfrm>
              <a:off x="-2159000" y="15970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ght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68, 168, 16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49" name="Rectangle 109"/>
            <p:cNvSpPr>
              <a:spLocks noChangeArrowheads="1"/>
            </p:cNvSpPr>
            <p:nvPr userDrawn="1"/>
          </p:nvSpPr>
          <p:spPr bwMode="gray">
            <a:xfrm>
              <a:off x="-2449513" y="2058988"/>
              <a:ext cx="215900" cy="215900"/>
            </a:xfrm>
            <a:prstGeom prst="rect">
              <a:avLst/>
            </a:prstGeom>
            <a:solidFill>
              <a:srgbClr val="52519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50" name="Rectangle 110"/>
            <p:cNvSpPr>
              <a:spLocks noChangeArrowheads="1"/>
            </p:cNvSpPr>
            <p:nvPr userDrawn="1"/>
          </p:nvSpPr>
          <p:spPr bwMode="gray">
            <a:xfrm>
              <a:off x="-2159000" y="2068513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Indigo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82, 81, 153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1" name="Rectangle 111"/>
            <p:cNvSpPr>
              <a:spLocks noChangeArrowheads="1"/>
            </p:cNvSpPr>
            <p:nvPr userDrawn="1"/>
          </p:nvSpPr>
          <p:spPr bwMode="gray">
            <a:xfrm>
              <a:off x="-2449513" y="2527301"/>
              <a:ext cx="215900" cy="215900"/>
            </a:xfrm>
            <a:prstGeom prst="rect">
              <a:avLst/>
            </a:prstGeom>
            <a:solidFill>
              <a:srgbClr val="60A6DA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52" name="Rectangle 112"/>
            <p:cNvSpPr>
              <a:spLocks noChangeArrowheads="1"/>
            </p:cNvSpPr>
            <p:nvPr userDrawn="1"/>
          </p:nvSpPr>
          <p:spPr bwMode="gray">
            <a:xfrm>
              <a:off x="-2159000" y="25368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Sk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96, 166, 2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3" name="Rectangle 113"/>
            <p:cNvSpPr>
              <a:spLocks noChangeArrowheads="1"/>
            </p:cNvSpPr>
            <p:nvPr userDrawn="1"/>
          </p:nvSpPr>
          <p:spPr bwMode="gray">
            <a:xfrm>
              <a:off x="-2449513" y="762000"/>
              <a:ext cx="1692000" cy="165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90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200" b="1" smtClean="0">
                  <a:solidFill>
                    <a:srgbClr val="333333"/>
                  </a:solidFill>
                </a:rPr>
                <a:t>Colour Guidelines</a:t>
              </a:r>
              <a:endParaRPr lang="en-GB" altLang="en-US" sz="1200" b="1">
                <a:solidFill>
                  <a:srgbClr val="333333"/>
                </a:solidFill>
              </a:endParaRPr>
            </a:p>
          </p:txBody>
        </p:sp>
        <p:sp>
          <p:nvSpPr>
            <p:cNvPr id="54" name="Rectangle 107"/>
            <p:cNvSpPr>
              <a:spLocks noChangeArrowheads="1"/>
            </p:cNvSpPr>
            <p:nvPr/>
          </p:nvSpPr>
          <p:spPr bwMode="gray">
            <a:xfrm>
              <a:off x="-2449513" y="2962277"/>
              <a:ext cx="215900" cy="215900"/>
            </a:xfrm>
            <a:prstGeom prst="rect">
              <a:avLst/>
            </a:prstGeom>
            <a:solidFill>
              <a:srgbClr val="AB006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55" name="Rectangle 108"/>
            <p:cNvSpPr>
              <a:spLocks noChangeArrowheads="1"/>
            </p:cNvSpPr>
            <p:nvPr/>
          </p:nvSpPr>
          <p:spPr bwMode="gray">
            <a:xfrm>
              <a:off x="-2159000" y="29876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Fuchsia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71, 0, 102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6" name="Rectangle 109"/>
            <p:cNvSpPr>
              <a:spLocks noChangeArrowheads="1"/>
            </p:cNvSpPr>
            <p:nvPr/>
          </p:nvSpPr>
          <p:spPr bwMode="gray">
            <a:xfrm>
              <a:off x="-2449513" y="3449639"/>
              <a:ext cx="215900" cy="215900"/>
            </a:xfrm>
            <a:prstGeom prst="rect">
              <a:avLst/>
            </a:prstGeom>
            <a:solidFill>
              <a:srgbClr val="D0D93C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57" name="Rectangle 110"/>
            <p:cNvSpPr>
              <a:spLocks noChangeArrowheads="1"/>
            </p:cNvSpPr>
            <p:nvPr/>
          </p:nvSpPr>
          <p:spPr bwMode="gray">
            <a:xfrm>
              <a:off x="-2159000" y="3459164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m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08, 217, 6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8" name="Rectangle 111"/>
            <p:cNvSpPr>
              <a:spLocks noChangeArrowheads="1"/>
            </p:cNvSpPr>
            <p:nvPr/>
          </p:nvSpPr>
          <p:spPr bwMode="gray">
            <a:xfrm>
              <a:off x="-2449513" y="3917952"/>
              <a:ext cx="215900" cy="215900"/>
            </a:xfrm>
            <a:prstGeom prst="rect">
              <a:avLst/>
            </a:prstGeom>
            <a:solidFill>
              <a:srgbClr val="01964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59" name="Rectangle 112"/>
            <p:cNvSpPr>
              <a:spLocks noChangeArrowheads="1"/>
            </p:cNvSpPr>
            <p:nvPr/>
          </p:nvSpPr>
          <p:spPr bwMode="gray">
            <a:xfrm>
              <a:off x="-2159000" y="39274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eaf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2, 150, 8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0" name="Rectangle 109"/>
            <p:cNvSpPr>
              <a:spLocks noChangeArrowheads="1"/>
            </p:cNvSpPr>
            <p:nvPr/>
          </p:nvSpPr>
          <p:spPr bwMode="gray">
            <a:xfrm>
              <a:off x="-2449513" y="4405314"/>
              <a:ext cx="215900" cy="215900"/>
            </a:xfrm>
            <a:prstGeom prst="rect">
              <a:avLst/>
            </a:prstGeom>
            <a:solidFill>
              <a:srgbClr val="76767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61" name="Rectangle 110"/>
            <p:cNvSpPr>
              <a:spLocks noChangeArrowheads="1"/>
            </p:cNvSpPr>
            <p:nvPr/>
          </p:nvSpPr>
          <p:spPr bwMode="gray">
            <a:xfrm>
              <a:off x="-2159000" y="4414839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Mid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18, 118, 1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2" name="Rectangle 111"/>
            <p:cNvSpPr>
              <a:spLocks noChangeArrowheads="1"/>
            </p:cNvSpPr>
            <p:nvPr/>
          </p:nvSpPr>
          <p:spPr bwMode="gray">
            <a:xfrm>
              <a:off x="-2449513" y="4873627"/>
              <a:ext cx="215900" cy="215900"/>
            </a:xfrm>
            <a:prstGeom prst="rect">
              <a:avLst/>
            </a:prstGeom>
            <a:solidFill>
              <a:srgbClr val="333333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63" name="Rectangle 112"/>
            <p:cNvSpPr>
              <a:spLocks noChangeArrowheads="1"/>
            </p:cNvSpPr>
            <p:nvPr/>
          </p:nvSpPr>
          <p:spPr bwMode="gray">
            <a:xfrm>
              <a:off x="-2159000" y="4883152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Text Colour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1, 51, 5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</p:grpSp>
      <p:pic>
        <p:nvPicPr>
          <p:cNvPr id="35" name="Picture 34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-1466554" y="4402733"/>
            <a:ext cx="125761" cy="138908"/>
          </a:xfrm>
          <a:prstGeom prst="rect">
            <a:avLst/>
          </a:prstGeom>
        </p:spPr>
      </p:pic>
      <p:sp>
        <p:nvSpPr>
          <p:cNvPr id="37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684478" y="4381898"/>
            <a:ext cx="3963375" cy="216000"/>
          </a:xfrm>
        </p:spPr>
        <p:txBody>
          <a:bodyPr tIns="0" bIns="0"/>
          <a:lstStyle>
            <a:lvl1pPr marL="0" indent="0" algn="l">
              <a:lnSpc>
                <a:spcPts val="1350"/>
              </a:lnSpc>
              <a:buNone/>
              <a:defRPr sz="1350">
                <a:solidFill>
                  <a:srgbClr val="000000"/>
                </a:solidFill>
                <a:latin typeface="+mn-lt"/>
              </a:defRPr>
            </a:lvl1pPr>
            <a:lvl2pPr>
              <a:defRPr sz="2200">
                <a:solidFill>
                  <a:srgbClr val="000000"/>
                </a:solidFill>
              </a:defRPr>
            </a:lvl2pPr>
            <a:lvl3pPr>
              <a:defRPr sz="2200">
                <a:solidFill>
                  <a:srgbClr val="000000"/>
                </a:solidFill>
              </a:defRPr>
            </a:lvl3pPr>
            <a:lvl4pPr>
              <a:defRPr sz="2200">
                <a:solidFill>
                  <a:srgbClr val="000000"/>
                </a:solidFill>
              </a:defRPr>
            </a:lvl4pPr>
            <a:lvl5pPr>
              <a:defRPr sz="2200">
                <a:solidFill>
                  <a:srgbClr val="000000"/>
                </a:solidFill>
              </a:defRPr>
            </a:lvl5pPr>
          </a:lstStyle>
          <a:p>
            <a:pPr lvl="0"/>
            <a:r>
              <a:rPr lang="en-GB" noProof="0" dirty="0" smtClean="0"/>
              <a:t>Click to edit location and date</a:t>
            </a:r>
          </a:p>
        </p:txBody>
      </p:sp>
      <p:sp>
        <p:nvSpPr>
          <p:cNvPr id="38" name="Picture Placeholder 37"/>
          <p:cNvSpPr>
            <a:spLocks noGrp="1"/>
          </p:cNvSpPr>
          <p:nvPr>
            <p:ph type="pic" sz="quarter" idx="12"/>
          </p:nvPr>
        </p:nvSpPr>
        <p:spPr bwMode="gray">
          <a:xfrm>
            <a:off x="-2579" y="4"/>
            <a:ext cx="9908580" cy="6024879"/>
          </a:xfrm>
          <a:custGeom>
            <a:avLst/>
            <a:gdLst>
              <a:gd name="connsiteX0" fmla="*/ 0 w 12195175"/>
              <a:gd name="connsiteY0" fmla="*/ 0 h 6024879"/>
              <a:gd name="connsiteX1" fmla="*/ 12195175 w 12195175"/>
              <a:gd name="connsiteY1" fmla="*/ 0 h 6024879"/>
              <a:gd name="connsiteX2" fmla="*/ 12195175 w 12195175"/>
              <a:gd name="connsiteY2" fmla="*/ 6024879 h 6024879"/>
              <a:gd name="connsiteX3" fmla="*/ 0 w 12195175"/>
              <a:gd name="connsiteY3" fmla="*/ 6024879 h 6024879"/>
              <a:gd name="connsiteX4" fmla="*/ 0 w 12195175"/>
              <a:gd name="connsiteY4" fmla="*/ 4688798 h 6024879"/>
              <a:gd name="connsiteX5" fmla="*/ 3176 w 12195175"/>
              <a:gd name="connsiteY5" fmla="*/ 4688798 h 6024879"/>
              <a:gd name="connsiteX6" fmla="*/ 61412 w 12195175"/>
              <a:gd name="connsiteY6" fmla="*/ 4688798 h 6024879"/>
              <a:gd name="connsiteX7" fmla="*/ 530839 w 12195175"/>
              <a:gd name="connsiteY7" fmla="*/ 4688798 h 6024879"/>
              <a:gd name="connsiteX8" fmla="*/ 5811194 w 12195175"/>
              <a:gd name="connsiteY8" fmla="*/ 4688798 h 6024879"/>
              <a:gd name="connsiteX9" fmla="*/ 5912496 w 12195175"/>
              <a:gd name="connsiteY9" fmla="*/ 4587218 h 6024879"/>
              <a:gd name="connsiteX10" fmla="*/ 5912496 w 12195175"/>
              <a:gd name="connsiteY10" fmla="*/ 3918482 h 6024879"/>
              <a:gd name="connsiteX11" fmla="*/ 5912496 w 12195175"/>
              <a:gd name="connsiteY11" fmla="*/ 1744697 h 6024879"/>
              <a:gd name="connsiteX12" fmla="*/ 5811194 w 12195175"/>
              <a:gd name="connsiteY12" fmla="*/ 1643198 h 6024879"/>
              <a:gd name="connsiteX13" fmla="*/ 61412 w 12195175"/>
              <a:gd name="connsiteY13" fmla="*/ 1643198 h 6024879"/>
              <a:gd name="connsiteX14" fmla="*/ 3176 w 12195175"/>
              <a:gd name="connsiteY14" fmla="*/ 1643198 h 6024879"/>
              <a:gd name="connsiteX15" fmla="*/ 0 w 12195175"/>
              <a:gd name="connsiteY15" fmla="*/ 1643198 h 60248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2195175" h="6024879">
                <a:moveTo>
                  <a:pt x="0" y="0"/>
                </a:moveTo>
                <a:lnTo>
                  <a:pt x="12195175" y="0"/>
                </a:lnTo>
                <a:lnTo>
                  <a:pt x="12195175" y="6024879"/>
                </a:lnTo>
                <a:lnTo>
                  <a:pt x="0" y="6024879"/>
                </a:lnTo>
                <a:lnTo>
                  <a:pt x="0" y="4688798"/>
                </a:lnTo>
                <a:lnTo>
                  <a:pt x="3176" y="4688798"/>
                </a:lnTo>
                <a:lnTo>
                  <a:pt x="61412" y="4688798"/>
                </a:lnTo>
                <a:lnTo>
                  <a:pt x="530839" y="4688798"/>
                </a:lnTo>
                <a:cubicBezTo>
                  <a:pt x="5811194" y="4688798"/>
                  <a:pt x="5811194" y="4688798"/>
                  <a:pt x="5811194" y="4688798"/>
                </a:cubicBezTo>
                <a:cubicBezTo>
                  <a:pt x="5811194" y="4688798"/>
                  <a:pt x="5912496" y="4688798"/>
                  <a:pt x="5912496" y="4587218"/>
                </a:cubicBezTo>
                <a:cubicBezTo>
                  <a:pt x="5912496" y="3918482"/>
                  <a:pt x="5912496" y="3918482"/>
                  <a:pt x="5912496" y="3918482"/>
                </a:cubicBezTo>
                <a:cubicBezTo>
                  <a:pt x="5912496" y="1744697"/>
                  <a:pt x="5912496" y="1744697"/>
                  <a:pt x="5912496" y="1744697"/>
                </a:cubicBezTo>
                <a:cubicBezTo>
                  <a:pt x="5912496" y="1744697"/>
                  <a:pt x="5912496" y="1643198"/>
                  <a:pt x="5811194" y="1643198"/>
                </a:cubicBezTo>
                <a:lnTo>
                  <a:pt x="61412" y="1643198"/>
                </a:lnTo>
                <a:lnTo>
                  <a:pt x="3176" y="1643198"/>
                </a:lnTo>
                <a:lnTo>
                  <a:pt x="0" y="1643198"/>
                </a:lnTo>
                <a:close/>
              </a:path>
            </a:pathLst>
          </a:custGeom>
          <a:solidFill>
            <a:srgbClr val="E9E9E9">
              <a:alpha val="10000"/>
            </a:srgbClr>
          </a:solidFill>
        </p:spPr>
        <p:txBody>
          <a:bodyPr wrap="square" lIns="2880000" tIns="0" anchor="ctr" anchorCtr="0">
            <a:noAutofit/>
          </a:bodyPr>
          <a:lstStyle>
            <a:lvl1pPr algn="ctr">
              <a:defRPr sz="1400" b="0"/>
            </a:lvl1pPr>
          </a:lstStyle>
          <a:p>
            <a:r>
              <a:rPr lang="nl-NL" smtClean="0"/>
              <a:t>Klik op het pictogram als u een afbeelding wilt toevoege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17490681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1" orient="horz" pos="4135">
          <p15:clr>
            <a:srgbClr val="FBAE40"/>
          </p15:clr>
        </p15:guide>
      </p15:sldGuideLst>
    </p:ext>
  </p:extLst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Split Content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687030" y="1279981"/>
            <a:ext cx="4109625" cy="324000"/>
          </a:xfrm>
        </p:spPr>
        <p:txBody>
          <a:bodyPr>
            <a:noAutofit/>
          </a:bodyPr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6" name="Content Placeholder 2"/>
          <p:cNvSpPr>
            <a:spLocks noGrp="1"/>
          </p:cNvSpPr>
          <p:nvPr>
            <p:ph idx="13" hasCustomPrompt="1"/>
          </p:nvPr>
        </p:nvSpPr>
        <p:spPr bwMode="gray">
          <a:xfrm>
            <a:off x="687030" y="1754561"/>
            <a:ext cx="4109625" cy="1854000"/>
          </a:xfrm>
        </p:spPr>
        <p:txBody>
          <a:bodyPr/>
          <a:lstStyle>
            <a:lvl3pPr>
              <a:lnSpc>
                <a:spcPts val="2200"/>
              </a:lnSpc>
              <a:defRPr sz="20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idx="20" hasCustomPrompt="1"/>
          </p:nvPr>
        </p:nvSpPr>
        <p:spPr bwMode="gray">
          <a:xfrm>
            <a:off x="687030" y="3877590"/>
            <a:ext cx="4109625" cy="324000"/>
          </a:xfrm>
        </p:spPr>
        <p:txBody>
          <a:bodyPr>
            <a:noAutofit/>
          </a:bodyPr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8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687030" y="4346775"/>
            <a:ext cx="4109625" cy="1854000"/>
          </a:xfrm>
        </p:spPr>
        <p:txBody>
          <a:bodyPr/>
          <a:lstStyle>
            <a:lvl3pPr>
              <a:lnSpc>
                <a:spcPts val="2200"/>
              </a:lnSpc>
              <a:defRPr sz="20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cxnSp>
        <p:nvCxnSpPr>
          <p:cNvPr id="9" name="Straight Connector 8"/>
          <p:cNvCxnSpPr/>
          <p:nvPr userDrawn="1"/>
        </p:nvCxnSpPr>
        <p:spPr bwMode="gray">
          <a:xfrm>
            <a:off x="687030" y="1682898"/>
            <a:ext cx="4109625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/>
          <p:cNvCxnSpPr/>
          <p:nvPr userDrawn="1"/>
        </p:nvCxnSpPr>
        <p:spPr bwMode="gray">
          <a:xfrm>
            <a:off x="687030" y="4278810"/>
            <a:ext cx="4109625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5099859" y="1279981"/>
            <a:ext cx="4109625" cy="324000"/>
          </a:xfrm>
        </p:spPr>
        <p:txBody>
          <a:bodyPr>
            <a:noAutofit/>
          </a:bodyPr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16" name="Content Placeholder 2"/>
          <p:cNvSpPr>
            <a:spLocks noGrp="1"/>
          </p:cNvSpPr>
          <p:nvPr>
            <p:ph idx="23" hasCustomPrompt="1"/>
          </p:nvPr>
        </p:nvSpPr>
        <p:spPr bwMode="gray">
          <a:xfrm>
            <a:off x="5099859" y="1754561"/>
            <a:ext cx="4109625" cy="1854000"/>
          </a:xfrm>
        </p:spPr>
        <p:txBody>
          <a:bodyPr/>
          <a:lstStyle>
            <a:lvl3pPr>
              <a:lnSpc>
                <a:spcPts val="2200"/>
              </a:lnSpc>
              <a:defRPr sz="20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sp>
        <p:nvSpPr>
          <p:cNvPr id="17" name="Content Placeholder 2"/>
          <p:cNvSpPr>
            <a:spLocks noGrp="1"/>
          </p:cNvSpPr>
          <p:nvPr>
            <p:ph idx="24" hasCustomPrompt="1"/>
          </p:nvPr>
        </p:nvSpPr>
        <p:spPr bwMode="gray">
          <a:xfrm>
            <a:off x="5099859" y="3877590"/>
            <a:ext cx="4109625" cy="324000"/>
          </a:xfrm>
        </p:spPr>
        <p:txBody>
          <a:bodyPr>
            <a:noAutofit/>
          </a:bodyPr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18" name="Content Placeholder 2"/>
          <p:cNvSpPr>
            <a:spLocks noGrp="1"/>
          </p:cNvSpPr>
          <p:nvPr>
            <p:ph idx="25" hasCustomPrompt="1"/>
          </p:nvPr>
        </p:nvSpPr>
        <p:spPr bwMode="gray">
          <a:xfrm>
            <a:off x="5099859" y="4346775"/>
            <a:ext cx="4109625" cy="1854000"/>
          </a:xfrm>
        </p:spPr>
        <p:txBody>
          <a:bodyPr/>
          <a:lstStyle>
            <a:lvl3pPr>
              <a:lnSpc>
                <a:spcPts val="2200"/>
              </a:lnSpc>
              <a:defRPr sz="20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cxnSp>
        <p:nvCxnSpPr>
          <p:cNvPr id="19" name="Straight Connector 18"/>
          <p:cNvCxnSpPr/>
          <p:nvPr userDrawn="1"/>
        </p:nvCxnSpPr>
        <p:spPr bwMode="gray">
          <a:xfrm>
            <a:off x="5099859" y="1682898"/>
            <a:ext cx="4109625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/>
          <p:cNvCxnSpPr/>
          <p:nvPr userDrawn="1"/>
        </p:nvCxnSpPr>
        <p:spPr bwMode="gray">
          <a:xfrm>
            <a:off x="5099859" y="4278810"/>
            <a:ext cx="4109625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Slide Number Placeholder 11"/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687030" y="280734"/>
            <a:ext cx="8522455" cy="854075"/>
          </a:xfrm>
        </p:spPr>
        <p:txBody>
          <a:bodyPr/>
          <a:lstStyle/>
          <a:p>
            <a:r>
              <a:rPr lang="nl-NL" smtClean="0"/>
              <a:t>Klik om de stijl te bewerke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18113591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="" xmlns:p15="http://schemas.microsoft.com/office/powerpoint/2012/main">
        <p15:guide id="2" pos="3720" userDrawn="1">
          <p15:clr>
            <a:srgbClr val="FBAE40"/>
          </p15:clr>
        </p15:guide>
        <p15:guide id="3" pos="3953" userDrawn="1">
          <p15:clr>
            <a:srgbClr val="FBAE40"/>
          </p15:clr>
        </p15:guide>
        <p15:guide id="4" orient="horz" pos="2274" userDrawn="1">
          <p15:clr>
            <a:srgbClr val="FBAE40"/>
          </p15:clr>
        </p15:guide>
        <p15:guide id="5" orient="horz" pos="2442" userDrawn="1">
          <p15:clr>
            <a:srgbClr val="FBAE40"/>
          </p15:clr>
        </p15:guide>
      </p15:sldGuideLst>
    </p:ext>
  </p:extLst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 Split Title &amp;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687030" y="280734"/>
            <a:ext cx="8522455" cy="854075"/>
          </a:xfrm>
        </p:spPr>
        <p:txBody>
          <a:bodyPr/>
          <a:lstStyle/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  <p:sp>
        <p:nvSpPr>
          <p:cNvPr id="5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687030" y="1278384"/>
            <a:ext cx="2652975" cy="324000"/>
          </a:xfrm>
        </p:spPr>
        <p:txBody>
          <a:bodyPr/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en-GB" noProof="0" dirty="0" smtClean="0"/>
              <a:t>Click to edit title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idx="13" hasCustomPrompt="1"/>
          </p:nvPr>
        </p:nvSpPr>
        <p:spPr bwMode="gray">
          <a:xfrm>
            <a:off x="687030" y="1757279"/>
            <a:ext cx="2652975" cy="1850305"/>
          </a:xfrm>
        </p:spPr>
        <p:txBody>
          <a:bodyPr/>
          <a:lstStyle>
            <a:lvl3pPr>
              <a:lnSpc>
                <a:spcPts val="2100"/>
              </a:lnSpc>
              <a:defRPr sz="18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idx="20" hasCustomPrompt="1"/>
          </p:nvPr>
        </p:nvSpPr>
        <p:spPr bwMode="gray">
          <a:xfrm>
            <a:off x="687030" y="3878568"/>
            <a:ext cx="2652975" cy="324000"/>
          </a:xfrm>
        </p:spPr>
        <p:txBody>
          <a:bodyPr/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8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687030" y="4346776"/>
            <a:ext cx="2652975" cy="1850400"/>
          </a:xfrm>
        </p:spPr>
        <p:txBody>
          <a:bodyPr/>
          <a:lstStyle>
            <a:lvl3pPr>
              <a:lnSpc>
                <a:spcPts val="2100"/>
              </a:lnSpc>
              <a:defRPr sz="18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cxnSp>
        <p:nvCxnSpPr>
          <p:cNvPr id="9" name="Straight Connector 8"/>
          <p:cNvCxnSpPr/>
          <p:nvPr userDrawn="1"/>
        </p:nvCxnSpPr>
        <p:spPr bwMode="gray">
          <a:xfrm>
            <a:off x="687030" y="1685616"/>
            <a:ext cx="2652975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/>
          <p:cNvCxnSpPr/>
          <p:nvPr userDrawn="1"/>
        </p:nvCxnSpPr>
        <p:spPr bwMode="gray">
          <a:xfrm>
            <a:off x="687030" y="4278810"/>
            <a:ext cx="2652975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6556509" y="1278384"/>
            <a:ext cx="2652975" cy="324000"/>
          </a:xfrm>
        </p:spPr>
        <p:txBody>
          <a:bodyPr/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41" name="Content Placeholder 2"/>
          <p:cNvSpPr>
            <a:spLocks noGrp="1"/>
          </p:cNvSpPr>
          <p:nvPr>
            <p:ph idx="23" hasCustomPrompt="1"/>
          </p:nvPr>
        </p:nvSpPr>
        <p:spPr bwMode="gray">
          <a:xfrm>
            <a:off x="6556509" y="1757279"/>
            <a:ext cx="2652975" cy="1850305"/>
          </a:xfrm>
        </p:spPr>
        <p:txBody>
          <a:bodyPr/>
          <a:lstStyle>
            <a:lvl3pPr>
              <a:lnSpc>
                <a:spcPts val="2100"/>
              </a:lnSpc>
              <a:defRPr sz="18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sp>
        <p:nvSpPr>
          <p:cNvPr id="42" name="Content Placeholder 2"/>
          <p:cNvSpPr>
            <a:spLocks noGrp="1"/>
          </p:cNvSpPr>
          <p:nvPr>
            <p:ph idx="24" hasCustomPrompt="1"/>
          </p:nvPr>
        </p:nvSpPr>
        <p:spPr bwMode="gray">
          <a:xfrm>
            <a:off x="6556509" y="3878568"/>
            <a:ext cx="2652975" cy="324000"/>
          </a:xfrm>
        </p:spPr>
        <p:txBody>
          <a:bodyPr/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43" name="Content Placeholder 2"/>
          <p:cNvSpPr>
            <a:spLocks noGrp="1"/>
          </p:cNvSpPr>
          <p:nvPr>
            <p:ph idx="25" hasCustomPrompt="1"/>
          </p:nvPr>
        </p:nvSpPr>
        <p:spPr bwMode="gray">
          <a:xfrm>
            <a:off x="6556509" y="4346776"/>
            <a:ext cx="2652975" cy="1850400"/>
          </a:xfrm>
        </p:spPr>
        <p:txBody>
          <a:bodyPr/>
          <a:lstStyle>
            <a:lvl3pPr>
              <a:lnSpc>
                <a:spcPts val="2100"/>
              </a:lnSpc>
              <a:defRPr sz="18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cxnSp>
        <p:nvCxnSpPr>
          <p:cNvPr id="44" name="Straight Connector 43"/>
          <p:cNvCxnSpPr/>
          <p:nvPr userDrawn="1"/>
        </p:nvCxnSpPr>
        <p:spPr bwMode="gray">
          <a:xfrm>
            <a:off x="6556509" y="1685616"/>
            <a:ext cx="2652975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Straight Connector 44"/>
          <p:cNvCxnSpPr/>
          <p:nvPr userDrawn="1"/>
        </p:nvCxnSpPr>
        <p:spPr bwMode="gray">
          <a:xfrm>
            <a:off x="6556509" y="4278810"/>
            <a:ext cx="2652975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Content Placeholder 2"/>
          <p:cNvSpPr>
            <a:spLocks noGrp="1"/>
          </p:cNvSpPr>
          <p:nvPr>
            <p:ph idx="26" hasCustomPrompt="1"/>
          </p:nvPr>
        </p:nvSpPr>
        <p:spPr bwMode="gray">
          <a:xfrm>
            <a:off x="3621769" y="1278384"/>
            <a:ext cx="2652975" cy="324000"/>
          </a:xfrm>
        </p:spPr>
        <p:txBody>
          <a:bodyPr/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47" name="Content Placeholder 2"/>
          <p:cNvSpPr>
            <a:spLocks noGrp="1"/>
          </p:cNvSpPr>
          <p:nvPr>
            <p:ph idx="27" hasCustomPrompt="1"/>
          </p:nvPr>
        </p:nvSpPr>
        <p:spPr bwMode="gray">
          <a:xfrm>
            <a:off x="3621769" y="1757279"/>
            <a:ext cx="2652975" cy="1850305"/>
          </a:xfrm>
        </p:spPr>
        <p:txBody>
          <a:bodyPr/>
          <a:lstStyle>
            <a:lvl3pPr>
              <a:lnSpc>
                <a:spcPts val="2100"/>
              </a:lnSpc>
              <a:defRPr sz="18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sp>
        <p:nvSpPr>
          <p:cNvPr id="48" name="Content Placeholder 2"/>
          <p:cNvSpPr>
            <a:spLocks noGrp="1"/>
          </p:cNvSpPr>
          <p:nvPr>
            <p:ph idx="28" hasCustomPrompt="1"/>
          </p:nvPr>
        </p:nvSpPr>
        <p:spPr bwMode="gray">
          <a:xfrm>
            <a:off x="3621769" y="3878568"/>
            <a:ext cx="2652975" cy="324000"/>
          </a:xfrm>
        </p:spPr>
        <p:txBody>
          <a:bodyPr/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49" name="Content Placeholder 2"/>
          <p:cNvSpPr>
            <a:spLocks noGrp="1"/>
          </p:cNvSpPr>
          <p:nvPr>
            <p:ph idx="29" hasCustomPrompt="1"/>
          </p:nvPr>
        </p:nvSpPr>
        <p:spPr bwMode="gray">
          <a:xfrm>
            <a:off x="3621769" y="4346776"/>
            <a:ext cx="2652975" cy="1850400"/>
          </a:xfrm>
        </p:spPr>
        <p:txBody>
          <a:bodyPr/>
          <a:lstStyle>
            <a:lvl3pPr>
              <a:lnSpc>
                <a:spcPts val="2100"/>
              </a:lnSpc>
              <a:defRPr sz="18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cxnSp>
        <p:nvCxnSpPr>
          <p:cNvPr id="50" name="Straight Connector 49"/>
          <p:cNvCxnSpPr/>
          <p:nvPr userDrawn="1"/>
        </p:nvCxnSpPr>
        <p:spPr bwMode="gray">
          <a:xfrm>
            <a:off x="3621769" y="1685616"/>
            <a:ext cx="2652975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Straight Connector 50"/>
          <p:cNvCxnSpPr/>
          <p:nvPr userDrawn="1"/>
        </p:nvCxnSpPr>
        <p:spPr bwMode="gray">
          <a:xfrm>
            <a:off x="3621769" y="4278810"/>
            <a:ext cx="2652975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Slide Number Placeholder 12"/>
          <p:cNvSpPr>
            <a:spLocks noGrp="1"/>
          </p:cNvSpPr>
          <p:nvPr>
            <p:ph type="sldNum" sz="quarter" idx="31"/>
          </p:nvPr>
        </p:nvSpPr>
        <p:spPr/>
        <p:txBody>
          <a:bodyPr/>
          <a:lstStyle/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85675674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="" xmlns:p15="http://schemas.microsoft.com/office/powerpoint/2012/main">
        <p15:guide id="2" pos="2592" userDrawn="1">
          <p15:clr>
            <a:srgbClr val="FBAE40"/>
          </p15:clr>
        </p15:guide>
        <p15:guide id="3" pos="5082" userDrawn="1">
          <p15:clr>
            <a:srgbClr val="FBAE40"/>
          </p15:clr>
        </p15:guide>
        <p15:guide id="4" pos="2803" userDrawn="1">
          <p15:clr>
            <a:srgbClr val="FBAE40"/>
          </p15:clr>
        </p15:guide>
        <p15:guide id="5" pos="4866" userDrawn="1">
          <p15:clr>
            <a:srgbClr val="FBAE40"/>
          </p15:clr>
        </p15:guide>
        <p15:guide id="6" orient="horz" pos="2274" userDrawn="1">
          <p15:clr>
            <a:srgbClr val="FBAE40"/>
          </p15:clr>
        </p15:guide>
        <p15:guide id="7" orient="horz" pos="2442" userDrawn="1">
          <p15:clr>
            <a:srgbClr val="FBAE40"/>
          </p15:clr>
        </p15:guide>
      </p15:sldGuideLst>
    </p:ext>
  </p:extLst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 Split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687030" y="280734"/>
            <a:ext cx="8522455" cy="854075"/>
          </a:xfrm>
        </p:spPr>
        <p:txBody>
          <a:bodyPr/>
          <a:lstStyle/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  <p:sp>
        <p:nvSpPr>
          <p:cNvPr id="5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687029" y="1278384"/>
            <a:ext cx="2076750" cy="324000"/>
          </a:xfrm>
        </p:spPr>
        <p:txBody>
          <a:bodyPr/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6" name="Content Placeholder 2"/>
          <p:cNvSpPr>
            <a:spLocks noGrp="1"/>
          </p:cNvSpPr>
          <p:nvPr>
            <p:ph idx="13" hasCustomPrompt="1"/>
          </p:nvPr>
        </p:nvSpPr>
        <p:spPr bwMode="gray">
          <a:xfrm>
            <a:off x="687029" y="1757279"/>
            <a:ext cx="2076750" cy="1850400"/>
          </a:xfrm>
        </p:spPr>
        <p:txBody>
          <a:bodyPr/>
          <a:lstStyle>
            <a:lvl3pPr>
              <a:lnSpc>
                <a:spcPts val="2100"/>
              </a:lnSpc>
              <a:defRPr sz="18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idx="20" hasCustomPrompt="1"/>
          </p:nvPr>
        </p:nvSpPr>
        <p:spPr bwMode="gray">
          <a:xfrm>
            <a:off x="687029" y="3878568"/>
            <a:ext cx="2076750" cy="324000"/>
          </a:xfrm>
        </p:spPr>
        <p:txBody>
          <a:bodyPr/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8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687029" y="4346776"/>
            <a:ext cx="2076750" cy="1850400"/>
          </a:xfrm>
        </p:spPr>
        <p:txBody>
          <a:bodyPr/>
          <a:lstStyle>
            <a:lvl3pPr>
              <a:lnSpc>
                <a:spcPts val="2100"/>
              </a:lnSpc>
              <a:defRPr sz="18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cxnSp>
        <p:nvCxnSpPr>
          <p:cNvPr id="9" name="Straight Connector 8"/>
          <p:cNvCxnSpPr/>
          <p:nvPr userDrawn="1"/>
        </p:nvCxnSpPr>
        <p:spPr bwMode="gray">
          <a:xfrm>
            <a:off x="687029" y="1685616"/>
            <a:ext cx="2076750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/>
          <p:cNvCxnSpPr/>
          <p:nvPr userDrawn="1"/>
        </p:nvCxnSpPr>
        <p:spPr bwMode="gray">
          <a:xfrm>
            <a:off x="687029" y="4278810"/>
            <a:ext cx="2076750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2835597" y="1278384"/>
            <a:ext cx="2076750" cy="324000"/>
          </a:xfrm>
        </p:spPr>
        <p:txBody>
          <a:bodyPr/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52" name="Content Placeholder 2"/>
          <p:cNvSpPr>
            <a:spLocks noGrp="1"/>
          </p:cNvSpPr>
          <p:nvPr>
            <p:ph idx="23" hasCustomPrompt="1"/>
          </p:nvPr>
        </p:nvSpPr>
        <p:spPr bwMode="gray">
          <a:xfrm>
            <a:off x="2835597" y="1757279"/>
            <a:ext cx="2076750" cy="1850400"/>
          </a:xfrm>
        </p:spPr>
        <p:txBody>
          <a:bodyPr/>
          <a:lstStyle>
            <a:lvl3pPr>
              <a:lnSpc>
                <a:spcPts val="2100"/>
              </a:lnSpc>
              <a:defRPr sz="18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sp>
        <p:nvSpPr>
          <p:cNvPr id="53" name="Content Placeholder 2"/>
          <p:cNvSpPr>
            <a:spLocks noGrp="1"/>
          </p:cNvSpPr>
          <p:nvPr>
            <p:ph idx="24" hasCustomPrompt="1"/>
          </p:nvPr>
        </p:nvSpPr>
        <p:spPr bwMode="gray">
          <a:xfrm>
            <a:off x="2835597" y="3878568"/>
            <a:ext cx="2076750" cy="324000"/>
          </a:xfrm>
        </p:spPr>
        <p:txBody>
          <a:bodyPr/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54" name="Content Placeholder 2"/>
          <p:cNvSpPr>
            <a:spLocks noGrp="1"/>
          </p:cNvSpPr>
          <p:nvPr>
            <p:ph idx="25" hasCustomPrompt="1"/>
          </p:nvPr>
        </p:nvSpPr>
        <p:spPr bwMode="gray">
          <a:xfrm>
            <a:off x="2835597" y="4346776"/>
            <a:ext cx="2076750" cy="1850400"/>
          </a:xfrm>
        </p:spPr>
        <p:txBody>
          <a:bodyPr/>
          <a:lstStyle>
            <a:lvl3pPr>
              <a:lnSpc>
                <a:spcPts val="2100"/>
              </a:lnSpc>
              <a:defRPr sz="18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cxnSp>
        <p:nvCxnSpPr>
          <p:cNvPr id="55" name="Straight Connector 54"/>
          <p:cNvCxnSpPr/>
          <p:nvPr userDrawn="1"/>
        </p:nvCxnSpPr>
        <p:spPr bwMode="gray">
          <a:xfrm>
            <a:off x="2835597" y="1685616"/>
            <a:ext cx="2076750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Straight Connector 55"/>
          <p:cNvCxnSpPr/>
          <p:nvPr userDrawn="1"/>
        </p:nvCxnSpPr>
        <p:spPr bwMode="gray">
          <a:xfrm>
            <a:off x="2835597" y="4278810"/>
            <a:ext cx="2076750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Content Placeholder 2"/>
          <p:cNvSpPr>
            <a:spLocks noGrp="1"/>
          </p:cNvSpPr>
          <p:nvPr>
            <p:ph idx="26" hasCustomPrompt="1"/>
          </p:nvPr>
        </p:nvSpPr>
        <p:spPr bwMode="gray">
          <a:xfrm>
            <a:off x="4984166" y="1278384"/>
            <a:ext cx="2076750" cy="324000"/>
          </a:xfrm>
        </p:spPr>
        <p:txBody>
          <a:bodyPr/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58" name="Content Placeholder 2"/>
          <p:cNvSpPr>
            <a:spLocks noGrp="1"/>
          </p:cNvSpPr>
          <p:nvPr>
            <p:ph idx="27" hasCustomPrompt="1"/>
          </p:nvPr>
        </p:nvSpPr>
        <p:spPr bwMode="gray">
          <a:xfrm>
            <a:off x="4984166" y="1757279"/>
            <a:ext cx="2076750" cy="1850400"/>
          </a:xfrm>
        </p:spPr>
        <p:txBody>
          <a:bodyPr/>
          <a:lstStyle>
            <a:lvl3pPr>
              <a:lnSpc>
                <a:spcPts val="2100"/>
              </a:lnSpc>
              <a:defRPr sz="18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sp>
        <p:nvSpPr>
          <p:cNvPr id="59" name="Content Placeholder 2"/>
          <p:cNvSpPr>
            <a:spLocks noGrp="1"/>
          </p:cNvSpPr>
          <p:nvPr>
            <p:ph idx="28" hasCustomPrompt="1"/>
          </p:nvPr>
        </p:nvSpPr>
        <p:spPr bwMode="gray">
          <a:xfrm>
            <a:off x="4984166" y="3878568"/>
            <a:ext cx="2076750" cy="324000"/>
          </a:xfrm>
        </p:spPr>
        <p:txBody>
          <a:bodyPr/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60" name="Content Placeholder 2"/>
          <p:cNvSpPr>
            <a:spLocks noGrp="1"/>
          </p:cNvSpPr>
          <p:nvPr>
            <p:ph idx="29" hasCustomPrompt="1"/>
          </p:nvPr>
        </p:nvSpPr>
        <p:spPr bwMode="gray">
          <a:xfrm>
            <a:off x="4984166" y="4346776"/>
            <a:ext cx="2076750" cy="1850400"/>
          </a:xfrm>
        </p:spPr>
        <p:txBody>
          <a:bodyPr/>
          <a:lstStyle>
            <a:lvl3pPr>
              <a:lnSpc>
                <a:spcPts val="2100"/>
              </a:lnSpc>
              <a:defRPr sz="18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cxnSp>
        <p:nvCxnSpPr>
          <p:cNvPr id="61" name="Straight Connector 60"/>
          <p:cNvCxnSpPr/>
          <p:nvPr userDrawn="1"/>
        </p:nvCxnSpPr>
        <p:spPr bwMode="gray">
          <a:xfrm>
            <a:off x="4984166" y="1685616"/>
            <a:ext cx="2076750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Straight Connector 61"/>
          <p:cNvCxnSpPr/>
          <p:nvPr userDrawn="1"/>
        </p:nvCxnSpPr>
        <p:spPr bwMode="gray">
          <a:xfrm>
            <a:off x="4984166" y="4278810"/>
            <a:ext cx="2076750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" name="Content Placeholder 2"/>
          <p:cNvSpPr>
            <a:spLocks noGrp="1"/>
          </p:cNvSpPr>
          <p:nvPr>
            <p:ph idx="30" hasCustomPrompt="1"/>
          </p:nvPr>
        </p:nvSpPr>
        <p:spPr bwMode="gray">
          <a:xfrm>
            <a:off x="7132734" y="1278384"/>
            <a:ext cx="2076750" cy="324000"/>
          </a:xfrm>
        </p:spPr>
        <p:txBody>
          <a:bodyPr/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64" name="Content Placeholder 2"/>
          <p:cNvSpPr>
            <a:spLocks noGrp="1"/>
          </p:cNvSpPr>
          <p:nvPr>
            <p:ph idx="31" hasCustomPrompt="1"/>
          </p:nvPr>
        </p:nvSpPr>
        <p:spPr bwMode="gray">
          <a:xfrm>
            <a:off x="7132734" y="1757279"/>
            <a:ext cx="2076750" cy="1850400"/>
          </a:xfrm>
        </p:spPr>
        <p:txBody>
          <a:bodyPr/>
          <a:lstStyle>
            <a:lvl3pPr>
              <a:lnSpc>
                <a:spcPts val="2100"/>
              </a:lnSpc>
              <a:defRPr sz="18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sp>
        <p:nvSpPr>
          <p:cNvPr id="65" name="Content Placeholder 2"/>
          <p:cNvSpPr>
            <a:spLocks noGrp="1"/>
          </p:cNvSpPr>
          <p:nvPr>
            <p:ph idx="32" hasCustomPrompt="1"/>
          </p:nvPr>
        </p:nvSpPr>
        <p:spPr bwMode="gray">
          <a:xfrm>
            <a:off x="7132734" y="3878568"/>
            <a:ext cx="2076750" cy="324000"/>
          </a:xfrm>
        </p:spPr>
        <p:txBody>
          <a:bodyPr/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66" name="Content Placeholder 2"/>
          <p:cNvSpPr>
            <a:spLocks noGrp="1"/>
          </p:cNvSpPr>
          <p:nvPr>
            <p:ph idx="33" hasCustomPrompt="1"/>
          </p:nvPr>
        </p:nvSpPr>
        <p:spPr bwMode="gray">
          <a:xfrm>
            <a:off x="7132734" y="4346776"/>
            <a:ext cx="2076750" cy="1850400"/>
          </a:xfrm>
        </p:spPr>
        <p:txBody>
          <a:bodyPr/>
          <a:lstStyle>
            <a:lvl3pPr>
              <a:lnSpc>
                <a:spcPts val="2100"/>
              </a:lnSpc>
              <a:defRPr sz="18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cxnSp>
        <p:nvCxnSpPr>
          <p:cNvPr id="67" name="Straight Connector 66"/>
          <p:cNvCxnSpPr/>
          <p:nvPr userDrawn="1"/>
        </p:nvCxnSpPr>
        <p:spPr bwMode="gray">
          <a:xfrm>
            <a:off x="7132734" y="1685616"/>
            <a:ext cx="2076750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Straight Connector 67"/>
          <p:cNvCxnSpPr/>
          <p:nvPr userDrawn="1"/>
        </p:nvCxnSpPr>
        <p:spPr bwMode="gray">
          <a:xfrm>
            <a:off x="7132734" y="4278810"/>
            <a:ext cx="2076750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Slide Number Placeholder 11"/>
          <p:cNvSpPr>
            <a:spLocks noGrp="1"/>
          </p:cNvSpPr>
          <p:nvPr>
            <p:ph type="sldNum" sz="quarter" idx="35"/>
          </p:nvPr>
        </p:nvSpPr>
        <p:spPr/>
        <p:txBody>
          <a:bodyPr/>
          <a:lstStyle/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16838780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="" xmlns:p15="http://schemas.microsoft.com/office/powerpoint/2012/main">
        <p15:guide id="2" pos="2149" userDrawn="1">
          <p15:clr>
            <a:srgbClr val="FBAE40"/>
          </p15:clr>
        </p15:guide>
        <p15:guide id="4" pos="5480" userDrawn="1">
          <p15:clr>
            <a:srgbClr val="FBAE40"/>
          </p15:clr>
        </p15:guide>
        <p15:guide id="5" pos="3864" userDrawn="1">
          <p15:clr>
            <a:srgbClr val="FBAE40"/>
          </p15:clr>
        </p15:guide>
        <p15:guide id="6" pos="2196" userDrawn="1">
          <p15:clr>
            <a:srgbClr val="FBAE40"/>
          </p15:clr>
        </p15:guide>
        <p15:guide id="7" pos="3809" userDrawn="1">
          <p15:clr>
            <a:srgbClr val="FBAE40"/>
          </p15:clr>
        </p15:guide>
        <p15:guide id="8" pos="5528" userDrawn="1">
          <p15:clr>
            <a:srgbClr val="FBAE40"/>
          </p15:clr>
        </p15:guide>
        <p15:guide id="9" orient="horz" pos="2274" userDrawn="1">
          <p15:clr>
            <a:srgbClr val="FBAE40"/>
          </p15:clr>
        </p15:guide>
        <p15:guide id="10" orient="horz" pos="2442" userDrawn="1">
          <p15:clr>
            <a:srgbClr val="FBAE40"/>
          </p15:clr>
        </p15:guide>
      </p15:sldGuideLst>
    </p:ext>
  </p:extLst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Pictur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3694866" y="1270000"/>
            <a:ext cx="5514620" cy="4978400"/>
          </a:xfrm>
        </p:spPr>
        <p:txBody>
          <a:bodyPr/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12" name="Picture Placeholder 11"/>
          <p:cNvSpPr>
            <a:spLocks noGrp="1"/>
          </p:cNvSpPr>
          <p:nvPr>
            <p:ph type="pic" sz="quarter" idx="16"/>
          </p:nvPr>
        </p:nvSpPr>
        <p:spPr bwMode="gray">
          <a:xfrm>
            <a:off x="563663" y="280732"/>
            <a:ext cx="2797671" cy="5920066"/>
          </a:xfrm>
          <a:custGeom>
            <a:avLst/>
            <a:gdLst>
              <a:gd name="connsiteX0" fmla="*/ 95997 w 3443287"/>
              <a:gd name="connsiteY0" fmla="*/ 0 h 5920066"/>
              <a:gd name="connsiteX1" fmla="*/ 3443287 w 3443287"/>
              <a:gd name="connsiteY1" fmla="*/ 0 h 5920066"/>
              <a:gd name="connsiteX2" fmla="*/ 3443287 w 3443287"/>
              <a:gd name="connsiteY2" fmla="*/ 5920066 h 5920066"/>
              <a:gd name="connsiteX3" fmla="*/ 95989 w 3443287"/>
              <a:gd name="connsiteY3" fmla="*/ 5920066 h 5920066"/>
              <a:gd name="connsiteX4" fmla="*/ 64311 w 3443287"/>
              <a:gd name="connsiteY4" fmla="*/ 5915938 h 5920066"/>
              <a:gd name="connsiteX5" fmla="*/ 0 w 3443287"/>
              <a:gd name="connsiteY5" fmla="*/ 5823957 h 5920066"/>
              <a:gd name="connsiteX6" fmla="*/ 0 w 3443287"/>
              <a:gd name="connsiteY6" fmla="*/ 5820222 h 5920066"/>
              <a:gd name="connsiteX7" fmla="*/ 0 w 3443287"/>
              <a:gd name="connsiteY7" fmla="*/ 5811351 h 5920066"/>
              <a:gd name="connsiteX8" fmla="*/ 0 w 3443287"/>
              <a:gd name="connsiteY8" fmla="*/ 5794075 h 5920066"/>
              <a:gd name="connsiteX9" fmla="*/ 0 w 3443287"/>
              <a:gd name="connsiteY9" fmla="*/ 5765594 h 5920066"/>
              <a:gd name="connsiteX10" fmla="*/ 0 w 3443287"/>
              <a:gd name="connsiteY10" fmla="*/ 5723106 h 5920066"/>
              <a:gd name="connsiteX11" fmla="*/ 0 w 3443287"/>
              <a:gd name="connsiteY11" fmla="*/ 5663809 h 5920066"/>
              <a:gd name="connsiteX12" fmla="*/ 0 w 3443287"/>
              <a:gd name="connsiteY12" fmla="*/ 5584902 h 5920066"/>
              <a:gd name="connsiteX13" fmla="*/ 0 w 3443287"/>
              <a:gd name="connsiteY13" fmla="*/ 5549717 h 5920066"/>
              <a:gd name="connsiteX14" fmla="*/ 0 w 3443287"/>
              <a:gd name="connsiteY14" fmla="*/ 5548611 h 5920066"/>
              <a:gd name="connsiteX15" fmla="*/ 0 w 3443287"/>
              <a:gd name="connsiteY15" fmla="*/ 5540863 h 5920066"/>
              <a:gd name="connsiteX16" fmla="*/ 0 w 3443287"/>
              <a:gd name="connsiteY16" fmla="*/ 5520020 h 5920066"/>
              <a:gd name="connsiteX17" fmla="*/ 0 w 3443287"/>
              <a:gd name="connsiteY17" fmla="*/ 5519835 h 5920066"/>
              <a:gd name="connsiteX18" fmla="*/ 0 w 3443287"/>
              <a:gd name="connsiteY18" fmla="*/ 5478886 h 5920066"/>
              <a:gd name="connsiteX19" fmla="*/ 0 w 3443287"/>
              <a:gd name="connsiteY19" fmla="*/ 5448866 h 5920066"/>
              <a:gd name="connsiteX20" fmla="*/ 0 w 3443287"/>
              <a:gd name="connsiteY20" fmla="*/ 5444347 h 5920066"/>
              <a:gd name="connsiteX21" fmla="*/ 0 w 3443287"/>
              <a:gd name="connsiteY21" fmla="*/ 5411375 h 5920066"/>
              <a:gd name="connsiteX22" fmla="*/ 0 w 3443287"/>
              <a:gd name="connsiteY22" fmla="*/ 5365584 h 5920066"/>
              <a:gd name="connsiteX23" fmla="*/ 0 w 3443287"/>
              <a:gd name="connsiteY23" fmla="*/ 5357053 h 5920066"/>
              <a:gd name="connsiteX24" fmla="*/ 0 w 3443287"/>
              <a:gd name="connsiteY24" fmla="*/ 5310662 h 5920066"/>
              <a:gd name="connsiteX25" fmla="*/ 0 w 3443287"/>
              <a:gd name="connsiteY25" fmla="*/ 5257308 h 5920066"/>
              <a:gd name="connsiteX26" fmla="*/ 0 w 3443287"/>
              <a:gd name="connsiteY26" fmla="*/ 5245780 h 5920066"/>
              <a:gd name="connsiteX27" fmla="*/ 0 w 3443287"/>
              <a:gd name="connsiteY27" fmla="*/ 5170107 h 5920066"/>
              <a:gd name="connsiteX28" fmla="*/ 0 w 3443287"/>
              <a:gd name="connsiteY28" fmla="*/ 5144283 h 5920066"/>
              <a:gd name="connsiteX29" fmla="*/ 0 w 3443287"/>
              <a:gd name="connsiteY29" fmla="*/ 5082813 h 5920066"/>
              <a:gd name="connsiteX30" fmla="*/ 0 w 3443287"/>
              <a:gd name="connsiteY30" fmla="*/ 5017146 h 5920066"/>
              <a:gd name="connsiteX31" fmla="*/ 0 w 3443287"/>
              <a:gd name="connsiteY31" fmla="*/ 4983068 h 5920066"/>
              <a:gd name="connsiteX32" fmla="*/ 0 w 3443287"/>
              <a:gd name="connsiteY32" fmla="*/ 4903543 h 5920066"/>
              <a:gd name="connsiteX33" fmla="*/ 0 w 3443287"/>
              <a:gd name="connsiteY33" fmla="*/ 4899808 h 5920066"/>
              <a:gd name="connsiteX34" fmla="*/ 0 w 3443287"/>
              <a:gd name="connsiteY34" fmla="*/ 4890937 h 5920066"/>
              <a:gd name="connsiteX35" fmla="*/ 0 w 3443287"/>
              <a:gd name="connsiteY35" fmla="*/ 4875069 h 5920066"/>
              <a:gd name="connsiteX36" fmla="*/ 0 w 3443287"/>
              <a:gd name="connsiteY36" fmla="*/ 4873661 h 5920066"/>
              <a:gd name="connsiteX37" fmla="*/ 0 w 3443287"/>
              <a:gd name="connsiteY37" fmla="*/ 4870043 h 5920066"/>
              <a:gd name="connsiteX38" fmla="*/ 0 w 3443287"/>
              <a:gd name="connsiteY38" fmla="*/ 4845180 h 5920066"/>
              <a:gd name="connsiteX39" fmla="*/ 0 w 3443287"/>
              <a:gd name="connsiteY39" fmla="*/ 4802692 h 5920066"/>
              <a:gd name="connsiteX40" fmla="*/ 0 w 3443287"/>
              <a:gd name="connsiteY40" fmla="*/ 4743395 h 5920066"/>
              <a:gd name="connsiteX41" fmla="*/ 0 w 3443287"/>
              <a:gd name="connsiteY41" fmla="*/ 4742906 h 5920066"/>
              <a:gd name="connsiteX42" fmla="*/ 0 w 3443287"/>
              <a:gd name="connsiteY42" fmla="*/ 4717221 h 5920066"/>
              <a:gd name="connsiteX43" fmla="*/ 0 w 3443287"/>
              <a:gd name="connsiteY43" fmla="*/ 4664488 h 5920066"/>
              <a:gd name="connsiteX44" fmla="*/ 0 w 3443287"/>
              <a:gd name="connsiteY44" fmla="*/ 4629303 h 5920066"/>
              <a:gd name="connsiteX45" fmla="*/ 0 w 3443287"/>
              <a:gd name="connsiteY45" fmla="*/ 4628197 h 5920066"/>
              <a:gd name="connsiteX46" fmla="*/ 0 w 3443287"/>
              <a:gd name="connsiteY46" fmla="*/ 4620449 h 5920066"/>
              <a:gd name="connsiteX47" fmla="*/ 0 w 3443287"/>
              <a:gd name="connsiteY47" fmla="*/ 4600829 h 5920066"/>
              <a:gd name="connsiteX48" fmla="*/ 0 w 3443287"/>
              <a:gd name="connsiteY48" fmla="*/ 4599606 h 5920066"/>
              <a:gd name="connsiteX49" fmla="*/ 0 w 3443287"/>
              <a:gd name="connsiteY49" fmla="*/ 4599421 h 5920066"/>
              <a:gd name="connsiteX50" fmla="*/ 0 w 3443287"/>
              <a:gd name="connsiteY50" fmla="*/ 4558472 h 5920066"/>
              <a:gd name="connsiteX51" fmla="*/ 0 w 3443287"/>
              <a:gd name="connsiteY51" fmla="*/ 4542771 h 5920066"/>
              <a:gd name="connsiteX52" fmla="*/ 0 w 3443287"/>
              <a:gd name="connsiteY52" fmla="*/ 4528452 h 5920066"/>
              <a:gd name="connsiteX53" fmla="*/ 0 w 3443287"/>
              <a:gd name="connsiteY53" fmla="*/ 4523933 h 5920066"/>
              <a:gd name="connsiteX54" fmla="*/ 0 w 3443287"/>
              <a:gd name="connsiteY54" fmla="*/ 4490961 h 5920066"/>
              <a:gd name="connsiteX55" fmla="*/ 0 w 3443287"/>
              <a:gd name="connsiteY55" fmla="*/ 4445170 h 5920066"/>
              <a:gd name="connsiteX56" fmla="*/ 0 w 3443287"/>
              <a:gd name="connsiteY56" fmla="*/ 4442981 h 5920066"/>
              <a:gd name="connsiteX57" fmla="*/ 0 w 3443287"/>
              <a:gd name="connsiteY57" fmla="*/ 4436639 h 5920066"/>
              <a:gd name="connsiteX58" fmla="*/ 0 w 3443287"/>
              <a:gd name="connsiteY58" fmla="*/ 4390248 h 5920066"/>
              <a:gd name="connsiteX59" fmla="*/ 0 w 3443287"/>
              <a:gd name="connsiteY59" fmla="*/ 4350891 h 5920066"/>
              <a:gd name="connsiteX60" fmla="*/ 0 w 3443287"/>
              <a:gd name="connsiteY60" fmla="*/ 4336894 h 5920066"/>
              <a:gd name="connsiteX61" fmla="*/ 0 w 3443287"/>
              <a:gd name="connsiteY61" fmla="*/ 4325366 h 5920066"/>
              <a:gd name="connsiteX62" fmla="*/ 0 w 3443287"/>
              <a:gd name="connsiteY62" fmla="*/ 4268531 h 5920066"/>
              <a:gd name="connsiteX63" fmla="*/ 0 w 3443287"/>
              <a:gd name="connsiteY63" fmla="*/ 4249693 h 5920066"/>
              <a:gd name="connsiteX64" fmla="*/ 0 w 3443287"/>
              <a:gd name="connsiteY64" fmla="*/ 4223869 h 5920066"/>
              <a:gd name="connsiteX65" fmla="*/ 0 w 3443287"/>
              <a:gd name="connsiteY65" fmla="*/ 4162399 h 5920066"/>
              <a:gd name="connsiteX66" fmla="*/ 0 w 3443287"/>
              <a:gd name="connsiteY66" fmla="*/ 4140749 h 5920066"/>
              <a:gd name="connsiteX67" fmla="*/ 0 w 3443287"/>
              <a:gd name="connsiteY67" fmla="*/ 4096732 h 5920066"/>
              <a:gd name="connsiteX68" fmla="*/ 0 w 3443287"/>
              <a:gd name="connsiteY68" fmla="*/ 4076651 h 5920066"/>
              <a:gd name="connsiteX69" fmla="*/ 0 w 3443287"/>
              <a:gd name="connsiteY69" fmla="*/ 4062654 h 5920066"/>
              <a:gd name="connsiteX70" fmla="*/ 0 w 3443287"/>
              <a:gd name="connsiteY70" fmla="*/ 3954655 h 5920066"/>
              <a:gd name="connsiteX71" fmla="*/ 0 w 3443287"/>
              <a:gd name="connsiteY71" fmla="*/ 3949629 h 5920066"/>
              <a:gd name="connsiteX72" fmla="*/ 0 w 3443287"/>
              <a:gd name="connsiteY72" fmla="*/ 3911516 h 5920066"/>
              <a:gd name="connsiteX73" fmla="*/ 0 w 3443287"/>
              <a:gd name="connsiteY73" fmla="*/ 3866509 h 5920066"/>
              <a:gd name="connsiteX74" fmla="*/ 0 w 3443287"/>
              <a:gd name="connsiteY74" fmla="*/ 3822492 h 5920066"/>
              <a:gd name="connsiteX75" fmla="*/ 0 w 3443287"/>
              <a:gd name="connsiteY75" fmla="*/ 3796807 h 5920066"/>
              <a:gd name="connsiteX76" fmla="*/ 0 w 3443287"/>
              <a:gd name="connsiteY76" fmla="*/ 3680415 h 5920066"/>
              <a:gd name="connsiteX77" fmla="*/ 0 w 3443287"/>
              <a:gd name="connsiteY77" fmla="*/ 3662362 h 5920066"/>
              <a:gd name="connsiteX78" fmla="*/ 0 w 3443287"/>
              <a:gd name="connsiteY78" fmla="*/ 3637276 h 5920066"/>
              <a:gd name="connsiteX79" fmla="*/ 0 w 3443287"/>
              <a:gd name="connsiteY79" fmla="*/ 3622357 h 5920066"/>
              <a:gd name="connsiteX80" fmla="*/ 0 w 3443287"/>
              <a:gd name="connsiteY80" fmla="*/ 3522567 h 5920066"/>
              <a:gd name="connsiteX81" fmla="*/ 0 w 3443287"/>
              <a:gd name="connsiteY81" fmla="*/ 3430477 h 5920066"/>
              <a:gd name="connsiteX82" fmla="*/ 0 w 3443287"/>
              <a:gd name="connsiteY82" fmla="*/ 3392457 h 5920066"/>
              <a:gd name="connsiteX83" fmla="*/ 0 w 3443287"/>
              <a:gd name="connsiteY83" fmla="*/ 3388122 h 5920066"/>
              <a:gd name="connsiteX84" fmla="*/ 0 w 3443287"/>
              <a:gd name="connsiteY84" fmla="*/ 3348117 h 5920066"/>
              <a:gd name="connsiteX85" fmla="*/ 0 w 3443287"/>
              <a:gd name="connsiteY85" fmla="*/ 3220335 h 5920066"/>
              <a:gd name="connsiteX86" fmla="*/ 0 w 3443287"/>
              <a:gd name="connsiteY86" fmla="*/ 3156237 h 5920066"/>
              <a:gd name="connsiteX87" fmla="*/ 0 w 3443287"/>
              <a:gd name="connsiteY87" fmla="*/ 3118217 h 5920066"/>
              <a:gd name="connsiteX88" fmla="*/ 0 w 3443287"/>
              <a:gd name="connsiteY88" fmla="*/ 3100970 h 5920066"/>
              <a:gd name="connsiteX89" fmla="*/ 0 w 3443287"/>
              <a:gd name="connsiteY89" fmla="*/ 2991102 h 5920066"/>
              <a:gd name="connsiteX90" fmla="*/ 0 w 3443287"/>
              <a:gd name="connsiteY90" fmla="*/ 2946095 h 5920066"/>
              <a:gd name="connsiteX91" fmla="*/ 0 w 3443287"/>
              <a:gd name="connsiteY91" fmla="*/ 2826730 h 5920066"/>
              <a:gd name="connsiteX92" fmla="*/ 0 w 3443287"/>
              <a:gd name="connsiteY92" fmla="*/ 2787072 h 5920066"/>
              <a:gd name="connsiteX93" fmla="*/ 0 w 3443287"/>
              <a:gd name="connsiteY93" fmla="*/ 2741948 h 5920066"/>
              <a:gd name="connsiteX94" fmla="*/ 0 w 3443287"/>
              <a:gd name="connsiteY94" fmla="*/ 2716862 h 5920066"/>
              <a:gd name="connsiteX95" fmla="*/ 0 w 3443287"/>
              <a:gd name="connsiteY95" fmla="*/ 2512832 h 5920066"/>
              <a:gd name="connsiteX96" fmla="*/ 0 w 3443287"/>
              <a:gd name="connsiteY96" fmla="*/ 2472043 h 5920066"/>
              <a:gd name="connsiteX97" fmla="*/ 0 w 3443287"/>
              <a:gd name="connsiteY97" fmla="*/ 2467708 h 5920066"/>
              <a:gd name="connsiteX98" fmla="*/ 0 w 3443287"/>
              <a:gd name="connsiteY98" fmla="*/ 2449933 h 5920066"/>
              <a:gd name="connsiteX99" fmla="*/ 0 w 3443287"/>
              <a:gd name="connsiteY99" fmla="*/ 2197803 h 5920066"/>
              <a:gd name="connsiteX100" fmla="*/ 0 w 3443287"/>
              <a:gd name="connsiteY100" fmla="*/ 2180556 h 5920066"/>
              <a:gd name="connsiteX101" fmla="*/ 0 w 3443287"/>
              <a:gd name="connsiteY101" fmla="*/ 2175692 h 5920066"/>
              <a:gd name="connsiteX102" fmla="*/ 0 w 3443287"/>
              <a:gd name="connsiteY102" fmla="*/ 2088721 h 5920066"/>
              <a:gd name="connsiteX103" fmla="*/ 0 w 3443287"/>
              <a:gd name="connsiteY103" fmla="*/ 1906316 h 5920066"/>
              <a:gd name="connsiteX104" fmla="*/ 0 w 3443287"/>
              <a:gd name="connsiteY104" fmla="*/ 1866658 h 5920066"/>
              <a:gd name="connsiteX105" fmla="*/ 0 w 3443287"/>
              <a:gd name="connsiteY105" fmla="*/ 1814481 h 5920066"/>
              <a:gd name="connsiteX106" fmla="*/ 0 w 3443287"/>
              <a:gd name="connsiteY106" fmla="*/ 1702609 h 5920066"/>
              <a:gd name="connsiteX107" fmla="*/ 0 w 3443287"/>
              <a:gd name="connsiteY107" fmla="*/ 1592418 h 5920066"/>
              <a:gd name="connsiteX108" fmla="*/ 0 w 3443287"/>
              <a:gd name="connsiteY108" fmla="*/ 1529519 h 5920066"/>
              <a:gd name="connsiteX109" fmla="*/ 0 w 3443287"/>
              <a:gd name="connsiteY109" fmla="*/ 1428369 h 5920066"/>
              <a:gd name="connsiteX110" fmla="*/ 0 w 3443287"/>
              <a:gd name="connsiteY110" fmla="*/ 1290764 h 5920066"/>
              <a:gd name="connsiteX111" fmla="*/ 0 w 3443287"/>
              <a:gd name="connsiteY111" fmla="*/ 1255278 h 5920066"/>
              <a:gd name="connsiteX112" fmla="*/ 0 w 3443287"/>
              <a:gd name="connsiteY112" fmla="*/ 1168307 h 5920066"/>
              <a:gd name="connsiteX113" fmla="*/ 0 w 3443287"/>
              <a:gd name="connsiteY113" fmla="*/ 1016524 h 5920066"/>
              <a:gd name="connsiteX114" fmla="*/ 0 w 3443287"/>
              <a:gd name="connsiteY114" fmla="*/ 894067 h 5920066"/>
              <a:gd name="connsiteX115" fmla="*/ 0 w 3443287"/>
              <a:gd name="connsiteY115" fmla="*/ 782195 h 5920066"/>
              <a:gd name="connsiteX116" fmla="*/ 0 w 3443287"/>
              <a:gd name="connsiteY116" fmla="*/ 507955 h 5920066"/>
              <a:gd name="connsiteX117" fmla="*/ 0 w 3443287"/>
              <a:gd name="connsiteY117" fmla="*/ 370350 h 5920066"/>
              <a:gd name="connsiteX118" fmla="*/ 0 w 3443287"/>
              <a:gd name="connsiteY118" fmla="*/ 96110 h 5920066"/>
              <a:gd name="connsiteX119" fmla="*/ 95997 w 3443287"/>
              <a:gd name="connsiteY119" fmla="*/ 0 h 59200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</a:cxnLst>
            <a:rect l="l" t="t" r="r" b="b"/>
            <a:pathLst>
              <a:path w="3443287" h="5920066">
                <a:moveTo>
                  <a:pt x="95997" y="0"/>
                </a:moveTo>
                <a:lnTo>
                  <a:pt x="3443287" y="0"/>
                </a:lnTo>
                <a:lnTo>
                  <a:pt x="3443287" y="5920066"/>
                </a:lnTo>
                <a:lnTo>
                  <a:pt x="95989" y="5920066"/>
                </a:lnTo>
                <a:lnTo>
                  <a:pt x="64311" y="5915938"/>
                </a:lnTo>
                <a:cubicBezTo>
                  <a:pt x="0" y="5897541"/>
                  <a:pt x="0" y="5823957"/>
                  <a:pt x="0" y="5823957"/>
                </a:cubicBezTo>
                <a:lnTo>
                  <a:pt x="0" y="5820222"/>
                </a:lnTo>
                <a:lnTo>
                  <a:pt x="0" y="5811351"/>
                </a:lnTo>
                <a:lnTo>
                  <a:pt x="0" y="5794075"/>
                </a:lnTo>
                <a:lnTo>
                  <a:pt x="0" y="5765594"/>
                </a:lnTo>
                <a:lnTo>
                  <a:pt x="0" y="5723106"/>
                </a:lnTo>
                <a:lnTo>
                  <a:pt x="0" y="5663809"/>
                </a:lnTo>
                <a:lnTo>
                  <a:pt x="0" y="5584902"/>
                </a:lnTo>
                <a:lnTo>
                  <a:pt x="0" y="5549717"/>
                </a:lnTo>
                <a:lnTo>
                  <a:pt x="0" y="5548611"/>
                </a:lnTo>
                <a:lnTo>
                  <a:pt x="0" y="5540863"/>
                </a:lnTo>
                <a:lnTo>
                  <a:pt x="0" y="5520020"/>
                </a:lnTo>
                <a:lnTo>
                  <a:pt x="0" y="5519835"/>
                </a:lnTo>
                <a:lnTo>
                  <a:pt x="0" y="5478886"/>
                </a:lnTo>
                <a:lnTo>
                  <a:pt x="0" y="5448866"/>
                </a:lnTo>
                <a:lnTo>
                  <a:pt x="0" y="5444347"/>
                </a:lnTo>
                <a:lnTo>
                  <a:pt x="0" y="5411375"/>
                </a:lnTo>
                <a:lnTo>
                  <a:pt x="0" y="5365584"/>
                </a:lnTo>
                <a:lnTo>
                  <a:pt x="0" y="5357053"/>
                </a:lnTo>
                <a:lnTo>
                  <a:pt x="0" y="5310662"/>
                </a:lnTo>
                <a:lnTo>
                  <a:pt x="0" y="5257308"/>
                </a:lnTo>
                <a:lnTo>
                  <a:pt x="0" y="5245780"/>
                </a:lnTo>
                <a:lnTo>
                  <a:pt x="0" y="5170107"/>
                </a:lnTo>
                <a:lnTo>
                  <a:pt x="0" y="5144283"/>
                </a:lnTo>
                <a:lnTo>
                  <a:pt x="0" y="5082813"/>
                </a:lnTo>
                <a:lnTo>
                  <a:pt x="0" y="5017146"/>
                </a:lnTo>
                <a:lnTo>
                  <a:pt x="0" y="4983068"/>
                </a:lnTo>
                <a:lnTo>
                  <a:pt x="0" y="4903543"/>
                </a:lnTo>
                <a:lnTo>
                  <a:pt x="0" y="4899808"/>
                </a:lnTo>
                <a:lnTo>
                  <a:pt x="0" y="4890937"/>
                </a:lnTo>
                <a:lnTo>
                  <a:pt x="0" y="4875069"/>
                </a:lnTo>
                <a:lnTo>
                  <a:pt x="0" y="4873661"/>
                </a:lnTo>
                <a:lnTo>
                  <a:pt x="0" y="4870043"/>
                </a:lnTo>
                <a:lnTo>
                  <a:pt x="0" y="4845180"/>
                </a:lnTo>
                <a:lnTo>
                  <a:pt x="0" y="4802692"/>
                </a:lnTo>
                <a:lnTo>
                  <a:pt x="0" y="4743395"/>
                </a:lnTo>
                <a:lnTo>
                  <a:pt x="0" y="4742906"/>
                </a:lnTo>
                <a:lnTo>
                  <a:pt x="0" y="4717221"/>
                </a:lnTo>
                <a:lnTo>
                  <a:pt x="0" y="4664488"/>
                </a:lnTo>
                <a:lnTo>
                  <a:pt x="0" y="4629303"/>
                </a:lnTo>
                <a:lnTo>
                  <a:pt x="0" y="4628197"/>
                </a:lnTo>
                <a:lnTo>
                  <a:pt x="0" y="4620449"/>
                </a:lnTo>
                <a:lnTo>
                  <a:pt x="0" y="4600829"/>
                </a:lnTo>
                <a:lnTo>
                  <a:pt x="0" y="4599606"/>
                </a:lnTo>
                <a:lnTo>
                  <a:pt x="0" y="4599421"/>
                </a:lnTo>
                <a:lnTo>
                  <a:pt x="0" y="4558472"/>
                </a:lnTo>
                <a:lnTo>
                  <a:pt x="0" y="4542771"/>
                </a:lnTo>
                <a:lnTo>
                  <a:pt x="0" y="4528452"/>
                </a:lnTo>
                <a:lnTo>
                  <a:pt x="0" y="4523933"/>
                </a:lnTo>
                <a:lnTo>
                  <a:pt x="0" y="4490961"/>
                </a:lnTo>
                <a:lnTo>
                  <a:pt x="0" y="4445170"/>
                </a:lnTo>
                <a:lnTo>
                  <a:pt x="0" y="4442981"/>
                </a:lnTo>
                <a:lnTo>
                  <a:pt x="0" y="4436639"/>
                </a:lnTo>
                <a:lnTo>
                  <a:pt x="0" y="4390248"/>
                </a:lnTo>
                <a:lnTo>
                  <a:pt x="0" y="4350891"/>
                </a:lnTo>
                <a:lnTo>
                  <a:pt x="0" y="4336894"/>
                </a:lnTo>
                <a:lnTo>
                  <a:pt x="0" y="4325366"/>
                </a:lnTo>
                <a:lnTo>
                  <a:pt x="0" y="4268531"/>
                </a:lnTo>
                <a:lnTo>
                  <a:pt x="0" y="4249693"/>
                </a:lnTo>
                <a:lnTo>
                  <a:pt x="0" y="4223869"/>
                </a:lnTo>
                <a:lnTo>
                  <a:pt x="0" y="4162399"/>
                </a:lnTo>
                <a:lnTo>
                  <a:pt x="0" y="4140749"/>
                </a:lnTo>
                <a:lnTo>
                  <a:pt x="0" y="4096732"/>
                </a:lnTo>
                <a:lnTo>
                  <a:pt x="0" y="4076651"/>
                </a:lnTo>
                <a:lnTo>
                  <a:pt x="0" y="4062654"/>
                </a:lnTo>
                <a:lnTo>
                  <a:pt x="0" y="3954655"/>
                </a:lnTo>
                <a:lnTo>
                  <a:pt x="0" y="3949629"/>
                </a:lnTo>
                <a:lnTo>
                  <a:pt x="0" y="3911516"/>
                </a:lnTo>
                <a:lnTo>
                  <a:pt x="0" y="3866509"/>
                </a:lnTo>
                <a:lnTo>
                  <a:pt x="0" y="3822492"/>
                </a:lnTo>
                <a:lnTo>
                  <a:pt x="0" y="3796807"/>
                </a:lnTo>
                <a:lnTo>
                  <a:pt x="0" y="3680415"/>
                </a:lnTo>
                <a:lnTo>
                  <a:pt x="0" y="3662362"/>
                </a:lnTo>
                <a:lnTo>
                  <a:pt x="0" y="3637276"/>
                </a:lnTo>
                <a:lnTo>
                  <a:pt x="0" y="3622357"/>
                </a:lnTo>
                <a:lnTo>
                  <a:pt x="0" y="3522567"/>
                </a:lnTo>
                <a:lnTo>
                  <a:pt x="0" y="3430477"/>
                </a:lnTo>
                <a:lnTo>
                  <a:pt x="0" y="3392457"/>
                </a:lnTo>
                <a:lnTo>
                  <a:pt x="0" y="3388122"/>
                </a:lnTo>
                <a:lnTo>
                  <a:pt x="0" y="3348117"/>
                </a:lnTo>
                <a:lnTo>
                  <a:pt x="0" y="3220335"/>
                </a:lnTo>
                <a:lnTo>
                  <a:pt x="0" y="3156237"/>
                </a:lnTo>
                <a:lnTo>
                  <a:pt x="0" y="3118217"/>
                </a:lnTo>
                <a:lnTo>
                  <a:pt x="0" y="3100970"/>
                </a:lnTo>
                <a:lnTo>
                  <a:pt x="0" y="2991102"/>
                </a:lnTo>
                <a:lnTo>
                  <a:pt x="0" y="2946095"/>
                </a:lnTo>
                <a:lnTo>
                  <a:pt x="0" y="2826730"/>
                </a:lnTo>
                <a:lnTo>
                  <a:pt x="0" y="2787072"/>
                </a:lnTo>
                <a:lnTo>
                  <a:pt x="0" y="2741948"/>
                </a:lnTo>
                <a:lnTo>
                  <a:pt x="0" y="2716862"/>
                </a:lnTo>
                <a:lnTo>
                  <a:pt x="0" y="2512832"/>
                </a:lnTo>
                <a:lnTo>
                  <a:pt x="0" y="2472043"/>
                </a:lnTo>
                <a:lnTo>
                  <a:pt x="0" y="2467708"/>
                </a:lnTo>
                <a:lnTo>
                  <a:pt x="0" y="2449933"/>
                </a:lnTo>
                <a:lnTo>
                  <a:pt x="0" y="2197803"/>
                </a:lnTo>
                <a:lnTo>
                  <a:pt x="0" y="2180556"/>
                </a:lnTo>
                <a:lnTo>
                  <a:pt x="0" y="2175692"/>
                </a:lnTo>
                <a:lnTo>
                  <a:pt x="0" y="2088721"/>
                </a:lnTo>
                <a:lnTo>
                  <a:pt x="0" y="1906316"/>
                </a:lnTo>
                <a:lnTo>
                  <a:pt x="0" y="1866658"/>
                </a:lnTo>
                <a:lnTo>
                  <a:pt x="0" y="1814481"/>
                </a:lnTo>
                <a:lnTo>
                  <a:pt x="0" y="1702609"/>
                </a:lnTo>
                <a:lnTo>
                  <a:pt x="0" y="1592418"/>
                </a:lnTo>
                <a:lnTo>
                  <a:pt x="0" y="1529519"/>
                </a:lnTo>
                <a:lnTo>
                  <a:pt x="0" y="1428369"/>
                </a:lnTo>
                <a:lnTo>
                  <a:pt x="0" y="1290764"/>
                </a:lnTo>
                <a:lnTo>
                  <a:pt x="0" y="1255278"/>
                </a:lnTo>
                <a:lnTo>
                  <a:pt x="0" y="1168307"/>
                </a:lnTo>
                <a:lnTo>
                  <a:pt x="0" y="1016524"/>
                </a:lnTo>
                <a:lnTo>
                  <a:pt x="0" y="894067"/>
                </a:lnTo>
                <a:lnTo>
                  <a:pt x="0" y="782195"/>
                </a:lnTo>
                <a:lnTo>
                  <a:pt x="0" y="507955"/>
                </a:lnTo>
                <a:lnTo>
                  <a:pt x="0" y="370350"/>
                </a:lnTo>
                <a:lnTo>
                  <a:pt x="0" y="96110"/>
                </a:lnTo>
                <a:cubicBezTo>
                  <a:pt x="0" y="0"/>
                  <a:pt x="95997" y="0"/>
                  <a:pt x="95997" y="0"/>
                </a:cubicBezTo>
                <a:close/>
              </a:path>
            </a:pathLst>
          </a:custGeom>
          <a:solidFill>
            <a:srgbClr val="EBEBEB">
              <a:alpha val="10000"/>
            </a:srgbClr>
          </a:solidFill>
        </p:spPr>
        <p:txBody>
          <a:bodyPr wrap="square" lIns="360000" tIns="360000">
            <a:noAutofit/>
          </a:bodyPr>
          <a:lstStyle>
            <a:lvl1pPr algn="ctr">
              <a:defRPr sz="1400" b="0"/>
            </a:lvl1pPr>
          </a:lstStyle>
          <a:p>
            <a:r>
              <a:rPr lang="nl-NL" noProof="0" smtClean="0"/>
              <a:t>Klik op het pictogram als u een afbeelding wilt toevoegen</a:t>
            </a:r>
            <a:endParaRPr lang="en-GB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94866" y="280734"/>
            <a:ext cx="5514619" cy="854075"/>
          </a:xfrm>
        </p:spPr>
        <p:txBody>
          <a:bodyPr/>
          <a:lstStyle/>
          <a:p>
            <a:r>
              <a:rPr lang="nl-NL" smtClean="0"/>
              <a:t>Klik om de stijl te bewerken</a:t>
            </a:r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79704777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="" xmlns:p15="http://schemas.microsoft.com/office/powerpoint/2012/main">
        <p15:guide id="1" pos="2854" userDrawn="1">
          <p15:clr>
            <a:srgbClr val="FBAE40"/>
          </p15:clr>
        </p15:guide>
        <p15:guide id="2" pos="2610" userDrawn="1">
          <p15:clr>
            <a:srgbClr val="FBAE40"/>
          </p15:clr>
        </p15:guide>
      </p15:sldGuideLst>
    </p:ext>
  </p:extLst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Pictur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681038" y="1270000"/>
            <a:ext cx="5513625" cy="4978400"/>
          </a:xfrm>
        </p:spPr>
        <p:txBody>
          <a:bodyPr/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6"/>
          </p:nvPr>
        </p:nvSpPr>
        <p:spPr bwMode="gray">
          <a:xfrm>
            <a:off x="6869063" y="280732"/>
            <a:ext cx="2796853" cy="5920066"/>
          </a:xfrm>
          <a:custGeom>
            <a:avLst/>
            <a:gdLst>
              <a:gd name="connsiteX0" fmla="*/ 0 w 3442280"/>
              <a:gd name="connsiteY0" fmla="*/ 0 h 5920066"/>
              <a:gd name="connsiteX1" fmla="*/ 3346283 w 3442280"/>
              <a:gd name="connsiteY1" fmla="*/ 0 h 5920066"/>
              <a:gd name="connsiteX2" fmla="*/ 3442280 w 3442280"/>
              <a:gd name="connsiteY2" fmla="*/ 96110 h 5920066"/>
              <a:gd name="connsiteX3" fmla="*/ 3442280 w 3442280"/>
              <a:gd name="connsiteY3" fmla="*/ 335165 h 5920066"/>
              <a:gd name="connsiteX4" fmla="*/ 3442280 w 3442280"/>
              <a:gd name="connsiteY4" fmla="*/ 370350 h 5920066"/>
              <a:gd name="connsiteX5" fmla="*/ 3442280 w 3442280"/>
              <a:gd name="connsiteY5" fmla="*/ 379204 h 5920066"/>
              <a:gd name="connsiteX6" fmla="*/ 3442280 w 3442280"/>
              <a:gd name="connsiteY6" fmla="*/ 400048 h 5920066"/>
              <a:gd name="connsiteX7" fmla="*/ 3442280 w 3442280"/>
              <a:gd name="connsiteY7" fmla="*/ 400232 h 5920066"/>
              <a:gd name="connsiteX8" fmla="*/ 3442280 w 3442280"/>
              <a:gd name="connsiteY8" fmla="*/ 471202 h 5920066"/>
              <a:gd name="connsiteX9" fmla="*/ 3442280 w 3442280"/>
              <a:gd name="connsiteY9" fmla="*/ 475721 h 5920066"/>
              <a:gd name="connsiteX10" fmla="*/ 3442280 w 3442280"/>
              <a:gd name="connsiteY10" fmla="*/ 508692 h 5920066"/>
              <a:gd name="connsiteX11" fmla="*/ 3442280 w 3442280"/>
              <a:gd name="connsiteY11" fmla="*/ 554484 h 5920066"/>
              <a:gd name="connsiteX12" fmla="*/ 3442280 w 3442280"/>
              <a:gd name="connsiteY12" fmla="*/ 563015 h 5920066"/>
              <a:gd name="connsiteX13" fmla="*/ 3442280 w 3442280"/>
              <a:gd name="connsiteY13" fmla="*/ 609405 h 5920066"/>
              <a:gd name="connsiteX14" fmla="*/ 3442280 w 3442280"/>
              <a:gd name="connsiteY14" fmla="*/ 662759 h 5920066"/>
              <a:gd name="connsiteX15" fmla="*/ 3442280 w 3442280"/>
              <a:gd name="connsiteY15" fmla="*/ 674288 h 5920066"/>
              <a:gd name="connsiteX16" fmla="*/ 3442280 w 3442280"/>
              <a:gd name="connsiteY16" fmla="*/ 749961 h 5920066"/>
              <a:gd name="connsiteX17" fmla="*/ 3442280 w 3442280"/>
              <a:gd name="connsiteY17" fmla="*/ 775785 h 5920066"/>
              <a:gd name="connsiteX18" fmla="*/ 3442280 w 3442280"/>
              <a:gd name="connsiteY18" fmla="*/ 837255 h 5920066"/>
              <a:gd name="connsiteX19" fmla="*/ 3442280 w 3442280"/>
              <a:gd name="connsiteY19" fmla="*/ 902921 h 5920066"/>
              <a:gd name="connsiteX20" fmla="*/ 3442280 w 3442280"/>
              <a:gd name="connsiteY20" fmla="*/ 936999 h 5920066"/>
              <a:gd name="connsiteX21" fmla="*/ 3442280 w 3442280"/>
              <a:gd name="connsiteY21" fmla="*/ 1016524 h 5920066"/>
              <a:gd name="connsiteX22" fmla="*/ 3442280 w 3442280"/>
              <a:gd name="connsiteY22" fmla="*/ 1029131 h 5920066"/>
              <a:gd name="connsiteX23" fmla="*/ 3442280 w 3442280"/>
              <a:gd name="connsiteY23" fmla="*/ 1044999 h 5920066"/>
              <a:gd name="connsiteX24" fmla="*/ 3442280 w 3442280"/>
              <a:gd name="connsiteY24" fmla="*/ 1046406 h 5920066"/>
              <a:gd name="connsiteX25" fmla="*/ 3442280 w 3442280"/>
              <a:gd name="connsiteY25" fmla="*/ 1050025 h 5920066"/>
              <a:gd name="connsiteX26" fmla="*/ 3442280 w 3442280"/>
              <a:gd name="connsiteY26" fmla="*/ 1074887 h 5920066"/>
              <a:gd name="connsiteX27" fmla="*/ 3442280 w 3442280"/>
              <a:gd name="connsiteY27" fmla="*/ 1176672 h 5920066"/>
              <a:gd name="connsiteX28" fmla="*/ 3442280 w 3442280"/>
              <a:gd name="connsiteY28" fmla="*/ 1177161 h 5920066"/>
              <a:gd name="connsiteX29" fmla="*/ 3442280 w 3442280"/>
              <a:gd name="connsiteY29" fmla="*/ 1202847 h 5920066"/>
              <a:gd name="connsiteX30" fmla="*/ 3442280 w 3442280"/>
              <a:gd name="connsiteY30" fmla="*/ 1255579 h 5920066"/>
              <a:gd name="connsiteX31" fmla="*/ 3442280 w 3442280"/>
              <a:gd name="connsiteY31" fmla="*/ 1290764 h 5920066"/>
              <a:gd name="connsiteX32" fmla="*/ 3442280 w 3442280"/>
              <a:gd name="connsiteY32" fmla="*/ 1299618 h 5920066"/>
              <a:gd name="connsiteX33" fmla="*/ 3442280 w 3442280"/>
              <a:gd name="connsiteY33" fmla="*/ 1319239 h 5920066"/>
              <a:gd name="connsiteX34" fmla="*/ 3442280 w 3442280"/>
              <a:gd name="connsiteY34" fmla="*/ 1320462 h 5920066"/>
              <a:gd name="connsiteX35" fmla="*/ 3442280 w 3442280"/>
              <a:gd name="connsiteY35" fmla="*/ 1320646 h 5920066"/>
              <a:gd name="connsiteX36" fmla="*/ 3442280 w 3442280"/>
              <a:gd name="connsiteY36" fmla="*/ 1349128 h 5920066"/>
              <a:gd name="connsiteX37" fmla="*/ 3442280 w 3442280"/>
              <a:gd name="connsiteY37" fmla="*/ 1377296 h 5920066"/>
              <a:gd name="connsiteX38" fmla="*/ 3442280 w 3442280"/>
              <a:gd name="connsiteY38" fmla="*/ 1391616 h 5920066"/>
              <a:gd name="connsiteX39" fmla="*/ 3442280 w 3442280"/>
              <a:gd name="connsiteY39" fmla="*/ 1396135 h 5920066"/>
              <a:gd name="connsiteX40" fmla="*/ 3442280 w 3442280"/>
              <a:gd name="connsiteY40" fmla="*/ 1429106 h 5920066"/>
              <a:gd name="connsiteX41" fmla="*/ 3442280 w 3442280"/>
              <a:gd name="connsiteY41" fmla="*/ 1474898 h 5920066"/>
              <a:gd name="connsiteX42" fmla="*/ 3442280 w 3442280"/>
              <a:gd name="connsiteY42" fmla="*/ 1477087 h 5920066"/>
              <a:gd name="connsiteX43" fmla="*/ 3442280 w 3442280"/>
              <a:gd name="connsiteY43" fmla="*/ 1483429 h 5920066"/>
              <a:gd name="connsiteX44" fmla="*/ 3442280 w 3442280"/>
              <a:gd name="connsiteY44" fmla="*/ 1529819 h 5920066"/>
              <a:gd name="connsiteX45" fmla="*/ 3442280 w 3442280"/>
              <a:gd name="connsiteY45" fmla="*/ 1569177 h 5920066"/>
              <a:gd name="connsiteX46" fmla="*/ 3442280 w 3442280"/>
              <a:gd name="connsiteY46" fmla="*/ 1583173 h 5920066"/>
              <a:gd name="connsiteX47" fmla="*/ 3442280 w 3442280"/>
              <a:gd name="connsiteY47" fmla="*/ 1594702 h 5920066"/>
              <a:gd name="connsiteX48" fmla="*/ 3442280 w 3442280"/>
              <a:gd name="connsiteY48" fmla="*/ 1651536 h 5920066"/>
              <a:gd name="connsiteX49" fmla="*/ 3442280 w 3442280"/>
              <a:gd name="connsiteY49" fmla="*/ 1670375 h 5920066"/>
              <a:gd name="connsiteX50" fmla="*/ 3442280 w 3442280"/>
              <a:gd name="connsiteY50" fmla="*/ 1696199 h 5920066"/>
              <a:gd name="connsiteX51" fmla="*/ 3442280 w 3442280"/>
              <a:gd name="connsiteY51" fmla="*/ 1757669 h 5920066"/>
              <a:gd name="connsiteX52" fmla="*/ 3442280 w 3442280"/>
              <a:gd name="connsiteY52" fmla="*/ 1779318 h 5920066"/>
              <a:gd name="connsiteX53" fmla="*/ 3442280 w 3442280"/>
              <a:gd name="connsiteY53" fmla="*/ 1823335 h 5920066"/>
              <a:gd name="connsiteX54" fmla="*/ 3442280 w 3442280"/>
              <a:gd name="connsiteY54" fmla="*/ 1843417 h 5920066"/>
              <a:gd name="connsiteX55" fmla="*/ 3442280 w 3442280"/>
              <a:gd name="connsiteY55" fmla="*/ 1857413 h 5920066"/>
              <a:gd name="connsiteX56" fmla="*/ 3442280 w 3442280"/>
              <a:gd name="connsiteY56" fmla="*/ 1965413 h 5920066"/>
              <a:gd name="connsiteX57" fmla="*/ 3442280 w 3442280"/>
              <a:gd name="connsiteY57" fmla="*/ 1970439 h 5920066"/>
              <a:gd name="connsiteX58" fmla="*/ 3442280 w 3442280"/>
              <a:gd name="connsiteY58" fmla="*/ 2008551 h 5920066"/>
              <a:gd name="connsiteX59" fmla="*/ 3442280 w 3442280"/>
              <a:gd name="connsiteY59" fmla="*/ 2053558 h 5920066"/>
              <a:gd name="connsiteX60" fmla="*/ 3442280 w 3442280"/>
              <a:gd name="connsiteY60" fmla="*/ 2097575 h 5920066"/>
              <a:gd name="connsiteX61" fmla="*/ 3442280 w 3442280"/>
              <a:gd name="connsiteY61" fmla="*/ 2123261 h 5920066"/>
              <a:gd name="connsiteX62" fmla="*/ 3442280 w 3442280"/>
              <a:gd name="connsiteY62" fmla="*/ 2239653 h 5920066"/>
              <a:gd name="connsiteX63" fmla="*/ 3442280 w 3442280"/>
              <a:gd name="connsiteY63" fmla="*/ 2257705 h 5920066"/>
              <a:gd name="connsiteX64" fmla="*/ 3442280 w 3442280"/>
              <a:gd name="connsiteY64" fmla="*/ 2282791 h 5920066"/>
              <a:gd name="connsiteX65" fmla="*/ 3442280 w 3442280"/>
              <a:gd name="connsiteY65" fmla="*/ 2297710 h 5920066"/>
              <a:gd name="connsiteX66" fmla="*/ 3442280 w 3442280"/>
              <a:gd name="connsiteY66" fmla="*/ 2397501 h 5920066"/>
              <a:gd name="connsiteX67" fmla="*/ 3442280 w 3442280"/>
              <a:gd name="connsiteY67" fmla="*/ 2489591 h 5920066"/>
              <a:gd name="connsiteX68" fmla="*/ 3442280 w 3442280"/>
              <a:gd name="connsiteY68" fmla="*/ 2527610 h 5920066"/>
              <a:gd name="connsiteX69" fmla="*/ 3442280 w 3442280"/>
              <a:gd name="connsiteY69" fmla="*/ 2531945 h 5920066"/>
              <a:gd name="connsiteX70" fmla="*/ 3442280 w 3442280"/>
              <a:gd name="connsiteY70" fmla="*/ 2571950 h 5920066"/>
              <a:gd name="connsiteX71" fmla="*/ 3442280 w 3442280"/>
              <a:gd name="connsiteY71" fmla="*/ 2699732 h 5920066"/>
              <a:gd name="connsiteX72" fmla="*/ 3442280 w 3442280"/>
              <a:gd name="connsiteY72" fmla="*/ 2763831 h 5920066"/>
              <a:gd name="connsiteX73" fmla="*/ 3442280 w 3442280"/>
              <a:gd name="connsiteY73" fmla="*/ 2801851 h 5920066"/>
              <a:gd name="connsiteX74" fmla="*/ 3442280 w 3442280"/>
              <a:gd name="connsiteY74" fmla="*/ 2819097 h 5920066"/>
              <a:gd name="connsiteX75" fmla="*/ 3442280 w 3442280"/>
              <a:gd name="connsiteY75" fmla="*/ 2928965 h 5920066"/>
              <a:gd name="connsiteX76" fmla="*/ 3442280 w 3442280"/>
              <a:gd name="connsiteY76" fmla="*/ 2973972 h 5920066"/>
              <a:gd name="connsiteX77" fmla="*/ 3442280 w 3442280"/>
              <a:gd name="connsiteY77" fmla="*/ 3093337 h 5920066"/>
              <a:gd name="connsiteX78" fmla="*/ 3442280 w 3442280"/>
              <a:gd name="connsiteY78" fmla="*/ 3132995 h 5920066"/>
              <a:gd name="connsiteX79" fmla="*/ 3442280 w 3442280"/>
              <a:gd name="connsiteY79" fmla="*/ 3178119 h 5920066"/>
              <a:gd name="connsiteX80" fmla="*/ 3442280 w 3442280"/>
              <a:gd name="connsiteY80" fmla="*/ 3203205 h 5920066"/>
              <a:gd name="connsiteX81" fmla="*/ 3442280 w 3442280"/>
              <a:gd name="connsiteY81" fmla="*/ 3407236 h 5920066"/>
              <a:gd name="connsiteX82" fmla="*/ 3442280 w 3442280"/>
              <a:gd name="connsiteY82" fmla="*/ 3448024 h 5920066"/>
              <a:gd name="connsiteX83" fmla="*/ 3442280 w 3442280"/>
              <a:gd name="connsiteY83" fmla="*/ 3452359 h 5920066"/>
              <a:gd name="connsiteX84" fmla="*/ 3442280 w 3442280"/>
              <a:gd name="connsiteY84" fmla="*/ 3470135 h 5920066"/>
              <a:gd name="connsiteX85" fmla="*/ 3442280 w 3442280"/>
              <a:gd name="connsiteY85" fmla="*/ 3722265 h 5920066"/>
              <a:gd name="connsiteX86" fmla="*/ 3442280 w 3442280"/>
              <a:gd name="connsiteY86" fmla="*/ 3739511 h 5920066"/>
              <a:gd name="connsiteX87" fmla="*/ 3442280 w 3442280"/>
              <a:gd name="connsiteY87" fmla="*/ 3744375 h 5920066"/>
              <a:gd name="connsiteX88" fmla="*/ 3442280 w 3442280"/>
              <a:gd name="connsiteY88" fmla="*/ 3831346 h 5920066"/>
              <a:gd name="connsiteX89" fmla="*/ 3442280 w 3442280"/>
              <a:gd name="connsiteY89" fmla="*/ 4013751 h 5920066"/>
              <a:gd name="connsiteX90" fmla="*/ 3442280 w 3442280"/>
              <a:gd name="connsiteY90" fmla="*/ 4053409 h 5920066"/>
              <a:gd name="connsiteX91" fmla="*/ 3442280 w 3442280"/>
              <a:gd name="connsiteY91" fmla="*/ 4105586 h 5920066"/>
              <a:gd name="connsiteX92" fmla="*/ 3442280 w 3442280"/>
              <a:gd name="connsiteY92" fmla="*/ 4217459 h 5920066"/>
              <a:gd name="connsiteX93" fmla="*/ 3442280 w 3442280"/>
              <a:gd name="connsiteY93" fmla="*/ 4327650 h 5920066"/>
              <a:gd name="connsiteX94" fmla="*/ 3442280 w 3442280"/>
              <a:gd name="connsiteY94" fmla="*/ 4390549 h 5920066"/>
              <a:gd name="connsiteX95" fmla="*/ 3442280 w 3442280"/>
              <a:gd name="connsiteY95" fmla="*/ 4491699 h 5920066"/>
              <a:gd name="connsiteX96" fmla="*/ 3442280 w 3442280"/>
              <a:gd name="connsiteY96" fmla="*/ 4629303 h 5920066"/>
              <a:gd name="connsiteX97" fmla="*/ 3442280 w 3442280"/>
              <a:gd name="connsiteY97" fmla="*/ 4664789 h 5920066"/>
              <a:gd name="connsiteX98" fmla="*/ 3442280 w 3442280"/>
              <a:gd name="connsiteY98" fmla="*/ 4751760 h 5920066"/>
              <a:gd name="connsiteX99" fmla="*/ 3442280 w 3442280"/>
              <a:gd name="connsiteY99" fmla="*/ 4903543 h 5920066"/>
              <a:gd name="connsiteX100" fmla="*/ 3442280 w 3442280"/>
              <a:gd name="connsiteY100" fmla="*/ 5026000 h 5920066"/>
              <a:gd name="connsiteX101" fmla="*/ 3442280 w 3442280"/>
              <a:gd name="connsiteY101" fmla="*/ 5137873 h 5920066"/>
              <a:gd name="connsiteX102" fmla="*/ 3442280 w 3442280"/>
              <a:gd name="connsiteY102" fmla="*/ 5412113 h 5920066"/>
              <a:gd name="connsiteX103" fmla="*/ 3442280 w 3442280"/>
              <a:gd name="connsiteY103" fmla="*/ 5549717 h 5920066"/>
              <a:gd name="connsiteX104" fmla="*/ 3442280 w 3442280"/>
              <a:gd name="connsiteY104" fmla="*/ 5823957 h 5920066"/>
              <a:gd name="connsiteX105" fmla="*/ 3361283 w 3442280"/>
              <a:gd name="connsiteY105" fmla="*/ 5918566 h 5920066"/>
              <a:gd name="connsiteX106" fmla="*/ 3346294 w 3442280"/>
              <a:gd name="connsiteY106" fmla="*/ 5920066 h 5920066"/>
              <a:gd name="connsiteX107" fmla="*/ 0 w 3442280"/>
              <a:gd name="connsiteY107" fmla="*/ 5920066 h 59200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</a:cxnLst>
            <a:rect l="l" t="t" r="r" b="b"/>
            <a:pathLst>
              <a:path w="3442280" h="5920066">
                <a:moveTo>
                  <a:pt x="0" y="0"/>
                </a:moveTo>
                <a:lnTo>
                  <a:pt x="3346283" y="0"/>
                </a:lnTo>
                <a:cubicBezTo>
                  <a:pt x="3442280" y="0"/>
                  <a:pt x="3442280" y="96110"/>
                  <a:pt x="3442280" y="96110"/>
                </a:cubicBezTo>
                <a:cubicBezTo>
                  <a:pt x="3442280" y="96110"/>
                  <a:pt x="3442280" y="96110"/>
                  <a:pt x="3442280" y="335165"/>
                </a:cubicBezTo>
                <a:lnTo>
                  <a:pt x="3442280" y="370350"/>
                </a:lnTo>
                <a:cubicBezTo>
                  <a:pt x="3442280" y="370350"/>
                  <a:pt x="3442280" y="370350"/>
                  <a:pt x="3442280" y="379204"/>
                </a:cubicBezTo>
                <a:lnTo>
                  <a:pt x="3442280" y="400048"/>
                </a:lnTo>
                <a:lnTo>
                  <a:pt x="3442280" y="400232"/>
                </a:lnTo>
                <a:cubicBezTo>
                  <a:pt x="3442280" y="415173"/>
                  <a:pt x="3442280" y="437585"/>
                  <a:pt x="3442280" y="471202"/>
                </a:cubicBezTo>
                <a:lnTo>
                  <a:pt x="3442280" y="475721"/>
                </a:lnTo>
                <a:lnTo>
                  <a:pt x="3442280" y="508692"/>
                </a:lnTo>
                <a:cubicBezTo>
                  <a:pt x="3442280" y="522527"/>
                  <a:pt x="3442280" y="537744"/>
                  <a:pt x="3442280" y="554484"/>
                </a:cubicBezTo>
                <a:lnTo>
                  <a:pt x="3442280" y="563015"/>
                </a:lnTo>
                <a:lnTo>
                  <a:pt x="3442280" y="609405"/>
                </a:lnTo>
                <a:lnTo>
                  <a:pt x="3442280" y="662759"/>
                </a:lnTo>
                <a:lnTo>
                  <a:pt x="3442280" y="674288"/>
                </a:lnTo>
                <a:cubicBezTo>
                  <a:pt x="3442280" y="697668"/>
                  <a:pt x="3442280" y="722846"/>
                  <a:pt x="3442280" y="749961"/>
                </a:cubicBezTo>
                <a:lnTo>
                  <a:pt x="3442280" y="775785"/>
                </a:lnTo>
                <a:lnTo>
                  <a:pt x="3442280" y="837255"/>
                </a:lnTo>
                <a:lnTo>
                  <a:pt x="3442280" y="902921"/>
                </a:lnTo>
                <a:lnTo>
                  <a:pt x="3442280" y="936999"/>
                </a:lnTo>
                <a:lnTo>
                  <a:pt x="3442280" y="1016524"/>
                </a:lnTo>
                <a:cubicBezTo>
                  <a:pt x="3442280" y="1016524"/>
                  <a:pt x="3442280" y="1016524"/>
                  <a:pt x="3442280" y="1029131"/>
                </a:cubicBezTo>
                <a:lnTo>
                  <a:pt x="3442280" y="1044999"/>
                </a:lnTo>
                <a:lnTo>
                  <a:pt x="3442280" y="1046406"/>
                </a:lnTo>
                <a:lnTo>
                  <a:pt x="3442280" y="1050025"/>
                </a:lnTo>
                <a:lnTo>
                  <a:pt x="3442280" y="1074887"/>
                </a:lnTo>
                <a:cubicBezTo>
                  <a:pt x="3442280" y="1098232"/>
                  <a:pt x="3442280" y="1130916"/>
                  <a:pt x="3442280" y="1176672"/>
                </a:cubicBezTo>
                <a:lnTo>
                  <a:pt x="3442280" y="1177161"/>
                </a:lnTo>
                <a:lnTo>
                  <a:pt x="3442280" y="1202847"/>
                </a:lnTo>
                <a:lnTo>
                  <a:pt x="3442280" y="1255579"/>
                </a:lnTo>
                <a:lnTo>
                  <a:pt x="3442280" y="1290764"/>
                </a:lnTo>
                <a:cubicBezTo>
                  <a:pt x="3442280" y="1290764"/>
                  <a:pt x="3442280" y="1290764"/>
                  <a:pt x="3442280" y="1299618"/>
                </a:cubicBezTo>
                <a:lnTo>
                  <a:pt x="3442280" y="1319239"/>
                </a:lnTo>
                <a:lnTo>
                  <a:pt x="3442280" y="1320462"/>
                </a:lnTo>
                <a:lnTo>
                  <a:pt x="3442280" y="1320646"/>
                </a:lnTo>
                <a:cubicBezTo>
                  <a:pt x="3442280" y="1328117"/>
                  <a:pt x="3442280" y="1337455"/>
                  <a:pt x="3442280" y="1349128"/>
                </a:cubicBezTo>
                <a:lnTo>
                  <a:pt x="3442280" y="1377296"/>
                </a:lnTo>
                <a:lnTo>
                  <a:pt x="3442280" y="1391616"/>
                </a:lnTo>
                <a:lnTo>
                  <a:pt x="3442280" y="1396135"/>
                </a:lnTo>
                <a:lnTo>
                  <a:pt x="3442280" y="1429106"/>
                </a:lnTo>
                <a:cubicBezTo>
                  <a:pt x="3442280" y="1442941"/>
                  <a:pt x="3442280" y="1458158"/>
                  <a:pt x="3442280" y="1474898"/>
                </a:cubicBezTo>
                <a:lnTo>
                  <a:pt x="3442280" y="1477087"/>
                </a:lnTo>
                <a:lnTo>
                  <a:pt x="3442280" y="1483429"/>
                </a:lnTo>
                <a:lnTo>
                  <a:pt x="3442280" y="1529819"/>
                </a:lnTo>
                <a:lnTo>
                  <a:pt x="3442280" y="1569177"/>
                </a:lnTo>
                <a:lnTo>
                  <a:pt x="3442280" y="1583173"/>
                </a:lnTo>
                <a:lnTo>
                  <a:pt x="3442280" y="1594702"/>
                </a:lnTo>
                <a:lnTo>
                  <a:pt x="3442280" y="1651536"/>
                </a:lnTo>
                <a:lnTo>
                  <a:pt x="3442280" y="1670375"/>
                </a:lnTo>
                <a:lnTo>
                  <a:pt x="3442280" y="1696199"/>
                </a:lnTo>
                <a:lnTo>
                  <a:pt x="3442280" y="1757669"/>
                </a:lnTo>
                <a:lnTo>
                  <a:pt x="3442280" y="1779318"/>
                </a:lnTo>
                <a:lnTo>
                  <a:pt x="3442280" y="1823335"/>
                </a:lnTo>
                <a:lnTo>
                  <a:pt x="3442280" y="1843417"/>
                </a:lnTo>
                <a:lnTo>
                  <a:pt x="3442280" y="1857413"/>
                </a:lnTo>
                <a:lnTo>
                  <a:pt x="3442280" y="1965413"/>
                </a:lnTo>
                <a:lnTo>
                  <a:pt x="3442280" y="1970439"/>
                </a:lnTo>
                <a:lnTo>
                  <a:pt x="3442280" y="2008551"/>
                </a:lnTo>
                <a:lnTo>
                  <a:pt x="3442280" y="2053558"/>
                </a:lnTo>
                <a:lnTo>
                  <a:pt x="3442280" y="2097575"/>
                </a:lnTo>
                <a:lnTo>
                  <a:pt x="3442280" y="2123261"/>
                </a:lnTo>
                <a:lnTo>
                  <a:pt x="3442280" y="2239653"/>
                </a:lnTo>
                <a:lnTo>
                  <a:pt x="3442280" y="2257705"/>
                </a:lnTo>
                <a:lnTo>
                  <a:pt x="3442280" y="2282791"/>
                </a:lnTo>
                <a:lnTo>
                  <a:pt x="3442280" y="2297710"/>
                </a:lnTo>
                <a:lnTo>
                  <a:pt x="3442280" y="2397501"/>
                </a:lnTo>
                <a:lnTo>
                  <a:pt x="3442280" y="2489591"/>
                </a:lnTo>
                <a:lnTo>
                  <a:pt x="3442280" y="2527610"/>
                </a:lnTo>
                <a:lnTo>
                  <a:pt x="3442280" y="2531945"/>
                </a:lnTo>
                <a:lnTo>
                  <a:pt x="3442280" y="2571950"/>
                </a:lnTo>
                <a:lnTo>
                  <a:pt x="3442280" y="2699732"/>
                </a:lnTo>
                <a:lnTo>
                  <a:pt x="3442280" y="2763831"/>
                </a:lnTo>
                <a:lnTo>
                  <a:pt x="3442280" y="2801851"/>
                </a:lnTo>
                <a:lnTo>
                  <a:pt x="3442280" y="2819097"/>
                </a:lnTo>
                <a:lnTo>
                  <a:pt x="3442280" y="2928965"/>
                </a:lnTo>
                <a:lnTo>
                  <a:pt x="3442280" y="2973972"/>
                </a:lnTo>
                <a:lnTo>
                  <a:pt x="3442280" y="3093337"/>
                </a:lnTo>
                <a:lnTo>
                  <a:pt x="3442280" y="3132995"/>
                </a:lnTo>
                <a:lnTo>
                  <a:pt x="3442280" y="3178119"/>
                </a:lnTo>
                <a:lnTo>
                  <a:pt x="3442280" y="3203205"/>
                </a:lnTo>
                <a:lnTo>
                  <a:pt x="3442280" y="3407236"/>
                </a:lnTo>
                <a:lnTo>
                  <a:pt x="3442280" y="3448024"/>
                </a:lnTo>
                <a:lnTo>
                  <a:pt x="3442280" y="3452359"/>
                </a:lnTo>
                <a:lnTo>
                  <a:pt x="3442280" y="3470135"/>
                </a:lnTo>
                <a:lnTo>
                  <a:pt x="3442280" y="3722265"/>
                </a:lnTo>
                <a:lnTo>
                  <a:pt x="3442280" y="3739511"/>
                </a:lnTo>
                <a:lnTo>
                  <a:pt x="3442280" y="3744375"/>
                </a:lnTo>
                <a:lnTo>
                  <a:pt x="3442280" y="3831346"/>
                </a:lnTo>
                <a:lnTo>
                  <a:pt x="3442280" y="4013751"/>
                </a:lnTo>
                <a:lnTo>
                  <a:pt x="3442280" y="4053409"/>
                </a:lnTo>
                <a:lnTo>
                  <a:pt x="3442280" y="4105586"/>
                </a:lnTo>
                <a:lnTo>
                  <a:pt x="3442280" y="4217459"/>
                </a:lnTo>
                <a:lnTo>
                  <a:pt x="3442280" y="4327650"/>
                </a:lnTo>
                <a:lnTo>
                  <a:pt x="3442280" y="4390549"/>
                </a:lnTo>
                <a:lnTo>
                  <a:pt x="3442280" y="4491699"/>
                </a:lnTo>
                <a:lnTo>
                  <a:pt x="3442280" y="4629303"/>
                </a:lnTo>
                <a:lnTo>
                  <a:pt x="3442280" y="4664789"/>
                </a:lnTo>
                <a:lnTo>
                  <a:pt x="3442280" y="4751760"/>
                </a:lnTo>
                <a:lnTo>
                  <a:pt x="3442280" y="4903543"/>
                </a:lnTo>
                <a:lnTo>
                  <a:pt x="3442280" y="5026000"/>
                </a:lnTo>
                <a:lnTo>
                  <a:pt x="3442280" y="5137873"/>
                </a:lnTo>
                <a:lnTo>
                  <a:pt x="3442280" y="5412113"/>
                </a:lnTo>
                <a:lnTo>
                  <a:pt x="3442280" y="5549717"/>
                </a:lnTo>
                <a:lnTo>
                  <a:pt x="3442280" y="5823957"/>
                </a:lnTo>
                <a:cubicBezTo>
                  <a:pt x="3442280" y="5896040"/>
                  <a:pt x="3388282" y="5914060"/>
                  <a:pt x="3361283" y="5918566"/>
                </a:cubicBezTo>
                <a:lnTo>
                  <a:pt x="3346294" y="5920066"/>
                </a:lnTo>
                <a:lnTo>
                  <a:pt x="0" y="5920066"/>
                </a:lnTo>
                <a:close/>
              </a:path>
            </a:pathLst>
          </a:custGeom>
          <a:solidFill>
            <a:srgbClr val="EBEBEB">
              <a:alpha val="10000"/>
            </a:srgbClr>
          </a:solidFill>
        </p:spPr>
        <p:txBody>
          <a:bodyPr wrap="square" lIns="360000" tIns="360000">
            <a:noAutofit/>
          </a:bodyPr>
          <a:lstStyle>
            <a:lvl1pPr algn="ctr">
              <a:defRPr sz="1400" b="0"/>
            </a:lvl1pPr>
          </a:lstStyle>
          <a:p>
            <a:r>
              <a:rPr lang="nl-NL" noProof="0" smtClean="0"/>
              <a:t>Klik op het pictogram als u een afbeelding wilt toevoegen</a:t>
            </a:r>
            <a:endParaRPr lang="en-GB" noProof="0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687030" y="280734"/>
            <a:ext cx="5507633" cy="854075"/>
          </a:xfrm>
        </p:spPr>
        <p:txBody>
          <a:bodyPr/>
          <a:lstStyle/>
          <a:p>
            <a:r>
              <a:rPr lang="nl-NL" smtClean="0"/>
              <a:t>Klik om de stijl te bewerke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39627150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="" xmlns:p15="http://schemas.microsoft.com/office/powerpoint/2012/main">
        <p15:guide id="1" pos="4806" userDrawn="1">
          <p15:clr>
            <a:srgbClr val="FBAE40"/>
          </p15:clr>
        </p15:guide>
        <p15:guide id="2" pos="5322" userDrawn="1">
          <p15:clr>
            <a:srgbClr val="FBAE40"/>
          </p15:clr>
        </p15:guide>
      </p15:sldGuideLst>
    </p:ext>
  </p:extLst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smtClean="0"/>
              <a:t>Klik om de stijl te bewerken</a:t>
            </a:r>
            <a:endParaRPr lang="en-GB"/>
          </a:p>
        </p:txBody>
      </p:sp>
      <p:sp>
        <p:nvSpPr>
          <p:cNvPr id="14" name="Picture Placeholder 13"/>
          <p:cNvSpPr>
            <a:spLocks noGrp="1"/>
          </p:cNvSpPr>
          <p:nvPr>
            <p:ph type="pic" sz="quarter" idx="19"/>
          </p:nvPr>
        </p:nvSpPr>
        <p:spPr bwMode="gray">
          <a:xfrm>
            <a:off x="566241" y="1201147"/>
            <a:ext cx="9099675" cy="4999652"/>
          </a:xfrm>
          <a:custGeom>
            <a:avLst/>
            <a:gdLst>
              <a:gd name="connsiteX0" fmla="*/ 95997 w 11199600"/>
              <a:gd name="connsiteY0" fmla="*/ 0 h 4999652"/>
              <a:gd name="connsiteX1" fmla="*/ 11103603 w 11199600"/>
              <a:gd name="connsiteY1" fmla="*/ 0 h 4999652"/>
              <a:gd name="connsiteX2" fmla="*/ 11199600 w 11199600"/>
              <a:gd name="connsiteY2" fmla="*/ 96110 h 4999652"/>
              <a:gd name="connsiteX3" fmla="*/ 11199600 w 11199600"/>
              <a:gd name="connsiteY3" fmla="*/ 335165 h 4999652"/>
              <a:gd name="connsiteX4" fmla="*/ 11199600 w 11199600"/>
              <a:gd name="connsiteY4" fmla="*/ 370350 h 4999652"/>
              <a:gd name="connsiteX5" fmla="*/ 11199600 w 11199600"/>
              <a:gd name="connsiteY5" fmla="*/ 379204 h 4999652"/>
              <a:gd name="connsiteX6" fmla="*/ 11199600 w 11199600"/>
              <a:gd name="connsiteY6" fmla="*/ 400048 h 4999652"/>
              <a:gd name="connsiteX7" fmla="*/ 11199600 w 11199600"/>
              <a:gd name="connsiteY7" fmla="*/ 400232 h 4999652"/>
              <a:gd name="connsiteX8" fmla="*/ 11199600 w 11199600"/>
              <a:gd name="connsiteY8" fmla="*/ 471202 h 4999652"/>
              <a:gd name="connsiteX9" fmla="*/ 11199600 w 11199600"/>
              <a:gd name="connsiteY9" fmla="*/ 475721 h 4999652"/>
              <a:gd name="connsiteX10" fmla="*/ 11199600 w 11199600"/>
              <a:gd name="connsiteY10" fmla="*/ 508692 h 4999652"/>
              <a:gd name="connsiteX11" fmla="*/ 11199600 w 11199600"/>
              <a:gd name="connsiteY11" fmla="*/ 554484 h 4999652"/>
              <a:gd name="connsiteX12" fmla="*/ 11199600 w 11199600"/>
              <a:gd name="connsiteY12" fmla="*/ 563015 h 4999652"/>
              <a:gd name="connsiteX13" fmla="*/ 11199600 w 11199600"/>
              <a:gd name="connsiteY13" fmla="*/ 609405 h 4999652"/>
              <a:gd name="connsiteX14" fmla="*/ 11199600 w 11199600"/>
              <a:gd name="connsiteY14" fmla="*/ 662759 h 4999652"/>
              <a:gd name="connsiteX15" fmla="*/ 11199600 w 11199600"/>
              <a:gd name="connsiteY15" fmla="*/ 674288 h 4999652"/>
              <a:gd name="connsiteX16" fmla="*/ 11199600 w 11199600"/>
              <a:gd name="connsiteY16" fmla="*/ 749961 h 4999652"/>
              <a:gd name="connsiteX17" fmla="*/ 11199600 w 11199600"/>
              <a:gd name="connsiteY17" fmla="*/ 775785 h 4999652"/>
              <a:gd name="connsiteX18" fmla="*/ 11199600 w 11199600"/>
              <a:gd name="connsiteY18" fmla="*/ 837255 h 4999652"/>
              <a:gd name="connsiteX19" fmla="*/ 11199600 w 11199600"/>
              <a:gd name="connsiteY19" fmla="*/ 902921 h 4999652"/>
              <a:gd name="connsiteX20" fmla="*/ 11199600 w 11199600"/>
              <a:gd name="connsiteY20" fmla="*/ 936999 h 4999652"/>
              <a:gd name="connsiteX21" fmla="*/ 11199600 w 11199600"/>
              <a:gd name="connsiteY21" fmla="*/ 1016524 h 4999652"/>
              <a:gd name="connsiteX22" fmla="*/ 11199600 w 11199600"/>
              <a:gd name="connsiteY22" fmla="*/ 1029131 h 4999652"/>
              <a:gd name="connsiteX23" fmla="*/ 11199600 w 11199600"/>
              <a:gd name="connsiteY23" fmla="*/ 1044999 h 4999652"/>
              <a:gd name="connsiteX24" fmla="*/ 11199600 w 11199600"/>
              <a:gd name="connsiteY24" fmla="*/ 1046406 h 4999652"/>
              <a:gd name="connsiteX25" fmla="*/ 11199600 w 11199600"/>
              <a:gd name="connsiteY25" fmla="*/ 1050025 h 4999652"/>
              <a:gd name="connsiteX26" fmla="*/ 11199600 w 11199600"/>
              <a:gd name="connsiteY26" fmla="*/ 1074887 h 4999652"/>
              <a:gd name="connsiteX27" fmla="*/ 11199600 w 11199600"/>
              <a:gd name="connsiteY27" fmla="*/ 1176672 h 4999652"/>
              <a:gd name="connsiteX28" fmla="*/ 11199600 w 11199600"/>
              <a:gd name="connsiteY28" fmla="*/ 1177161 h 4999652"/>
              <a:gd name="connsiteX29" fmla="*/ 11199600 w 11199600"/>
              <a:gd name="connsiteY29" fmla="*/ 1202847 h 4999652"/>
              <a:gd name="connsiteX30" fmla="*/ 11199600 w 11199600"/>
              <a:gd name="connsiteY30" fmla="*/ 1208224 h 4999652"/>
              <a:gd name="connsiteX31" fmla="*/ 11199600 w 11199600"/>
              <a:gd name="connsiteY31" fmla="*/ 1255579 h 4999652"/>
              <a:gd name="connsiteX32" fmla="*/ 11199600 w 11199600"/>
              <a:gd name="connsiteY32" fmla="*/ 1290764 h 4999652"/>
              <a:gd name="connsiteX33" fmla="*/ 11199600 w 11199600"/>
              <a:gd name="connsiteY33" fmla="*/ 1299618 h 4999652"/>
              <a:gd name="connsiteX34" fmla="*/ 11199600 w 11199600"/>
              <a:gd name="connsiteY34" fmla="*/ 1319238 h 4999652"/>
              <a:gd name="connsiteX35" fmla="*/ 11199600 w 11199600"/>
              <a:gd name="connsiteY35" fmla="*/ 1319239 h 4999652"/>
              <a:gd name="connsiteX36" fmla="*/ 11199600 w 11199600"/>
              <a:gd name="connsiteY36" fmla="*/ 1320462 h 4999652"/>
              <a:gd name="connsiteX37" fmla="*/ 11199600 w 11199600"/>
              <a:gd name="connsiteY37" fmla="*/ 1320646 h 4999652"/>
              <a:gd name="connsiteX38" fmla="*/ 11199600 w 11199600"/>
              <a:gd name="connsiteY38" fmla="*/ 1337290 h 4999652"/>
              <a:gd name="connsiteX39" fmla="*/ 11199600 w 11199600"/>
              <a:gd name="connsiteY39" fmla="*/ 1349128 h 4999652"/>
              <a:gd name="connsiteX40" fmla="*/ 11199600 w 11199600"/>
              <a:gd name="connsiteY40" fmla="*/ 1362376 h 4999652"/>
              <a:gd name="connsiteX41" fmla="*/ 11199600 w 11199600"/>
              <a:gd name="connsiteY41" fmla="*/ 1377295 h 4999652"/>
              <a:gd name="connsiteX42" fmla="*/ 11199600 w 11199600"/>
              <a:gd name="connsiteY42" fmla="*/ 1377296 h 4999652"/>
              <a:gd name="connsiteX43" fmla="*/ 11199600 w 11199600"/>
              <a:gd name="connsiteY43" fmla="*/ 1391616 h 4999652"/>
              <a:gd name="connsiteX44" fmla="*/ 11199600 w 11199600"/>
              <a:gd name="connsiteY44" fmla="*/ 1396135 h 4999652"/>
              <a:gd name="connsiteX45" fmla="*/ 11199600 w 11199600"/>
              <a:gd name="connsiteY45" fmla="*/ 1429106 h 4999652"/>
              <a:gd name="connsiteX46" fmla="*/ 11199600 w 11199600"/>
              <a:gd name="connsiteY46" fmla="*/ 1474898 h 4999652"/>
              <a:gd name="connsiteX47" fmla="*/ 11199600 w 11199600"/>
              <a:gd name="connsiteY47" fmla="*/ 1477086 h 4999652"/>
              <a:gd name="connsiteX48" fmla="*/ 11199600 w 11199600"/>
              <a:gd name="connsiteY48" fmla="*/ 1477087 h 4999652"/>
              <a:gd name="connsiteX49" fmla="*/ 11199600 w 11199600"/>
              <a:gd name="connsiteY49" fmla="*/ 1483429 h 4999652"/>
              <a:gd name="connsiteX50" fmla="*/ 11199600 w 11199600"/>
              <a:gd name="connsiteY50" fmla="*/ 1529819 h 4999652"/>
              <a:gd name="connsiteX51" fmla="*/ 11199600 w 11199600"/>
              <a:gd name="connsiteY51" fmla="*/ 1569176 h 4999652"/>
              <a:gd name="connsiteX52" fmla="*/ 11199600 w 11199600"/>
              <a:gd name="connsiteY52" fmla="*/ 1569177 h 4999652"/>
              <a:gd name="connsiteX53" fmla="*/ 11199600 w 11199600"/>
              <a:gd name="connsiteY53" fmla="*/ 1583173 h 4999652"/>
              <a:gd name="connsiteX54" fmla="*/ 11199600 w 11199600"/>
              <a:gd name="connsiteY54" fmla="*/ 1594702 h 4999652"/>
              <a:gd name="connsiteX55" fmla="*/ 11199600 w 11199600"/>
              <a:gd name="connsiteY55" fmla="*/ 1607195 h 4999652"/>
              <a:gd name="connsiteX56" fmla="*/ 11199600 w 11199600"/>
              <a:gd name="connsiteY56" fmla="*/ 1611530 h 4999652"/>
              <a:gd name="connsiteX57" fmla="*/ 11199600 w 11199600"/>
              <a:gd name="connsiteY57" fmla="*/ 1651535 h 4999652"/>
              <a:gd name="connsiteX58" fmla="*/ 11199600 w 11199600"/>
              <a:gd name="connsiteY58" fmla="*/ 1651536 h 4999652"/>
              <a:gd name="connsiteX59" fmla="*/ 11199600 w 11199600"/>
              <a:gd name="connsiteY59" fmla="*/ 1670375 h 4999652"/>
              <a:gd name="connsiteX60" fmla="*/ 11199600 w 11199600"/>
              <a:gd name="connsiteY60" fmla="*/ 1696199 h 4999652"/>
              <a:gd name="connsiteX61" fmla="*/ 11199600 w 11199600"/>
              <a:gd name="connsiteY61" fmla="*/ 1757669 h 4999652"/>
              <a:gd name="connsiteX62" fmla="*/ 11199600 w 11199600"/>
              <a:gd name="connsiteY62" fmla="*/ 1779317 h 4999652"/>
              <a:gd name="connsiteX63" fmla="*/ 11199600 w 11199600"/>
              <a:gd name="connsiteY63" fmla="*/ 1779318 h 4999652"/>
              <a:gd name="connsiteX64" fmla="*/ 11199600 w 11199600"/>
              <a:gd name="connsiteY64" fmla="*/ 1823335 h 4999652"/>
              <a:gd name="connsiteX65" fmla="*/ 11199600 w 11199600"/>
              <a:gd name="connsiteY65" fmla="*/ 1843416 h 4999652"/>
              <a:gd name="connsiteX66" fmla="*/ 11199600 w 11199600"/>
              <a:gd name="connsiteY66" fmla="*/ 1843417 h 4999652"/>
              <a:gd name="connsiteX67" fmla="*/ 11199600 w 11199600"/>
              <a:gd name="connsiteY67" fmla="*/ 1857413 h 4999652"/>
              <a:gd name="connsiteX68" fmla="*/ 11199600 w 11199600"/>
              <a:gd name="connsiteY68" fmla="*/ 1881436 h 4999652"/>
              <a:gd name="connsiteX69" fmla="*/ 11199600 w 11199600"/>
              <a:gd name="connsiteY69" fmla="*/ 1898682 h 4999652"/>
              <a:gd name="connsiteX70" fmla="*/ 11199600 w 11199600"/>
              <a:gd name="connsiteY70" fmla="*/ 1965413 h 4999652"/>
              <a:gd name="connsiteX71" fmla="*/ 11199600 w 11199600"/>
              <a:gd name="connsiteY71" fmla="*/ 1970439 h 4999652"/>
              <a:gd name="connsiteX72" fmla="*/ 11199600 w 11199600"/>
              <a:gd name="connsiteY72" fmla="*/ 2008550 h 4999652"/>
              <a:gd name="connsiteX73" fmla="*/ 11199600 w 11199600"/>
              <a:gd name="connsiteY73" fmla="*/ 2008551 h 4999652"/>
              <a:gd name="connsiteX74" fmla="*/ 11199600 w 11199600"/>
              <a:gd name="connsiteY74" fmla="*/ 2053557 h 4999652"/>
              <a:gd name="connsiteX75" fmla="*/ 11199600 w 11199600"/>
              <a:gd name="connsiteY75" fmla="*/ 2053558 h 4999652"/>
              <a:gd name="connsiteX76" fmla="*/ 11199600 w 11199600"/>
              <a:gd name="connsiteY76" fmla="*/ 2097575 h 4999652"/>
              <a:gd name="connsiteX77" fmla="*/ 11199600 w 11199600"/>
              <a:gd name="connsiteY77" fmla="*/ 2123261 h 4999652"/>
              <a:gd name="connsiteX78" fmla="*/ 11199600 w 11199600"/>
              <a:gd name="connsiteY78" fmla="*/ 2172922 h 4999652"/>
              <a:gd name="connsiteX79" fmla="*/ 11199600 w 11199600"/>
              <a:gd name="connsiteY79" fmla="*/ 2212580 h 4999652"/>
              <a:gd name="connsiteX80" fmla="*/ 11199600 w 11199600"/>
              <a:gd name="connsiteY80" fmla="*/ 2239653 h 4999652"/>
              <a:gd name="connsiteX81" fmla="*/ 11199600 w 11199600"/>
              <a:gd name="connsiteY81" fmla="*/ 2257704 h 4999652"/>
              <a:gd name="connsiteX82" fmla="*/ 11199600 w 11199600"/>
              <a:gd name="connsiteY82" fmla="*/ 2257705 h 4999652"/>
              <a:gd name="connsiteX83" fmla="*/ 11199600 w 11199600"/>
              <a:gd name="connsiteY83" fmla="*/ 2282790 h 4999652"/>
              <a:gd name="connsiteX84" fmla="*/ 11199600 w 11199600"/>
              <a:gd name="connsiteY84" fmla="*/ 2282791 h 4999652"/>
              <a:gd name="connsiteX85" fmla="*/ 11199600 w 11199600"/>
              <a:gd name="connsiteY85" fmla="*/ 2297710 h 4999652"/>
              <a:gd name="connsiteX86" fmla="*/ 11199600 w 11199600"/>
              <a:gd name="connsiteY86" fmla="*/ 2397501 h 4999652"/>
              <a:gd name="connsiteX87" fmla="*/ 11199600 w 11199600"/>
              <a:gd name="connsiteY87" fmla="*/ 2486821 h 4999652"/>
              <a:gd name="connsiteX88" fmla="*/ 11199600 w 11199600"/>
              <a:gd name="connsiteY88" fmla="*/ 2489591 h 4999652"/>
              <a:gd name="connsiteX89" fmla="*/ 11199600 w 11199600"/>
              <a:gd name="connsiteY89" fmla="*/ 2527609 h 4999652"/>
              <a:gd name="connsiteX90" fmla="*/ 11199600 w 11199600"/>
              <a:gd name="connsiteY90" fmla="*/ 2527610 h 4999652"/>
              <a:gd name="connsiteX91" fmla="*/ 11199600 w 11199600"/>
              <a:gd name="connsiteY91" fmla="*/ 2531944 h 4999652"/>
              <a:gd name="connsiteX92" fmla="*/ 11199600 w 11199600"/>
              <a:gd name="connsiteY92" fmla="*/ 2531945 h 4999652"/>
              <a:gd name="connsiteX93" fmla="*/ 11199600 w 11199600"/>
              <a:gd name="connsiteY93" fmla="*/ 2549720 h 4999652"/>
              <a:gd name="connsiteX94" fmla="*/ 11199600 w 11199600"/>
              <a:gd name="connsiteY94" fmla="*/ 2571950 h 4999652"/>
              <a:gd name="connsiteX95" fmla="*/ 11199600 w 11199600"/>
              <a:gd name="connsiteY95" fmla="*/ 2699732 h 4999652"/>
              <a:gd name="connsiteX96" fmla="*/ 11199600 w 11199600"/>
              <a:gd name="connsiteY96" fmla="*/ 2763831 h 4999652"/>
              <a:gd name="connsiteX97" fmla="*/ 11199600 w 11199600"/>
              <a:gd name="connsiteY97" fmla="*/ 2790282 h 4999652"/>
              <a:gd name="connsiteX98" fmla="*/ 11199600 w 11199600"/>
              <a:gd name="connsiteY98" fmla="*/ 2801850 h 4999652"/>
              <a:gd name="connsiteX99" fmla="*/ 11199600 w 11199600"/>
              <a:gd name="connsiteY99" fmla="*/ 2819096 h 4999652"/>
              <a:gd name="connsiteX100" fmla="*/ 11199600 w 11199600"/>
              <a:gd name="connsiteY100" fmla="*/ 2823960 h 4999652"/>
              <a:gd name="connsiteX101" fmla="*/ 11199600 w 11199600"/>
              <a:gd name="connsiteY101" fmla="*/ 2910931 h 4999652"/>
              <a:gd name="connsiteX102" fmla="*/ 11199600 w 11199600"/>
              <a:gd name="connsiteY102" fmla="*/ 3093336 h 4999652"/>
              <a:gd name="connsiteX103" fmla="*/ 11199600 w 11199600"/>
              <a:gd name="connsiteY103" fmla="*/ 3132994 h 4999652"/>
              <a:gd name="connsiteX104" fmla="*/ 11199600 w 11199600"/>
              <a:gd name="connsiteY104" fmla="*/ 3185171 h 4999652"/>
              <a:gd name="connsiteX105" fmla="*/ 11199600 w 11199600"/>
              <a:gd name="connsiteY105" fmla="*/ 3297044 h 4999652"/>
              <a:gd name="connsiteX106" fmla="*/ 11199600 w 11199600"/>
              <a:gd name="connsiteY106" fmla="*/ 3407235 h 4999652"/>
              <a:gd name="connsiteX107" fmla="*/ 11199600 w 11199600"/>
              <a:gd name="connsiteY107" fmla="*/ 3470134 h 4999652"/>
              <a:gd name="connsiteX108" fmla="*/ 11199600 w 11199600"/>
              <a:gd name="connsiteY108" fmla="*/ 3571284 h 4999652"/>
              <a:gd name="connsiteX109" fmla="*/ 11199600 w 11199600"/>
              <a:gd name="connsiteY109" fmla="*/ 3708888 h 4999652"/>
              <a:gd name="connsiteX110" fmla="*/ 11199600 w 11199600"/>
              <a:gd name="connsiteY110" fmla="*/ 3744374 h 4999652"/>
              <a:gd name="connsiteX111" fmla="*/ 11199600 w 11199600"/>
              <a:gd name="connsiteY111" fmla="*/ 3831345 h 4999652"/>
              <a:gd name="connsiteX112" fmla="*/ 11199600 w 11199600"/>
              <a:gd name="connsiteY112" fmla="*/ 3983128 h 4999652"/>
              <a:gd name="connsiteX113" fmla="*/ 11199600 w 11199600"/>
              <a:gd name="connsiteY113" fmla="*/ 4105585 h 4999652"/>
              <a:gd name="connsiteX114" fmla="*/ 11199600 w 11199600"/>
              <a:gd name="connsiteY114" fmla="*/ 4217458 h 4999652"/>
              <a:gd name="connsiteX115" fmla="*/ 11199600 w 11199600"/>
              <a:gd name="connsiteY115" fmla="*/ 4491698 h 4999652"/>
              <a:gd name="connsiteX116" fmla="*/ 11199600 w 11199600"/>
              <a:gd name="connsiteY116" fmla="*/ 4629302 h 4999652"/>
              <a:gd name="connsiteX117" fmla="*/ 11199600 w 11199600"/>
              <a:gd name="connsiteY117" fmla="*/ 4903542 h 4999652"/>
              <a:gd name="connsiteX118" fmla="*/ 11103603 w 11199600"/>
              <a:gd name="connsiteY118" fmla="*/ 4999652 h 4999652"/>
              <a:gd name="connsiteX119" fmla="*/ 95997 w 11199600"/>
              <a:gd name="connsiteY119" fmla="*/ 4999652 h 4999652"/>
              <a:gd name="connsiteX120" fmla="*/ 0 w 11199600"/>
              <a:gd name="connsiteY120" fmla="*/ 4903542 h 4999652"/>
              <a:gd name="connsiteX121" fmla="*/ 0 w 11199600"/>
              <a:gd name="connsiteY121" fmla="*/ 4899807 h 4999652"/>
              <a:gd name="connsiteX122" fmla="*/ 0 w 11199600"/>
              <a:gd name="connsiteY122" fmla="*/ 4890936 h 4999652"/>
              <a:gd name="connsiteX123" fmla="*/ 0 w 11199600"/>
              <a:gd name="connsiteY123" fmla="*/ 4873660 h 4999652"/>
              <a:gd name="connsiteX124" fmla="*/ 0 w 11199600"/>
              <a:gd name="connsiteY124" fmla="*/ 4845179 h 4999652"/>
              <a:gd name="connsiteX125" fmla="*/ 0 w 11199600"/>
              <a:gd name="connsiteY125" fmla="*/ 4802691 h 4999652"/>
              <a:gd name="connsiteX126" fmla="*/ 0 w 11199600"/>
              <a:gd name="connsiteY126" fmla="*/ 4743394 h 4999652"/>
              <a:gd name="connsiteX127" fmla="*/ 0 w 11199600"/>
              <a:gd name="connsiteY127" fmla="*/ 4664487 h 4999652"/>
              <a:gd name="connsiteX128" fmla="*/ 0 w 11199600"/>
              <a:gd name="connsiteY128" fmla="*/ 4629302 h 4999652"/>
              <a:gd name="connsiteX129" fmla="*/ 0 w 11199600"/>
              <a:gd name="connsiteY129" fmla="*/ 4628196 h 4999652"/>
              <a:gd name="connsiteX130" fmla="*/ 0 w 11199600"/>
              <a:gd name="connsiteY130" fmla="*/ 4620448 h 4999652"/>
              <a:gd name="connsiteX131" fmla="*/ 0 w 11199600"/>
              <a:gd name="connsiteY131" fmla="*/ 4599605 h 4999652"/>
              <a:gd name="connsiteX132" fmla="*/ 0 w 11199600"/>
              <a:gd name="connsiteY132" fmla="*/ 4599420 h 4999652"/>
              <a:gd name="connsiteX133" fmla="*/ 0 w 11199600"/>
              <a:gd name="connsiteY133" fmla="*/ 4558471 h 4999652"/>
              <a:gd name="connsiteX134" fmla="*/ 0 w 11199600"/>
              <a:gd name="connsiteY134" fmla="*/ 4528451 h 4999652"/>
              <a:gd name="connsiteX135" fmla="*/ 0 w 11199600"/>
              <a:gd name="connsiteY135" fmla="*/ 4523932 h 4999652"/>
              <a:gd name="connsiteX136" fmla="*/ 0 w 11199600"/>
              <a:gd name="connsiteY136" fmla="*/ 4490960 h 4999652"/>
              <a:gd name="connsiteX137" fmla="*/ 0 w 11199600"/>
              <a:gd name="connsiteY137" fmla="*/ 4445169 h 4999652"/>
              <a:gd name="connsiteX138" fmla="*/ 0 w 11199600"/>
              <a:gd name="connsiteY138" fmla="*/ 4436638 h 4999652"/>
              <a:gd name="connsiteX139" fmla="*/ 0 w 11199600"/>
              <a:gd name="connsiteY139" fmla="*/ 4390247 h 4999652"/>
              <a:gd name="connsiteX140" fmla="*/ 0 w 11199600"/>
              <a:gd name="connsiteY140" fmla="*/ 4336893 h 4999652"/>
              <a:gd name="connsiteX141" fmla="*/ 0 w 11199600"/>
              <a:gd name="connsiteY141" fmla="*/ 4325365 h 4999652"/>
              <a:gd name="connsiteX142" fmla="*/ 0 w 11199600"/>
              <a:gd name="connsiteY142" fmla="*/ 4249692 h 4999652"/>
              <a:gd name="connsiteX143" fmla="*/ 0 w 11199600"/>
              <a:gd name="connsiteY143" fmla="*/ 4223868 h 4999652"/>
              <a:gd name="connsiteX144" fmla="*/ 0 w 11199600"/>
              <a:gd name="connsiteY144" fmla="*/ 4162398 h 4999652"/>
              <a:gd name="connsiteX145" fmla="*/ 0 w 11199600"/>
              <a:gd name="connsiteY145" fmla="*/ 4096731 h 4999652"/>
              <a:gd name="connsiteX146" fmla="*/ 0 w 11199600"/>
              <a:gd name="connsiteY146" fmla="*/ 4062653 h 4999652"/>
              <a:gd name="connsiteX147" fmla="*/ 0 w 11199600"/>
              <a:gd name="connsiteY147" fmla="*/ 3983128 h 4999652"/>
              <a:gd name="connsiteX148" fmla="*/ 0 w 11199600"/>
              <a:gd name="connsiteY148" fmla="*/ 3979393 h 4999652"/>
              <a:gd name="connsiteX149" fmla="*/ 0 w 11199600"/>
              <a:gd name="connsiteY149" fmla="*/ 3970522 h 4999652"/>
              <a:gd name="connsiteX150" fmla="*/ 0 w 11199600"/>
              <a:gd name="connsiteY150" fmla="*/ 3954654 h 4999652"/>
              <a:gd name="connsiteX151" fmla="*/ 0 w 11199600"/>
              <a:gd name="connsiteY151" fmla="*/ 3953246 h 4999652"/>
              <a:gd name="connsiteX152" fmla="*/ 0 w 11199600"/>
              <a:gd name="connsiteY152" fmla="*/ 3949628 h 4999652"/>
              <a:gd name="connsiteX153" fmla="*/ 0 w 11199600"/>
              <a:gd name="connsiteY153" fmla="*/ 3924765 h 4999652"/>
              <a:gd name="connsiteX154" fmla="*/ 0 w 11199600"/>
              <a:gd name="connsiteY154" fmla="*/ 3882277 h 4999652"/>
              <a:gd name="connsiteX155" fmla="*/ 0 w 11199600"/>
              <a:gd name="connsiteY155" fmla="*/ 3822980 h 4999652"/>
              <a:gd name="connsiteX156" fmla="*/ 0 w 11199600"/>
              <a:gd name="connsiteY156" fmla="*/ 3822491 h 4999652"/>
              <a:gd name="connsiteX157" fmla="*/ 0 w 11199600"/>
              <a:gd name="connsiteY157" fmla="*/ 3796806 h 4999652"/>
              <a:gd name="connsiteX158" fmla="*/ 0 w 11199600"/>
              <a:gd name="connsiteY158" fmla="*/ 3744073 h 4999652"/>
              <a:gd name="connsiteX159" fmla="*/ 0 w 11199600"/>
              <a:gd name="connsiteY159" fmla="*/ 3708888 h 4999652"/>
              <a:gd name="connsiteX160" fmla="*/ 0 w 11199600"/>
              <a:gd name="connsiteY160" fmla="*/ 3707782 h 4999652"/>
              <a:gd name="connsiteX161" fmla="*/ 0 w 11199600"/>
              <a:gd name="connsiteY161" fmla="*/ 3700034 h 4999652"/>
              <a:gd name="connsiteX162" fmla="*/ 0 w 11199600"/>
              <a:gd name="connsiteY162" fmla="*/ 3680414 h 4999652"/>
              <a:gd name="connsiteX163" fmla="*/ 0 w 11199600"/>
              <a:gd name="connsiteY163" fmla="*/ 3679191 h 4999652"/>
              <a:gd name="connsiteX164" fmla="*/ 0 w 11199600"/>
              <a:gd name="connsiteY164" fmla="*/ 3679006 h 4999652"/>
              <a:gd name="connsiteX165" fmla="*/ 0 w 11199600"/>
              <a:gd name="connsiteY165" fmla="*/ 3638057 h 4999652"/>
              <a:gd name="connsiteX166" fmla="*/ 0 w 11199600"/>
              <a:gd name="connsiteY166" fmla="*/ 3622356 h 4999652"/>
              <a:gd name="connsiteX167" fmla="*/ 0 w 11199600"/>
              <a:gd name="connsiteY167" fmla="*/ 3608037 h 4999652"/>
              <a:gd name="connsiteX168" fmla="*/ 0 w 11199600"/>
              <a:gd name="connsiteY168" fmla="*/ 3603518 h 4999652"/>
              <a:gd name="connsiteX169" fmla="*/ 0 w 11199600"/>
              <a:gd name="connsiteY169" fmla="*/ 3570546 h 4999652"/>
              <a:gd name="connsiteX170" fmla="*/ 0 w 11199600"/>
              <a:gd name="connsiteY170" fmla="*/ 3524755 h 4999652"/>
              <a:gd name="connsiteX171" fmla="*/ 0 w 11199600"/>
              <a:gd name="connsiteY171" fmla="*/ 3522566 h 4999652"/>
              <a:gd name="connsiteX172" fmla="*/ 0 w 11199600"/>
              <a:gd name="connsiteY172" fmla="*/ 3516224 h 4999652"/>
              <a:gd name="connsiteX173" fmla="*/ 0 w 11199600"/>
              <a:gd name="connsiteY173" fmla="*/ 3469833 h 4999652"/>
              <a:gd name="connsiteX174" fmla="*/ 0 w 11199600"/>
              <a:gd name="connsiteY174" fmla="*/ 3430476 h 4999652"/>
              <a:gd name="connsiteX175" fmla="*/ 0 w 11199600"/>
              <a:gd name="connsiteY175" fmla="*/ 3416479 h 4999652"/>
              <a:gd name="connsiteX176" fmla="*/ 0 w 11199600"/>
              <a:gd name="connsiteY176" fmla="*/ 3404951 h 4999652"/>
              <a:gd name="connsiteX177" fmla="*/ 0 w 11199600"/>
              <a:gd name="connsiteY177" fmla="*/ 3348116 h 4999652"/>
              <a:gd name="connsiteX178" fmla="*/ 0 w 11199600"/>
              <a:gd name="connsiteY178" fmla="*/ 3329278 h 4999652"/>
              <a:gd name="connsiteX179" fmla="*/ 0 w 11199600"/>
              <a:gd name="connsiteY179" fmla="*/ 3303454 h 4999652"/>
              <a:gd name="connsiteX180" fmla="*/ 0 w 11199600"/>
              <a:gd name="connsiteY180" fmla="*/ 3241984 h 4999652"/>
              <a:gd name="connsiteX181" fmla="*/ 0 w 11199600"/>
              <a:gd name="connsiteY181" fmla="*/ 3220334 h 4999652"/>
              <a:gd name="connsiteX182" fmla="*/ 0 w 11199600"/>
              <a:gd name="connsiteY182" fmla="*/ 3176317 h 4999652"/>
              <a:gd name="connsiteX183" fmla="*/ 0 w 11199600"/>
              <a:gd name="connsiteY183" fmla="*/ 3156236 h 4999652"/>
              <a:gd name="connsiteX184" fmla="*/ 0 w 11199600"/>
              <a:gd name="connsiteY184" fmla="*/ 3142239 h 4999652"/>
              <a:gd name="connsiteX185" fmla="*/ 0 w 11199600"/>
              <a:gd name="connsiteY185" fmla="*/ 3034240 h 4999652"/>
              <a:gd name="connsiteX186" fmla="*/ 0 w 11199600"/>
              <a:gd name="connsiteY186" fmla="*/ 3029214 h 4999652"/>
              <a:gd name="connsiteX187" fmla="*/ 0 w 11199600"/>
              <a:gd name="connsiteY187" fmla="*/ 2991101 h 4999652"/>
              <a:gd name="connsiteX188" fmla="*/ 0 w 11199600"/>
              <a:gd name="connsiteY188" fmla="*/ 2946094 h 4999652"/>
              <a:gd name="connsiteX189" fmla="*/ 0 w 11199600"/>
              <a:gd name="connsiteY189" fmla="*/ 2902077 h 4999652"/>
              <a:gd name="connsiteX190" fmla="*/ 0 w 11199600"/>
              <a:gd name="connsiteY190" fmla="*/ 2876392 h 4999652"/>
              <a:gd name="connsiteX191" fmla="*/ 0 w 11199600"/>
              <a:gd name="connsiteY191" fmla="*/ 2790282 h 4999652"/>
              <a:gd name="connsiteX192" fmla="*/ 0 w 11199600"/>
              <a:gd name="connsiteY192" fmla="*/ 2787072 h 4999652"/>
              <a:gd name="connsiteX193" fmla="*/ 0 w 11199600"/>
              <a:gd name="connsiteY193" fmla="*/ 2760000 h 4999652"/>
              <a:gd name="connsiteX194" fmla="*/ 0 w 11199600"/>
              <a:gd name="connsiteY194" fmla="*/ 2741948 h 4999652"/>
              <a:gd name="connsiteX195" fmla="*/ 0 w 11199600"/>
              <a:gd name="connsiteY195" fmla="*/ 2741947 h 4999652"/>
              <a:gd name="connsiteX196" fmla="*/ 0 w 11199600"/>
              <a:gd name="connsiteY196" fmla="*/ 2716862 h 4999652"/>
              <a:gd name="connsiteX197" fmla="*/ 0 w 11199600"/>
              <a:gd name="connsiteY197" fmla="*/ 2716861 h 4999652"/>
              <a:gd name="connsiteX198" fmla="*/ 0 w 11199600"/>
              <a:gd name="connsiteY198" fmla="*/ 2701942 h 4999652"/>
              <a:gd name="connsiteX199" fmla="*/ 0 w 11199600"/>
              <a:gd name="connsiteY199" fmla="*/ 2602152 h 4999652"/>
              <a:gd name="connsiteX200" fmla="*/ 0 w 11199600"/>
              <a:gd name="connsiteY200" fmla="*/ 2512832 h 4999652"/>
              <a:gd name="connsiteX201" fmla="*/ 0 w 11199600"/>
              <a:gd name="connsiteY201" fmla="*/ 2510062 h 4999652"/>
              <a:gd name="connsiteX202" fmla="*/ 0 w 11199600"/>
              <a:gd name="connsiteY202" fmla="*/ 2472043 h 4999652"/>
              <a:gd name="connsiteX203" fmla="*/ 0 w 11199600"/>
              <a:gd name="connsiteY203" fmla="*/ 2472042 h 4999652"/>
              <a:gd name="connsiteX204" fmla="*/ 0 w 11199600"/>
              <a:gd name="connsiteY204" fmla="*/ 2467708 h 4999652"/>
              <a:gd name="connsiteX205" fmla="*/ 0 w 11199600"/>
              <a:gd name="connsiteY205" fmla="*/ 2467707 h 4999652"/>
              <a:gd name="connsiteX206" fmla="*/ 0 w 11199600"/>
              <a:gd name="connsiteY206" fmla="*/ 2449933 h 4999652"/>
              <a:gd name="connsiteX207" fmla="*/ 0 w 11199600"/>
              <a:gd name="connsiteY207" fmla="*/ 2427702 h 4999652"/>
              <a:gd name="connsiteX208" fmla="*/ 0 w 11199600"/>
              <a:gd name="connsiteY208" fmla="*/ 2299920 h 4999652"/>
              <a:gd name="connsiteX209" fmla="*/ 0 w 11199600"/>
              <a:gd name="connsiteY209" fmla="*/ 2235822 h 4999652"/>
              <a:gd name="connsiteX210" fmla="*/ 0 w 11199600"/>
              <a:gd name="connsiteY210" fmla="*/ 2197803 h 4999652"/>
              <a:gd name="connsiteX211" fmla="*/ 0 w 11199600"/>
              <a:gd name="connsiteY211" fmla="*/ 2197802 h 4999652"/>
              <a:gd name="connsiteX212" fmla="*/ 0 w 11199600"/>
              <a:gd name="connsiteY212" fmla="*/ 2180556 h 4999652"/>
              <a:gd name="connsiteX213" fmla="*/ 0 w 11199600"/>
              <a:gd name="connsiteY213" fmla="*/ 2180555 h 4999652"/>
              <a:gd name="connsiteX214" fmla="*/ 0 w 11199600"/>
              <a:gd name="connsiteY214" fmla="*/ 2175692 h 4999652"/>
              <a:gd name="connsiteX215" fmla="*/ 0 w 11199600"/>
              <a:gd name="connsiteY215" fmla="*/ 2088721 h 4999652"/>
              <a:gd name="connsiteX216" fmla="*/ 0 w 11199600"/>
              <a:gd name="connsiteY216" fmla="*/ 2070687 h 4999652"/>
              <a:gd name="connsiteX217" fmla="*/ 0 w 11199600"/>
              <a:gd name="connsiteY217" fmla="*/ 2025680 h 4999652"/>
              <a:gd name="connsiteX218" fmla="*/ 0 w 11199600"/>
              <a:gd name="connsiteY218" fmla="*/ 1906316 h 4999652"/>
              <a:gd name="connsiteX219" fmla="*/ 0 w 11199600"/>
              <a:gd name="connsiteY219" fmla="*/ 1906315 h 4999652"/>
              <a:gd name="connsiteX220" fmla="*/ 0 w 11199600"/>
              <a:gd name="connsiteY220" fmla="*/ 1866658 h 4999652"/>
              <a:gd name="connsiteX221" fmla="*/ 0 w 11199600"/>
              <a:gd name="connsiteY221" fmla="*/ 1866657 h 4999652"/>
              <a:gd name="connsiteX222" fmla="*/ 0 w 11199600"/>
              <a:gd name="connsiteY222" fmla="*/ 1821533 h 4999652"/>
              <a:gd name="connsiteX223" fmla="*/ 0 w 11199600"/>
              <a:gd name="connsiteY223" fmla="*/ 1814481 h 4999652"/>
              <a:gd name="connsiteX224" fmla="*/ 0 w 11199600"/>
              <a:gd name="connsiteY224" fmla="*/ 1796447 h 4999652"/>
              <a:gd name="connsiteX225" fmla="*/ 0 w 11199600"/>
              <a:gd name="connsiteY225" fmla="*/ 1702609 h 4999652"/>
              <a:gd name="connsiteX226" fmla="*/ 0 w 11199600"/>
              <a:gd name="connsiteY226" fmla="*/ 1592418 h 4999652"/>
              <a:gd name="connsiteX227" fmla="*/ 0 w 11199600"/>
              <a:gd name="connsiteY227" fmla="*/ 1592417 h 4999652"/>
              <a:gd name="connsiteX228" fmla="*/ 0 w 11199600"/>
              <a:gd name="connsiteY228" fmla="*/ 1551628 h 4999652"/>
              <a:gd name="connsiteX229" fmla="*/ 0 w 11199600"/>
              <a:gd name="connsiteY229" fmla="*/ 1547293 h 4999652"/>
              <a:gd name="connsiteX230" fmla="*/ 0 w 11199600"/>
              <a:gd name="connsiteY230" fmla="*/ 1529519 h 4999652"/>
              <a:gd name="connsiteX231" fmla="*/ 0 w 11199600"/>
              <a:gd name="connsiteY231" fmla="*/ 1529518 h 4999652"/>
              <a:gd name="connsiteX232" fmla="*/ 0 w 11199600"/>
              <a:gd name="connsiteY232" fmla="*/ 1428369 h 4999652"/>
              <a:gd name="connsiteX233" fmla="*/ 0 w 11199600"/>
              <a:gd name="connsiteY233" fmla="*/ 1290764 h 4999652"/>
              <a:gd name="connsiteX234" fmla="*/ 0 w 11199600"/>
              <a:gd name="connsiteY234" fmla="*/ 1277388 h 4999652"/>
              <a:gd name="connsiteX235" fmla="*/ 0 w 11199600"/>
              <a:gd name="connsiteY235" fmla="*/ 1260141 h 4999652"/>
              <a:gd name="connsiteX236" fmla="*/ 0 w 11199600"/>
              <a:gd name="connsiteY236" fmla="*/ 1255278 h 4999652"/>
              <a:gd name="connsiteX237" fmla="*/ 0 w 11199600"/>
              <a:gd name="connsiteY237" fmla="*/ 1255277 h 4999652"/>
              <a:gd name="connsiteX238" fmla="*/ 0 w 11199600"/>
              <a:gd name="connsiteY238" fmla="*/ 1208224 h 4999652"/>
              <a:gd name="connsiteX239" fmla="*/ 0 w 11199600"/>
              <a:gd name="connsiteY239" fmla="*/ 1168307 h 4999652"/>
              <a:gd name="connsiteX240" fmla="*/ 0 w 11199600"/>
              <a:gd name="connsiteY240" fmla="*/ 1016524 h 4999652"/>
              <a:gd name="connsiteX241" fmla="*/ 0 w 11199600"/>
              <a:gd name="connsiteY241" fmla="*/ 894067 h 4999652"/>
              <a:gd name="connsiteX242" fmla="*/ 0 w 11199600"/>
              <a:gd name="connsiteY242" fmla="*/ 782195 h 4999652"/>
              <a:gd name="connsiteX243" fmla="*/ 0 w 11199600"/>
              <a:gd name="connsiteY243" fmla="*/ 507955 h 4999652"/>
              <a:gd name="connsiteX244" fmla="*/ 0 w 11199600"/>
              <a:gd name="connsiteY244" fmla="*/ 370350 h 4999652"/>
              <a:gd name="connsiteX245" fmla="*/ 0 w 11199600"/>
              <a:gd name="connsiteY245" fmla="*/ 96110 h 4999652"/>
              <a:gd name="connsiteX246" fmla="*/ 95997 w 11199600"/>
              <a:gd name="connsiteY246" fmla="*/ 0 h 49996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</a:cxnLst>
            <a:rect l="l" t="t" r="r" b="b"/>
            <a:pathLst>
              <a:path w="11199600" h="4999652">
                <a:moveTo>
                  <a:pt x="95997" y="0"/>
                </a:moveTo>
                <a:lnTo>
                  <a:pt x="11103603" y="0"/>
                </a:lnTo>
                <a:cubicBezTo>
                  <a:pt x="11199600" y="0"/>
                  <a:pt x="11199600" y="96110"/>
                  <a:pt x="11199600" y="96110"/>
                </a:cubicBezTo>
                <a:cubicBezTo>
                  <a:pt x="11199600" y="96110"/>
                  <a:pt x="11199600" y="96110"/>
                  <a:pt x="11199600" y="335165"/>
                </a:cubicBezTo>
                <a:lnTo>
                  <a:pt x="11199600" y="370350"/>
                </a:lnTo>
                <a:cubicBezTo>
                  <a:pt x="11199600" y="370350"/>
                  <a:pt x="11199600" y="370350"/>
                  <a:pt x="11199600" y="379204"/>
                </a:cubicBezTo>
                <a:lnTo>
                  <a:pt x="11199600" y="400048"/>
                </a:lnTo>
                <a:lnTo>
                  <a:pt x="11199600" y="400232"/>
                </a:lnTo>
                <a:cubicBezTo>
                  <a:pt x="11199600" y="415173"/>
                  <a:pt x="11199600" y="437585"/>
                  <a:pt x="11199600" y="471202"/>
                </a:cubicBezTo>
                <a:lnTo>
                  <a:pt x="11199600" y="475721"/>
                </a:lnTo>
                <a:lnTo>
                  <a:pt x="11199600" y="508692"/>
                </a:lnTo>
                <a:cubicBezTo>
                  <a:pt x="11199600" y="522527"/>
                  <a:pt x="11199600" y="537744"/>
                  <a:pt x="11199600" y="554484"/>
                </a:cubicBezTo>
                <a:lnTo>
                  <a:pt x="11199600" y="563015"/>
                </a:lnTo>
                <a:lnTo>
                  <a:pt x="11199600" y="609405"/>
                </a:lnTo>
                <a:lnTo>
                  <a:pt x="11199600" y="662759"/>
                </a:lnTo>
                <a:lnTo>
                  <a:pt x="11199600" y="674288"/>
                </a:lnTo>
                <a:cubicBezTo>
                  <a:pt x="11199600" y="697668"/>
                  <a:pt x="11199600" y="722846"/>
                  <a:pt x="11199600" y="749961"/>
                </a:cubicBezTo>
                <a:lnTo>
                  <a:pt x="11199600" y="775785"/>
                </a:lnTo>
                <a:lnTo>
                  <a:pt x="11199600" y="837255"/>
                </a:lnTo>
                <a:lnTo>
                  <a:pt x="11199600" y="902921"/>
                </a:lnTo>
                <a:lnTo>
                  <a:pt x="11199600" y="936999"/>
                </a:lnTo>
                <a:lnTo>
                  <a:pt x="11199600" y="1016524"/>
                </a:lnTo>
                <a:cubicBezTo>
                  <a:pt x="11199600" y="1016524"/>
                  <a:pt x="11199600" y="1016524"/>
                  <a:pt x="11199600" y="1029131"/>
                </a:cubicBezTo>
                <a:lnTo>
                  <a:pt x="11199600" y="1044999"/>
                </a:lnTo>
                <a:lnTo>
                  <a:pt x="11199600" y="1046406"/>
                </a:lnTo>
                <a:lnTo>
                  <a:pt x="11199600" y="1050025"/>
                </a:lnTo>
                <a:lnTo>
                  <a:pt x="11199600" y="1074887"/>
                </a:lnTo>
                <a:cubicBezTo>
                  <a:pt x="11199600" y="1098232"/>
                  <a:pt x="11199600" y="1130916"/>
                  <a:pt x="11199600" y="1176672"/>
                </a:cubicBezTo>
                <a:lnTo>
                  <a:pt x="11199600" y="1177161"/>
                </a:lnTo>
                <a:lnTo>
                  <a:pt x="11199600" y="1202847"/>
                </a:lnTo>
                <a:lnTo>
                  <a:pt x="11199600" y="1208224"/>
                </a:lnTo>
                <a:lnTo>
                  <a:pt x="11199600" y="1255579"/>
                </a:lnTo>
                <a:lnTo>
                  <a:pt x="11199600" y="1290764"/>
                </a:lnTo>
                <a:cubicBezTo>
                  <a:pt x="11199600" y="1290764"/>
                  <a:pt x="11199600" y="1290764"/>
                  <a:pt x="11199600" y="1299618"/>
                </a:cubicBezTo>
                <a:lnTo>
                  <a:pt x="11199600" y="1319238"/>
                </a:lnTo>
                <a:lnTo>
                  <a:pt x="11199600" y="1319239"/>
                </a:lnTo>
                <a:lnTo>
                  <a:pt x="11199600" y="1320462"/>
                </a:lnTo>
                <a:lnTo>
                  <a:pt x="11199600" y="1320646"/>
                </a:lnTo>
                <a:lnTo>
                  <a:pt x="11199600" y="1337290"/>
                </a:lnTo>
                <a:lnTo>
                  <a:pt x="11199600" y="1349128"/>
                </a:lnTo>
                <a:lnTo>
                  <a:pt x="11199600" y="1362376"/>
                </a:lnTo>
                <a:lnTo>
                  <a:pt x="11199600" y="1377295"/>
                </a:lnTo>
                <a:lnTo>
                  <a:pt x="11199600" y="1377296"/>
                </a:lnTo>
                <a:lnTo>
                  <a:pt x="11199600" y="1391616"/>
                </a:lnTo>
                <a:lnTo>
                  <a:pt x="11199600" y="1396135"/>
                </a:lnTo>
                <a:lnTo>
                  <a:pt x="11199600" y="1429106"/>
                </a:lnTo>
                <a:cubicBezTo>
                  <a:pt x="11199600" y="1442941"/>
                  <a:pt x="11199600" y="1458158"/>
                  <a:pt x="11199600" y="1474898"/>
                </a:cubicBezTo>
                <a:lnTo>
                  <a:pt x="11199600" y="1477086"/>
                </a:lnTo>
                <a:lnTo>
                  <a:pt x="11199600" y="1477087"/>
                </a:lnTo>
                <a:lnTo>
                  <a:pt x="11199600" y="1483429"/>
                </a:lnTo>
                <a:lnTo>
                  <a:pt x="11199600" y="1529819"/>
                </a:lnTo>
                <a:lnTo>
                  <a:pt x="11199600" y="1569176"/>
                </a:lnTo>
                <a:lnTo>
                  <a:pt x="11199600" y="1569177"/>
                </a:lnTo>
                <a:lnTo>
                  <a:pt x="11199600" y="1583173"/>
                </a:lnTo>
                <a:lnTo>
                  <a:pt x="11199600" y="1594702"/>
                </a:lnTo>
                <a:lnTo>
                  <a:pt x="11199600" y="1607195"/>
                </a:lnTo>
                <a:lnTo>
                  <a:pt x="11199600" y="1611530"/>
                </a:lnTo>
                <a:lnTo>
                  <a:pt x="11199600" y="1651535"/>
                </a:lnTo>
                <a:lnTo>
                  <a:pt x="11199600" y="1651536"/>
                </a:lnTo>
                <a:lnTo>
                  <a:pt x="11199600" y="1670375"/>
                </a:lnTo>
                <a:lnTo>
                  <a:pt x="11199600" y="1696199"/>
                </a:lnTo>
                <a:lnTo>
                  <a:pt x="11199600" y="1757669"/>
                </a:lnTo>
                <a:lnTo>
                  <a:pt x="11199600" y="1779317"/>
                </a:lnTo>
                <a:lnTo>
                  <a:pt x="11199600" y="1779318"/>
                </a:lnTo>
                <a:lnTo>
                  <a:pt x="11199600" y="1823335"/>
                </a:lnTo>
                <a:lnTo>
                  <a:pt x="11199600" y="1843416"/>
                </a:lnTo>
                <a:lnTo>
                  <a:pt x="11199600" y="1843417"/>
                </a:lnTo>
                <a:lnTo>
                  <a:pt x="11199600" y="1857413"/>
                </a:lnTo>
                <a:lnTo>
                  <a:pt x="11199600" y="1881436"/>
                </a:lnTo>
                <a:lnTo>
                  <a:pt x="11199600" y="1898682"/>
                </a:lnTo>
                <a:lnTo>
                  <a:pt x="11199600" y="1965413"/>
                </a:lnTo>
                <a:lnTo>
                  <a:pt x="11199600" y="1970439"/>
                </a:lnTo>
                <a:lnTo>
                  <a:pt x="11199600" y="2008550"/>
                </a:lnTo>
                <a:lnTo>
                  <a:pt x="11199600" y="2008551"/>
                </a:lnTo>
                <a:lnTo>
                  <a:pt x="11199600" y="2053557"/>
                </a:lnTo>
                <a:lnTo>
                  <a:pt x="11199600" y="2053558"/>
                </a:lnTo>
                <a:lnTo>
                  <a:pt x="11199600" y="2097575"/>
                </a:lnTo>
                <a:lnTo>
                  <a:pt x="11199600" y="2123261"/>
                </a:lnTo>
                <a:lnTo>
                  <a:pt x="11199600" y="2172922"/>
                </a:lnTo>
                <a:lnTo>
                  <a:pt x="11199600" y="2212580"/>
                </a:lnTo>
                <a:lnTo>
                  <a:pt x="11199600" y="2239653"/>
                </a:lnTo>
                <a:lnTo>
                  <a:pt x="11199600" y="2257704"/>
                </a:lnTo>
                <a:lnTo>
                  <a:pt x="11199600" y="2257705"/>
                </a:lnTo>
                <a:lnTo>
                  <a:pt x="11199600" y="2282790"/>
                </a:lnTo>
                <a:lnTo>
                  <a:pt x="11199600" y="2282791"/>
                </a:lnTo>
                <a:lnTo>
                  <a:pt x="11199600" y="2297710"/>
                </a:lnTo>
                <a:lnTo>
                  <a:pt x="11199600" y="2397501"/>
                </a:lnTo>
                <a:lnTo>
                  <a:pt x="11199600" y="2486821"/>
                </a:lnTo>
                <a:lnTo>
                  <a:pt x="11199600" y="2489591"/>
                </a:lnTo>
                <a:lnTo>
                  <a:pt x="11199600" y="2527609"/>
                </a:lnTo>
                <a:lnTo>
                  <a:pt x="11199600" y="2527610"/>
                </a:lnTo>
                <a:lnTo>
                  <a:pt x="11199600" y="2531944"/>
                </a:lnTo>
                <a:lnTo>
                  <a:pt x="11199600" y="2531945"/>
                </a:lnTo>
                <a:lnTo>
                  <a:pt x="11199600" y="2549720"/>
                </a:lnTo>
                <a:lnTo>
                  <a:pt x="11199600" y="2571950"/>
                </a:lnTo>
                <a:lnTo>
                  <a:pt x="11199600" y="2699732"/>
                </a:lnTo>
                <a:lnTo>
                  <a:pt x="11199600" y="2763831"/>
                </a:lnTo>
                <a:lnTo>
                  <a:pt x="11199600" y="2790282"/>
                </a:lnTo>
                <a:lnTo>
                  <a:pt x="11199600" y="2801850"/>
                </a:lnTo>
                <a:lnTo>
                  <a:pt x="11199600" y="2819096"/>
                </a:lnTo>
                <a:lnTo>
                  <a:pt x="11199600" y="2823960"/>
                </a:lnTo>
                <a:lnTo>
                  <a:pt x="11199600" y="2910931"/>
                </a:lnTo>
                <a:lnTo>
                  <a:pt x="11199600" y="3093336"/>
                </a:lnTo>
                <a:lnTo>
                  <a:pt x="11199600" y="3132994"/>
                </a:lnTo>
                <a:lnTo>
                  <a:pt x="11199600" y="3185171"/>
                </a:lnTo>
                <a:lnTo>
                  <a:pt x="11199600" y="3297044"/>
                </a:lnTo>
                <a:lnTo>
                  <a:pt x="11199600" y="3407235"/>
                </a:lnTo>
                <a:lnTo>
                  <a:pt x="11199600" y="3470134"/>
                </a:lnTo>
                <a:lnTo>
                  <a:pt x="11199600" y="3571284"/>
                </a:lnTo>
                <a:lnTo>
                  <a:pt x="11199600" y="3708888"/>
                </a:lnTo>
                <a:lnTo>
                  <a:pt x="11199600" y="3744374"/>
                </a:lnTo>
                <a:lnTo>
                  <a:pt x="11199600" y="3831345"/>
                </a:lnTo>
                <a:lnTo>
                  <a:pt x="11199600" y="3983128"/>
                </a:lnTo>
                <a:lnTo>
                  <a:pt x="11199600" y="4105585"/>
                </a:lnTo>
                <a:lnTo>
                  <a:pt x="11199600" y="4217458"/>
                </a:lnTo>
                <a:lnTo>
                  <a:pt x="11199600" y="4491698"/>
                </a:lnTo>
                <a:lnTo>
                  <a:pt x="11199600" y="4629302"/>
                </a:lnTo>
                <a:lnTo>
                  <a:pt x="11199600" y="4903542"/>
                </a:lnTo>
                <a:cubicBezTo>
                  <a:pt x="11199600" y="4999652"/>
                  <a:pt x="11103603" y="4999652"/>
                  <a:pt x="11103603" y="4999652"/>
                </a:cubicBezTo>
                <a:cubicBezTo>
                  <a:pt x="11103603" y="4999652"/>
                  <a:pt x="11103603" y="4999652"/>
                  <a:pt x="95997" y="4999652"/>
                </a:cubicBezTo>
                <a:cubicBezTo>
                  <a:pt x="0" y="4999652"/>
                  <a:pt x="0" y="4903542"/>
                  <a:pt x="0" y="4903542"/>
                </a:cubicBezTo>
                <a:lnTo>
                  <a:pt x="0" y="4899807"/>
                </a:lnTo>
                <a:lnTo>
                  <a:pt x="0" y="4890936"/>
                </a:lnTo>
                <a:lnTo>
                  <a:pt x="0" y="4873660"/>
                </a:lnTo>
                <a:lnTo>
                  <a:pt x="0" y="4845179"/>
                </a:lnTo>
                <a:lnTo>
                  <a:pt x="0" y="4802691"/>
                </a:lnTo>
                <a:lnTo>
                  <a:pt x="0" y="4743394"/>
                </a:lnTo>
                <a:lnTo>
                  <a:pt x="0" y="4664487"/>
                </a:lnTo>
                <a:lnTo>
                  <a:pt x="0" y="4629302"/>
                </a:lnTo>
                <a:lnTo>
                  <a:pt x="0" y="4628196"/>
                </a:lnTo>
                <a:lnTo>
                  <a:pt x="0" y="4620448"/>
                </a:lnTo>
                <a:lnTo>
                  <a:pt x="0" y="4599605"/>
                </a:lnTo>
                <a:lnTo>
                  <a:pt x="0" y="4599420"/>
                </a:lnTo>
                <a:lnTo>
                  <a:pt x="0" y="4558471"/>
                </a:lnTo>
                <a:lnTo>
                  <a:pt x="0" y="4528451"/>
                </a:lnTo>
                <a:lnTo>
                  <a:pt x="0" y="4523932"/>
                </a:lnTo>
                <a:lnTo>
                  <a:pt x="0" y="4490960"/>
                </a:lnTo>
                <a:lnTo>
                  <a:pt x="0" y="4445169"/>
                </a:lnTo>
                <a:lnTo>
                  <a:pt x="0" y="4436638"/>
                </a:lnTo>
                <a:lnTo>
                  <a:pt x="0" y="4390247"/>
                </a:lnTo>
                <a:lnTo>
                  <a:pt x="0" y="4336893"/>
                </a:lnTo>
                <a:lnTo>
                  <a:pt x="0" y="4325365"/>
                </a:lnTo>
                <a:lnTo>
                  <a:pt x="0" y="4249692"/>
                </a:lnTo>
                <a:lnTo>
                  <a:pt x="0" y="4223868"/>
                </a:lnTo>
                <a:lnTo>
                  <a:pt x="0" y="4162398"/>
                </a:lnTo>
                <a:lnTo>
                  <a:pt x="0" y="4096731"/>
                </a:lnTo>
                <a:lnTo>
                  <a:pt x="0" y="4062653"/>
                </a:lnTo>
                <a:lnTo>
                  <a:pt x="0" y="3983128"/>
                </a:lnTo>
                <a:lnTo>
                  <a:pt x="0" y="3979393"/>
                </a:lnTo>
                <a:lnTo>
                  <a:pt x="0" y="3970522"/>
                </a:lnTo>
                <a:lnTo>
                  <a:pt x="0" y="3954654"/>
                </a:lnTo>
                <a:lnTo>
                  <a:pt x="0" y="3953246"/>
                </a:lnTo>
                <a:lnTo>
                  <a:pt x="0" y="3949628"/>
                </a:lnTo>
                <a:lnTo>
                  <a:pt x="0" y="3924765"/>
                </a:lnTo>
                <a:lnTo>
                  <a:pt x="0" y="3882277"/>
                </a:lnTo>
                <a:lnTo>
                  <a:pt x="0" y="3822980"/>
                </a:lnTo>
                <a:lnTo>
                  <a:pt x="0" y="3822491"/>
                </a:lnTo>
                <a:lnTo>
                  <a:pt x="0" y="3796806"/>
                </a:lnTo>
                <a:lnTo>
                  <a:pt x="0" y="3744073"/>
                </a:lnTo>
                <a:lnTo>
                  <a:pt x="0" y="3708888"/>
                </a:lnTo>
                <a:lnTo>
                  <a:pt x="0" y="3707782"/>
                </a:lnTo>
                <a:lnTo>
                  <a:pt x="0" y="3700034"/>
                </a:lnTo>
                <a:lnTo>
                  <a:pt x="0" y="3680414"/>
                </a:lnTo>
                <a:lnTo>
                  <a:pt x="0" y="3679191"/>
                </a:lnTo>
                <a:lnTo>
                  <a:pt x="0" y="3679006"/>
                </a:lnTo>
                <a:lnTo>
                  <a:pt x="0" y="3638057"/>
                </a:lnTo>
                <a:lnTo>
                  <a:pt x="0" y="3622356"/>
                </a:lnTo>
                <a:lnTo>
                  <a:pt x="0" y="3608037"/>
                </a:lnTo>
                <a:lnTo>
                  <a:pt x="0" y="3603518"/>
                </a:lnTo>
                <a:lnTo>
                  <a:pt x="0" y="3570546"/>
                </a:lnTo>
                <a:lnTo>
                  <a:pt x="0" y="3524755"/>
                </a:lnTo>
                <a:lnTo>
                  <a:pt x="0" y="3522566"/>
                </a:lnTo>
                <a:lnTo>
                  <a:pt x="0" y="3516224"/>
                </a:lnTo>
                <a:lnTo>
                  <a:pt x="0" y="3469833"/>
                </a:lnTo>
                <a:lnTo>
                  <a:pt x="0" y="3430476"/>
                </a:lnTo>
                <a:lnTo>
                  <a:pt x="0" y="3416479"/>
                </a:lnTo>
                <a:lnTo>
                  <a:pt x="0" y="3404951"/>
                </a:lnTo>
                <a:lnTo>
                  <a:pt x="0" y="3348116"/>
                </a:lnTo>
                <a:lnTo>
                  <a:pt x="0" y="3329278"/>
                </a:lnTo>
                <a:lnTo>
                  <a:pt x="0" y="3303454"/>
                </a:lnTo>
                <a:lnTo>
                  <a:pt x="0" y="3241984"/>
                </a:lnTo>
                <a:lnTo>
                  <a:pt x="0" y="3220334"/>
                </a:lnTo>
                <a:lnTo>
                  <a:pt x="0" y="3176317"/>
                </a:lnTo>
                <a:lnTo>
                  <a:pt x="0" y="3156236"/>
                </a:lnTo>
                <a:lnTo>
                  <a:pt x="0" y="3142239"/>
                </a:lnTo>
                <a:lnTo>
                  <a:pt x="0" y="3034240"/>
                </a:lnTo>
                <a:lnTo>
                  <a:pt x="0" y="3029214"/>
                </a:lnTo>
                <a:lnTo>
                  <a:pt x="0" y="2991101"/>
                </a:lnTo>
                <a:lnTo>
                  <a:pt x="0" y="2946094"/>
                </a:lnTo>
                <a:lnTo>
                  <a:pt x="0" y="2902077"/>
                </a:lnTo>
                <a:lnTo>
                  <a:pt x="0" y="2876392"/>
                </a:lnTo>
                <a:lnTo>
                  <a:pt x="0" y="2790282"/>
                </a:lnTo>
                <a:lnTo>
                  <a:pt x="0" y="2787072"/>
                </a:lnTo>
                <a:lnTo>
                  <a:pt x="0" y="2760000"/>
                </a:lnTo>
                <a:lnTo>
                  <a:pt x="0" y="2741948"/>
                </a:lnTo>
                <a:lnTo>
                  <a:pt x="0" y="2741947"/>
                </a:lnTo>
                <a:lnTo>
                  <a:pt x="0" y="2716862"/>
                </a:lnTo>
                <a:lnTo>
                  <a:pt x="0" y="2716861"/>
                </a:lnTo>
                <a:lnTo>
                  <a:pt x="0" y="2701942"/>
                </a:lnTo>
                <a:lnTo>
                  <a:pt x="0" y="2602152"/>
                </a:lnTo>
                <a:lnTo>
                  <a:pt x="0" y="2512832"/>
                </a:lnTo>
                <a:lnTo>
                  <a:pt x="0" y="2510062"/>
                </a:lnTo>
                <a:lnTo>
                  <a:pt x="0" y="2472043"/>
                </a:lnTo>
                <a:lnTo>
                  <a:pt x="0" y="2472042"/>
                </a:lnTo>
                <a:lnTo>
                  <a:pt x="0" y="2467708"/>
                </a:lnTo>
                <a:lnTo>
                  <a:pt x="0" y="2467707"/>
                </a:lnTo>
                <a:lnTo>
                  <a:pt x="0" y="2449933"/>
                </a:lnTo>
                <a:lnTo>
                  <a:pt x="0" y="2427702"/>
                </a:lnTo>
                <a:lnTo>
                  <a:pt x="0" y="2299920"/>
                </a:lnTo>
                <a:lnTo>
                  <a:pt x="0" y="2235822"/>
                </a:lnTo>
                <a:lnTo>
                  <a:pt x="0" y="2197803"/>
                </a:lnTo>
                <a:lnTo>
                  <a:pt x="0" y="2197802"/>
                </a:lnTo>
                <a:lnTo>
                  <a:pt x="0" y="2180556"/>
                </a:lnTo>
                <a:lnTo>
                  <a:pt x="0" y="2180555"/>
                </a:lnTo>
                <a:lnTo>
                  <a:pt x="0" y="2175692"/>
                </a:lnTo>
                <a:lnTo>
                  <a:pt x="0" y="2088721"/>
                </a:lnTo>
                <a:lnTo>
                  <a:pt x="0" y="2070687"/>
                </a:lnTo>
                <a:lnTo>
                  <a:pt x="0" y="2025680"/>
                </a:lnTo>
                <a:lnTo>
                  <a:pt x="0" y="1906316"/>
                </a:lnTo>
                <a:lnTo>
                  <a:pt x="0" y="1906315"/>
                </a:lnTo>
                <a:lnTo>
                  <a:pt x="0" y="1866658"/>
                </a:lnTo>
                <a:lnTo>
                  <a:pt x="0" y="1866657"/>
                </a:lnTo>
                <a:lnTo>
                  <a:pt x="0" y="1821533"/>
                </a:lnTo>
                <a:lnTo>
                  <a:pt x="0" y="1814481"/>
                </a:lnTo>
                <a:lnTo>
                  <a:pt x="0" y="1796447"/>
                </a:lnTo>
                <a:lnTo>
                  <a:pt x="0" y="1702609"/>
                </a:lnTo>
                <a:lnTo>
                  <a:pt x="0" y="1592418"/>
                </a:lnTo>
                <a:lnTo>
                  <a:pt x="0" y="1592417"/>
                </a:lnTo>
                <a:lnTo>
                  <a:pt x="0" y="1551628"/>
                </a:lnTo>
                <a:lnTo>
                  <a:pt x="0" y="1547293"/>
                </a:lnTo>
                <a:lnTo>
                  <a:pt x="0" y="1529519"/>
                </a:lnTo>
                <a:lnTo>
                  <a:pt x="0" y="1529518"/>
                </a:lnTo>
                <a:lnTo>
                  <a:pt x="0" y="1428369"/>
                </a:lnTo>
                <a:lnTo>
                  <a:pt x="0" y="1290764"/>
                </a:lnTo>
                <a:lnTo>
                  <a:pt x="0" y="1277388"/>
                </a:lnTo>
                <a:lnTo>
                  <a:pt x="0" y="1260141"/>
                </a:lnTo>
                <a:lnTo>
                  <a:pt x="0" y="1255278"/>
                </a:lnTo>
                <a:lnTo>
                  <a:pt x="0" y="1255277"/>
                </a:lnTo>
                <a:lnTo>
                  <a:pt x="0" y="1208224"/>
                </a:lnTo>
                <a:lnTo>
                  <a:pt x="0" y="1168307"/>
                </a:lnTo>
                <a:lnTo>
                  <a:pt x="0" y="1016524"/>
                </a:lnTo>
                <a:lnTo>
                  <a:pt x="0" y="894067"/>
                </a:lnTo>
                <a:lnTo>
                  <a:pt x="0" y="782195"/>
                </a:lnTo>
                <a:lnTo>
                  <a:pt x="0" y="507955"/>
                </a:lnTo>
                <a:lnTo>
                  <a:pt x="0" y="370350"/>
                </a:lnTo>
                <a:lnTo>
                  <a:pt x="0" y="96110"/>
                </a:lnTo>
                <a:cubicBezTo>
                  <a:pt x="0" y="0"/>
                  <a:pt x="95997" y="0"/>
                  <a:pt x="95997" y="0"/>
                </a:cubicBezTo>
                <a:close/>
              </a:path>
            </a:pathLst>
          </a:custGeom>
          <a:solidFill>
            <a:schemeClr val="bg1">
              <a:lumMod val="95000"/>
              <a:alpha val="10000"/>
            </a:schemeClr>
          </a:solidFill>
        </p:spPr>
        <p:txBody>
          <a:bodyPr wrap="square" lIns="3240000" tIns="36000" rIns="36000" bIns="36000" anchor="ctr" anchorCtr="0">
            <a:noAutofit/>
          </a:bodyPr>
          <a:lstStyle>
            <a:lvl1pPr algn="ctr">
              <a:defRPr sz="1400" b="0"/>
            </a:lvl1pPr>
          </a:lstStyle>
          <a:p>
            <a:r>
              <a:rPr lang="nl-NL" smtClean="0"/>
              <a:t>Klik op het pictogram als u een afbeelding wilt toevoegen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88242921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="" xmlns:p15="http://schemas.microsoft.com/office/powerpoint/2012/main">
        <p15:guide id="1" pos="302">
          <p15:clr>
            <a:srgbClr val="FBAE40"/>
          </p15:clr>
        </p15:guide>
      </p15:sldGuideLst>
    </p:ext>
  </p:extLst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4"/>
          </p:nvPr>
        </p:nvSpPr>
        <p:spPr bwMode="gray">
          <a:xfrm>
            <a:off x="566241" y="280734"/>
            <a:ext cx="9099675" cy="5920067"/>
          </a:xfrm>
          <a:custGeom>
            <a:avLst/>
            <a:gdLst>
              <a:gd name="connsiteX0" fmla="*/ 95997 w 11199600"/>
              <a:gd name="connsiteY0" fmla="*/ 0 h 5920067"/>
              <a:gd name="connsiteX1" fmla="*/ 11103603 w 11199600"/>
              <a:gd name="connsiteY1" fmla="*/ 0 h 5920067"/>
              <a:gd name="connsiteX2" fmla="*/ 11199600 w 11199600"/>
              <a:gd name="connsiteY2" fmla="*/ 96110 h 5920067"/>
              <a:gd name="connsiteX3" fmla="*/ 11199600 w 11199600"/>
              <a:gd name="connsiteY3" fmla="*/ 335165 h 5920067"/>
              <a:gd name="connsiteX4" fmla="*/ 11199600 w 11199600"/>
              <a:gd name="connsiteY4" fmla="*/ 370350 h 5920067"/>
              <a:gd name="connsiteX5" fmla="*/ 11199600 w 11199600"/>
              <a:gd name="connsiteY5" fmla="*/ 379204 h 5920067"/>
              <a:gd name="connsiteX6" fmla="*/ 11199600 w 11199600"/>
              <a:gd name="connsiteY6" fmla="*/ 400048 h 5920067"/>
              <a:gd name="connsiteX7" fmla="*/ 11199600 w 11199600"/>
              <a:gd name="connsiteY7" fmla="*/ 400232 h 5920067"/>
              <a:gd name="connsiteX8" fmla="*/ 11199600 w 11199600"/>
              <a:gd name="connsiteY8" fmla="*/ 471202 h 5920067"/>
              <a:gd name="connsiteX9" fmla="*/ 11199600 w 11199600"/>
              <a:gd name="connsiteY9" fmla="*/ 475721 h 5920067"/>
              <a:gd name="connsiteX10" fmla="*/ 11199600 w 11199600"/>
              <a:gd name="connsiteY10" fmla="*/ 508692 h 5920067"/>
              <a:gd name="connsiteX11" fmla="*/ 11199600 w 11199600"/>
              <a:gd name="connsiteY11" fmla="*/ 554484 h 5920067"/>
              <a:gd name="connsiteX12" fmla="*/ 11199600 w 11199600"/>
              <a:gd name="connsiteY12" fmla="*/ 563015 h 5920067"/>
              <a:gd name="connsiteX13" fmla="*/ 11199600 w 11199600"/>
              <a:gd name="connsiteY13" fmla="*/ 609405 h 5920067"/>
              <a:gd name="connsiteX14" fmla="*/ 11199600 w 11199600"/>
              <a:gd name="connsiteY14" fmla="*/ 662759 h 5920067"/>
              <a:gd name="connsiteX15" fmla="*/ 11199600 w 11199600"/>
              <a:gd name="connsiteY15" fmla="*/ 674288 h 5920067"/>
              <a:gd name="connsiteX16" fmla="*/ 11199600 w 11199600"/>
              <a:gd name="connsiteY16" fmla="*/ 749961 h 5920067"/>
              <a:gd name="connsiteX17" fmla="*/ 11199600 w 11199600"/>
              <a:gd name="connsiteY17" fmla="*/ 775785 h 5920067"/>
              <a:gd name="connsiteX18" fmla="*/ 11199600 w 11199600"/>
              <a:gd name="connsiteY18" fmla="*/ 837255 h 5920067"/>
              <a:gd name="connsiteX19" fmla="*/ 11199600 w 11199600"/>
              <a:gd name="connsiteY19" fmla="*/ 902921 h 5920067"/>
              <a:gd name="connsiteX20" fmla="*/ 11199600 w 11199600"/>
              <a:gd name="connsiteY20" fmla="*/ 936999 h 5920067"/>
              <a:gd name="connsiteX21" fmla="*/ 11199600 w 11199600"/>
              <a:gd name="connsiteY21" fmla="*/ 1016524 h 5920067"/>
              <a:gd name="connsiteX22" fmla="*/ 11199600 w 11199600"/>
              <a:gd name="connsiteY22" fmla="*/ 1029131 h 5920067"/>
              <a:gd name="connsiteX23" fmla="*/ 11199600 w 11199600"/>
              <a:gd name="connsiteY23" fmla="*/ 1044999 h 5920067"/>
              <a:gd name="connsiteX24" fmla="*/ 11199600 w 11199600"/>
              <a:gd name="connsiteY24" fmla="*/ 1046406 h 5920067"/>
              <a:gd name="connsiteX25" fmla="*/ 11199600 w 11199600"/>
              <a:gd name="connsiteY25" fmla="*/ 1050025 h 5920067"/>
              <a:gd name="connsiteX26" fmla="*/ 11199600 w 11199600"/>
              <a:gd name="connsiteY26" fmla="*/ 1074887 h 5920067"/>
              <a:gd name="connsiteX27" fmla="*/ 11199600 w 11199600"/>
              <a:gd name="connsiteY27" fmla="*/ 1176672 h 5920067"/>
              <a:gd name="connsiteX28" fmla="*/ 11199600 w 11199600"/>
              <a:gd name="connsiteY28" fmla="*/ 1177161 h 5920067"/>
              <a:gd name="connsiteX29" fmla="*/ 11199600 w 11199600"/>
              <a:gd name="connsiteY29" fmla="*/ 1202847 h 5920067"/>
              <a:gd name="connsiteX30" fmla="*/ 11199600 w 11199600"/>
              <a:gd name="connsiteY30" fmla="*/ 1255579 h 5920067"/>
              <a:gd name="connsiteX31" fmla="*/ 11199600 w 11199600"/>
              <a:gd name="connsiteY31" fmla="*/ 1290764 h 5920067"/>
              <a:gd name="connsiteX32" fmla="*/ 11199600 w 11199600"/>
              <a:gd name="connsiteY32" fmla="*/ 1299618 h 5920067"/>
              <a:gd name="connsiteX33" fmla="*/ 11199600 w 11199600"/>
              <a:gd name="connsiteY33" fmla="*/ 1319239 h 5920067"/>
              <a:gd name="connsiteX34" fmla="*/ 11199600 w 11199600"/>
              <a:gd name="connsiteY34" fmla="*/ 1320462 h 5920067"/>
              <a:gd name="connsiteX35" fmla="*/ 11199600 w 11199600"/>
              <a:gd name="connsiteY35" fmla="*/ 1320646 h 5920067"/>
              <a:gd name="connsiteX36" fmla="*/ 11199600 w 11199600"/>
              <a:gd name="connsiteY36" fmla="*/ 1349128 h 5920067"/>
              <a:gd name="connsiteX37" fmla="*/ 11199600 w 11199600"/>
              <a:gd name="connsiteY37" fmla="*/ 1377296 h 5920067"/>
              <a:gd name="connsiteX38" fmla="*/ 11199600 w 11199600"/>
              <a:gd name="connsiteY38" fmla="*/ 1391616 h 5920067"/>
              <a:gd name="connsiteX39" fmla="*/ 11199600 w 11199600"/>
              <a:gd name="connsiteY39" fmla="*/ 1396135 h 5920067"/>
              <a:gd name="connsiteX40" fmla="*/ 11199600 w 11199600"/>
              <a:gd name="connsiteY40" fmla="*/ 1429106 h 5920067"/>
              <a:gd name="connsiteX41" fmla="*/ 11199600 w 11199600"/>
              <a:gd name="connsiteY41" fmla="*/ 1474898 h 5920067"/>
              <a:gd name="connsiteX42" fmla="*/ 11199600 w 11199600"/>
              <a:gd name="connsiteY42" fmla="*/ 1477087 h 5920067"/>
              <a:gd name="connsiteX43" fmla="*/ 11199600 w 11199600"/>
              <a:gd name="connsiteY43" fmla="*/ 1483429 h 5920067"/>
              <a:gd name="connsiteX44" fmla="*/ 11199600 w 11199600"/>
              <a:gd name="connsiteY44" fmla="*/ 1529819 h 5920067"/>
              <a:gd name="connsiteX45" fmla="*/ 11199600 w 11199600"/>
              <a:gd name="connsiteY45" fmla="*/ 1569177 h 5920067"/>
              <a:gd name="connsiteX46" fmla="*/ 11199600 w 11199600"/>
              <a:gd name="connsiteY46" fmla="*/ 1583173 h 5920067"/>
              <a:gd name="connsiteX47" fmla="*/ 11199600 w 11199600"/>
              <a:gd name="connsiteY47" fmla="*/ 1594702 h 5920067"/>
              <a:gd name="connsiteX48" fmla="*/ 11199600 w 11199600"/>
              <a:gd name="connsiteY48" fmla="*/ 1651536 h 5920067"/>
              <a:gd name="connsiteX49" fmla="*/ 11199600 w 11199600"/>
              <a:gd name="connsiteY49" fmla="*/ 1670375 h 5920067"/>
              <a:gd name="connsiteX50" fmla="*/ 11199600 w 11199600"/>
              <a:gd name="connsiteY50" fmla="*/ 1696199 h 5920067"/>
              <a:gd name="connsiteX51" fmla="*/ 11199600 w 11199600"/>
              <a:gd name="connsiteY51" fmla="*/ 1757669 h 5920067"/>
              <a:gd name="connsiteX52" fmla="*/ 11199600 w 11199600"/>
              <a:gd name="connsiteY52" fmla="*/ 1779318 h 5920067"/>
              <a:gd name="connsiteX53" fmla="*/ 11199600 w 11199600"/>
              <a:gd name="connsiteY53" fmla="*/ 1823335 h 5920067"/>
              <a:gd name="connsiteX54" fmla="*/ 11199600 w 11199600"/>
              <a:gd name="connsiteY54" fmla="*/ 1843417 h 5920067"/>
              <a:gd name="connsiteX55" fmla="*/ 11199600 w 11199600"/>
              <a:gd name="connsiteY55" fmla="*/ 1857413 h 5920067"/>
              <a:gd name="connsiteX56" fmla="*/ 11199600 w 11199600"/>
              <a:gd name="connsiteY56" fmla="*/ 1965413 h 5920067"/>
              <a:gd name="connsiteX57" fmla="*/ 11199600 w 11199600"/>
              <a:gd name="connsiteY57" fmla="*/ 1970439 h 5920067"/>
              <a:gd name="connsiteX58" fmla="*/ 11199600 w 11199600"/>
              <a:gd name="connsiteY58" fmla="*/ 2008551 h 5920067"/>
              <a:gd name="connsiteX59" fmla="*/ 11199600 w 11199600"/>
              <a:gd name="connsiteY59" fmla="*/ 2053558 h 5920067"/>
              <a:gd name="connsiteX60" fmla="*/ 11199600 w 11199600"/>
              <a:gd name="connsiteY60" fmla="*/ 2097575 h 5920067"/>
              <a:gd name="connsiteX61" fmla="*/ 11199600 w 11199600"/>
              <a:gd name="connsiteY61" fmla="*/ 2123261 h 5920067"/>
              <a:gd name="connsiteX62" fmla="*/ 11199600 w 11199600"/>
              <a:gd name="connsiteY62" fmla="*/ 2239653 h 5920067"/>
              <a:gd name="connsiteX63" fmla="*/ 11199600 w 11199600"/>
              <a:gd name="connsiteY63" fmla="*/ 2257705 h 5920067"/>
              <a:gd name="connsiteX64" fmla="*/ 11199600 w 11199600"/>
              <a:gd name="connsiteY64" fmla="*/ 2282791 h 5920067"/>
              <a:gd name="connsiteX65" fmla="*/ 11199600 w 11199600"/>
              <a:gd name="connsiteY65" fmla="*/ 2297710 h 5920067"/>
              <a:gd name="connsiteX66" fmla="*/ 11199600 w 11199600"/>
              <a:gd name="connsiteY66" fmla="*/ 2397501 h 5920067"/>
              <a:gd name="connsiteX67" fmla="*/ 11199600 w 11199600"/>
              <a:gd name="connsiteY67" fmla="*/ 2489591 h 5920067"/>
              <a:gd name="connsiteX68" fmla="*/ 11199600 w 11199600"/>
              <a:gd name="connsiteY68" fmla="*/ 2527610 h 5920067"/>
              <a:gd name="connsiteX69" fmla="*/ 11199600 w 11199600"/>
              <a:gd name="connsiteY69" fmla="*/ 2531945 h 5920067"/>
              <a:gd name="connsiteX70" fmla="*/ 11199600 w 11199600"/>
              <a:gd name="connsiteY70" fmla="*/ 2571950 h 5920067"/>
              <a:gd name="connsiteX71" fmla="*/ 11199600 w 11199600"/>
              <a:gd name="connsiteY71" fmla="*/ 2699732 h 5920067"/>
              <a:gd name="connsiteX72" fmla="*/ 11199600 w 11199600"/>
              <a:gd name="connsiteY72" fmla="*/ 2763831 h 5920067"/>
              <a:gd name="connsiteX73" fmla="*/ 11199600 w 11199600"/>
              <a:gd name="connsiteY73" fmla="*/ 2801851 h 5920067"/>
              <a:gd name="connsiteX74" fmla="*/ 11199600 w 11199600"/>
              <a:gd name="connsiteY74" fmla="*/ 2819097 h 5920067"/>
              <a:gd name="connsiteX75" fmla="*/ 11199600 w 11199600"/>
              <a:gd name="connsiteY75" fmla="*/ 2928965 h 5920067"/>
              <a:gd name="connsiteX76" fmla="*/ 11199600 w 11199600"/>
              <a:gd name="connsiteY76" fmla="*/ 2973972 h 5920067"/>
              <a:gd name="connsiteX77" fmla="*/ 11199600 w 11199600"/>
              <a:gd name="connsiteY77" fmla="*/ 3093337 h 5920067"/>
              <a:gd name="connsiteX78" fmla="*/ 11199600 w 11199600"/>
              <a:gd name="connsiteY78" fmla="*/ 3132995 h 5920067"/>
              <a:gd name="connsiteX79" fmla="*/ 11199600 w 11199600"/>
              <a:gd name="connsiteY79" fmla="*/ 3178119 h 5920067"/>
              <a:gd name="connsiteX80" fmla="*/ 11199600 w 11199600"/>
              <a:gd name="connsiteY80" fmla="*/ 3203205 h 5920067"/>
              <a:gd name="connsiteX81" fmla="*/ 11199600 w 11199600"/>
              <a:gd name="connsiteY81" fmla="*/ 3407236 h 5920067"/>
              <a:gd name="connsiteX82" fmla="*/ 11199600 w 11199600"/>
              <a:gd name="connsiteY82" fmla="*/ 3448024 h 5920067"/>
              <a:gd name="connsiteX83" fmla="*/ 11199600 w 11199600"/>
              <a:gd name="connsiteY83" fmla="*/ 3452359 h 5920067"/>
              <a:gd name="connsiteX84" fmla="*/ 11199600 w 11199600"/>
              <a:gd name="connsiteY84" fmla="*/ 3470135 h 5920067"/>
              <a:gd name="connsiteX85" fmla="*/ 11199600 w 11199600"/>
              <a:gd name="connsiteY85" fmla="*/ 3722265 h 5920067"/>
              <a:gd name="connsiteX86" fmla="*/ 11199600 w 11199600"/>
              <a:gd name="connsiteY86" fmla="*/ 3739511 h 5920067"/>
              <a:gd name="connsiteX87" fmla="*/ 11199600 w 11199600"/>
              <a:gd name="connsiteY87" fmla="*/ 3744375 h 5920067"/>
              <a:gd name="connsiteX88" fmla="*/ 11199600 w 11199600"/>
              <a:gd name="connsiteY88" fmla="*/ 3831346 h 5920067"/>
              <a:gd name="connsiteX89" fmla="*/ 11199600 w 11199600"/>
              <a:gd name="connsiteY89" fmla="*/ 4013751 h 5920067"/>
              <a:gd name="connsiteX90" fmla="*/ 11199600 w 11199600"/>
              <a:gd name="connsiteY90" fmla="*/ 4053409 h 5920067"/>
              <a:gd name="connsiteX91" fmla="*/ 11199600 w 11199600"/>
              <a:gd name="connsiteY91" fmla="*/ 4105586 h 5920067"/>
              <a:gd name="connsiteX92" fmla="*/ 11199600 w 11199600"/>
              <a:gd name="connsiteY92" fmla="*/ 4217459 h 5920067"/>
              <a:gd name="connsiteX93" fmla="*/ 11199600 w 11199600"/>
              <a:gd name="connsiteY93" fmla="*/ 4327650 h 5920067"/>
              <a:gd name="connsiteX94" fmla="*/ 11199600 w 11199600"/>
              <a:gd name="connsiteY94" fmla="*/ 4390549 h 5920067"/>
              <a:gd name="connsiteX95" fmla="*/ 11199600 w 11199600"/>
              <a:gd name="connsiteY95" fmla="*/ 4491699 h 5920067"/>
              <a:gd name="connsiteX96" fmla="*/ 11199600 w 11199600"/>
              <a:gd name="connsiteY96" fmla="*/ 4629303 h 5920067"/>
              <a:gd name="connsiteX97" fmla="*/ 11199600 w 11199600"/>
              <a:gd name="connsiteY97" fmla="*/ 4664789 h 5920067"/>
              <a:gd name="connsiteX98" fmla="*/ 11199600 w 11199600"/>
              <a:gd name="connsiteY98" fmla="*/ 4751760 h 5920067"/>
              <a:gd name="connsiteX99" fmla="*/ 11199600 w 11199600"/>
              <a:gd name="connsiteY99" fmla="*/ 4903543 h 5920067"/>
              <a:gd name="connsiteX100" fmla="*/ 11199600 w 11199600"/>
              <a:gd name="connsiteY100" fmla="*/ 5026000 h 5920067"/>
              <a:gd name="connsiteX101" fmla="*/ 11199600 w 11199600"/>
              <a:gd name="connsiteY101" fmla="*/ 5137873 h 5920067"/>
              <a:gd name="connsiteX102" fmla="*/ 11199600 w 11199600"/>
              <a:gd name="connsiteY102" fmla="*/ 5412113 h 5920067"/>
              <a:gd name="connsiteX103" fmla="*/ 11199600 w 11199600"/>
              <a:gd name="connsiteY103" fmla="*/ 5549717 h 5920067"/>
              <a:gd name="connsiteX104" fmla="*/ 11199600 w 11199600"/>
              <a:gd name="connsiteY104" fmla="*/ 5823957 h 5920067"/>
              <a:gd name="connsiteX105" fmla="*/ 11103603 w 11199600"/>
              <a:gd name="connsiteY105" fmla="*/ 5920067 h 5920067"/>
              <a:gd name="connsiteX106" fmla="*/ 95997 w 11199600"/>
              <a:gd name="connsiteY106" fmla="*/ 5920067 h 5920067"/>
              <a:gd name="connsiteX107" fmla="*/ 0 w 11199600"/>
              <a:gd name="connsiteY107" fmla="*/ 5823957 h 5920067"/>
              <a:gd name="connsiteX108" fmla="*/ 0 w 11199600"/>
              <a:gd name="connsiteY108" fmla="*/ 5820222 h 5920067"/>
              <a:gd name="connsiteX109" fmla="*/ 0 w 11199600"/>
              <a:gd name="connsiteY109" fmla="*/ 5811351 h 5920067"/>
              <a:gd name="connsiteX110" fmla="*/ 0 w 11199600"/>
              <a:gd name="connsiteY110" fmla="*/ 5794075 h 5920067"/>
              <a:gd name="connsiteX111" fmla="*/ 0 w 11199600"/>
              <a:gd name="connsiteY111" fmla="*/ 5765594 h 5920067"/>
              <a:gd name="connsiteX112" fmla="*/ 0 w 11199600"/>
              <a:gd name="connsiteY112" fmla="*/ 5723106 h 5920067"/>
              <a:gd name="connsiteX113" fmla="*/ 0 w 11199600"/>
              <a:gd name="connsiteY113" fmla="*/ 5663809 h 5920067"/>
              <a:gd name="connsiteX114" fmla="*/ 0 w 11199600"/>
              <a:gd name="connsiteY114" fmla="*/ 5584902 h 5920067"/>
              <a:gd name="connsiteX115" fmla="*/ 0 w 11199600"/>
              <a:gd name="connsiteY115" fmla="*/ 5549717 h 5920067"/>
              <a:gd name="connsiteX116" fmla="*/ 0 w 11199600"/>
              <a:gd name="connsiteY116" fmla="*/ 5548611 h 5920067"/>
              <a:gd name="connsiteX117" fmla="*/ 0 w 11199600"/>
              <a:gd name="connsiteY117" fmla="*/ 5540863 h 5920067"/>
              <a:gd name="connsiteX118" fmla="*/ 0 w 11199600"/>
              <a:gd name="connsiteY118" fmla="*/ 5520020 h 5920067"/>
              <a:gd name="connsiteX119" fmla="*/ 0 w 11199600"/>
              <a:gd name="connsiteY119" fmla="*/ 5519835 h 5920067"/>
              <a:gd name="connsiteX120" fmla="*/ 0 w 11199600"/>
              <a:gd name="connsiteY120" fmla="*/ 5478886 h 5920067"/>
              <a:gd name="connsiteX121" fmla="*/ 0 w 11199600"/>
              <a:gd name="connsiteY121" fmla="*/ 5448866 h 5920067"/>
              <a:gd name="connsiteX122" fmla="*/ 0 w 11199600"/>
              <a:gd name="connsiteY122" fmla="*/ 5444347 h 5920067"/>
              <a:gd name="connsiteX123" fmla="*/ 0 w 11199600"/>
              <a:gd name="connsiteY123" fmla="*/ 5411375 h 5920067"/>
              <a:gd name="connsiteX124" fmla="*/ 0 w 11199600"/>
              <a:gd name="connsiteY124" fmla="*/ 5365584 h 5920067"/>
              <a:gd name="connsiteX125" fmla="*/ 0 w 11199600"/>
              <a:gd name="connsiteY125" fmla="*/ 5357053 h 5920067"/>
              <a:gd name="connsiteX126" fmla="*/ 0 w 11199600"/>
              <a:gd name="connsiteY126" fmla="*/ 5310662 h 5920067"/>
              <a:gd name="connsiteX127" fmla="*/ 0 w 11199600"/>
              <a:gd name="connsiteY127" fmla="*/ 5257308 h 5920067"/>
              <a:gd name="connsiteX128" fmla="*/ 0 w 11199600"/>
              <a:gd name="connsiteY128" fmla="*/ 5245780 h 5920067"/>
              <a:gd name="connsiteX129" fmla="*/ 0 w 11199600"/>
              <a:gd name="connsiteY129" fmla="*/ 5170107 h 5920067"/>
              <a:gd name="connsiteX130" fmla="*/ 0 w 11199600"/>
              <a:gd name="connsiteY130" fmla="*/ 5144283 h 5920067"/>
              <a:gd name="connsiteX131" fmla="*/ 0 w 11199600"/>
              <a:gd name="connsiteY131" fmla="*/ 5082813 h 5920067"/>
              <a:gd name="connsiteX132" fmla="*/ 0 w 11199600"/>
              <a:gd name="connsiteY132" fmla="*/ 5017146 h 5920067"/>
              <a:gd name="connsiteX133" fmla="*/ 0 w 11199600"/>
              <a:gd name="connsiteY133" fmla="*/ 4983068 h 5920067"/>
              <a:gd name="connsiteX134" fmla="*/ 0 w 11199600"/>
              <a:gd name="connsiteY134" fmla="*/ 4903543 h 5920067"/>
              <a:gd name="connsiteX135" fmla="*/ 0 w 11199600"/>
              <a:gd name="connsiteY135" fmla="*/ 4899808 h 5920067"/>
              <a:gd name="connsiteX136" fmla="*/ 0 w 11199600"/>
              <a:gd name="connsiteY136" fmla="*/ 4890937 h 5920067"/>
              <a:gd name="connsiteX137" fmla="*/ 0 w 11199600"/>
              <a:gd name="connsiteY137" fmla="*/ 4875069 h 5920067"/>
              <a:gd name="connsiteX138" fmla="*/ 0 w 11199600"/>
              <a:gd name="connsiteY138" fmla="*/ 4873661 h 5920067"/>
              <a:gd name="connsiteX139" fmla="*/ 0 w 11199600"/>
              <a:gd name="connsiteY139" fmla="*/ 4870043 h 5920067"/>
              <a:gd name="connsiteX140" fmla="*/ 0 w 11199600"/>
              <a:gd name="connsiteY140" fmla="*/ 4845180 h 5920067"/>
              <a:gd name="connsiteX141" fmla="*/ 0 w 11199600"/>
              <a:gd name="connsiteY141" fmla="*/ 4802692 h 5920067"/>
              <a:gd name="connsiteX142" fmla="*/ 0 w 11199600"/>
              <a:gd name="connsiteY142" fmla="*/ 4743395 h 5920067"/>
              <a:gd name="connsiteX143" fmla="*/ 0 w 11199600"/>
              <a:gd name="connsiteY143" fmla="*/ 4742906 h 5920067"/>
              <a:gd name="connsiteX144" fmla="*/ 0 w 11199600"/>
              <a:gd name="connsiteY144" fmla="*/ 4717221 h 5920067"/>
              <a:gd name="connsiteX145" fmla="*/ 0 w 11199600"/>
              <a:gd name="connsiteY145" fmla="*/ 4664488 h 5920067"/>
              <a:gd name="connsiteX146" fmla="*/ 0 w 11199600"/>
              <a:gd name="connsiteY146" fmla="*/ 4629303 h 5920067"/>
              <a:gd name="connsiteX147" fmla="*/ 0 w 11199600"/>
              <a:gd name="connsiteY147" fmla="*/ 4628197 h 5920067"/>
              <a:gd name="connsiteX148" fmla="*/ 0 w 11199600"/>
              <a:gd name="connsiteY148" fmla="*/ 4620449 h 5920067"/>
              <a:gd name="connsiteX149" fmla="*/ 0 w 11199600"/>
              <a:gd name="connsiteY149" fmla="*/ 4600829 h 5920067"/>
              <a:gd name="connsiteX150" fmla="*/ 0 w 11199600"/>
              <a:gd name="connsiteY150" fmla="*/ 4599606 h 5920067"/>
              <a:gd name="connsiteX151" fmla="*/ 0 w 11199600"/>
              <a:gd name="connsiteY151" fmla="*/ 4599421 h 5920067"/>
              <a:gd name="connsiteX152" fmla="*/ 0 w 11199600"/>
              <a:gd name="connsiteY152" fmla="*/ 4558472 h 5920067"/>
              <a:gd name="connsiteX153" fmla="*/ 0 w 11199600"/>
              <a:gd name="connsiteY153" fmla="*/ 4542771 h 5920067"/>
              <a:gd name="connsiteX154" fmla="*/ 0 w 11199600"/>
              <a:gd name="connsiteY154" fmla="*/ 4528452 h 5920067"/>
              <a:gd name="connsiteX155" fmla="*/ 0 w 11199600"/>
              <a:gd name="connsiteY155" fmla="*/ 4523933 h 5920067"/>
              <a:gd name="connsiteX156" fmla="*/ 0 w 11199600"/>
              <a:gd name="connsiteY156" fmla="*/ 4490961 h 5920067"/>
              <a:gd name="connsiteX157" fmla="*/ 0 w 11199600"/>
              <a:gd name="connsiteY157" fmla="*/ 4445170 h 5920067"/>
              <a:gd name="connsiteX158" fmla="*/ 0 w 11199600"/>
              <a:gd name="connsiteY158" fmla="*/ 4442981 h 5920067"/>
              <a:gd name="connsiteX159" fmla="*/ 0 w 11199600"/>
              <a:gd name="connsiteY159" fmla="*/ 4436639 h 5920067"/>
              <a:gd name="connsiteX160" fmla="*/ 0 w 11199600"/>
              <a:gd name="connsiteY160" fmla="*/ 4390248 h 5920067"/>
              <a:gd name="connsiteX161" fmla="*/ 0 w 11199600"/>
              <a:gd name="connsiteY161" fmla="*/ 4350891 h 5920067"/>
              <a:gd name="connsiteX162" fmla="*/ 0 w 11199600"/>
              <a:gd name="connsiteY162" fmla="*/ 4336894 h 5920067"/>
              <a:gd name="connsiteX163" fmla="*/ 0 w 11199600"/>
              <a:gd name="connsiteY163" fmla="*/ 4325366 h 5920067"/>
              <a:gd name="connsiteX164" fmla="*/ 0 w 11199600"/>
              <a:gd name="connsiteY164" fmla="*/ 4268531 h 5920067"/>
              <a:gd name="connsiteX165" fmla="*/ 0 w 11199600"/>
              <a:gd name="connsiteY165" fmla="*/ 4249693 h 5920067"/>
              <a:gd name="connsiteX166" fmla="*/ 0 w 11199600"/>
              <a:gd name="connsiteY166" fmla="*/ 4223869 h 5920067"/>
              <a:gd name="connsiteX167" fmla="*/ 0 w 11199600"/>
              <a:gd name="connsiteY167" fmla="*/ 4162399 h 5920067"/>
              <a:gd name="connsiteX168" fmla="*/ 0 w 11199600"/>
              <a:gd name="connsiteY168" fmla="*/ 4140749 h 5920067"/>
              <a:gd name="connsiteX169" fmla="*/ 0 w 11199600"/>
              <a:gd name="connsiteY169" fmla="*/ 4096732 h 5920067"/>
              <a:gd name="connsiteX170" fmla="*/ 0 w 11199600"/>
              <a:gd name="connsiteY170" fmla="*/ 4076651 h 5920067"/>
              <a:gd name="connsiteX171" fmla="*/ 0 w 11199600"/>
              <a:gd name="connsiteY171" fmla="*/ 4062654 h 5920067"/>
              <a:gd name="connsiteX172" fmla="*/ 0 w 11199600"/>
              <a:gd name="connsiteY172" fmla="*/ 3954655 h 5920067"/>
              <a:gd name="connsiteX173" fmla="*/ 0 w 11199600"/>
              <a:gd name="connsiteY173" fmla="*/ 3949629 h 5920067"/>
              <a:gd name="connsiteX174" fmla="*/ 0 w 11199600"/>
              <a:gd name="connsiteY174" fmla="*/ 3911516 h 5920067"/>
              <a:gd name="connsiteX175" fmla="*/ 0 w 11199600"/>
              <a:gd name="connsiteY175" fmla="*/ 3866509 h 5920067"/>
              <a:gd name="connsiteX176" fmla="*/ 0 w 11199600"/>
              <a:gd name="connsiteY176" fmla="*/ 3822492 h 5920067"/>
              <a:gd name="connsiteX177" fmla="*/ 0 w 11199600"/>
              <a:gd name="connsiteY177" fmla="*/ 3796807 h 5920067"/>
              <a:gd name="connsiteX178" fmla="*/ 0 w 11199600"/>
              <a:gd name="connsiteY178" fmla="*/ 3680415 h 5920067"/>
              <a:gd name="connsiteX179" fmla="*/ 0 w 11199600"/>
              <a:gd name="connsiteY179" fmla="*/ 3662362 h 5920067"/>
              <a:gd name="connsiteX180" fmla="*/ 0 w 11199600"/>
              <a:gd name="connsiteY180" fmla="*/ 3637276 h 5920067"/>
              <a:gd name="connsiteX181" fmla="*/ 0 w 11199600"/>
              <a:gd name="connsiteY181" fmla="*/ 3622357 h 5920067"/>
              <a:gd name="connsiteX182" fmla="*/ 0 w 11199600"/>
              <a:gd name="connsiteY182" fmla="*/ 3522567 h 5920067"/>
              <a:gd name="connsiteX183" fmla="*/ 0 w 11199600"/>
              <a:gd name="connsiteY183" fmla="*/ 3430477 h 5920067"/>
              <a:gd name="connsiteX184" fmla="*/ 0 w 11199600"/>
              <a:gd name="connsiteY184" fmla="*/ 3392457 h 5920067"/>
              <a:gd name="connsiteX185" fmla="*/ 0 w 11199600"/>
              <a:gd name="connsiteY185" fmla="*/ 3388122 h 5920067"/>
              <a:gd name="connsiteX186" fmla="*/ 0 w 11199600"/>
              <a:gd name="connsiteY186" fmla="*/ 3348117 h 5920067"/>
              <a:gd name="connsiteX187" fmla="*/ 0 w 11199600"/>
              <a:gd name="connsiteY187" fmla="*/ 3220335 h 5920067"/>
              <a:gd name="connsiteX188" fmla="*/ 0 w 11199600"/>
              <a:gd name="connsiteY188" fmla="*/ 3156237 h 5920067"/>
              <a:gd name="connsiteX189" fmla="*/ 0 w 11199600"/>
              <a:gd name="connsiteY189" fmla="*/ 3118217 h 5920067"/>
              <a:gd name="connsiteX190" fmla="*/ 0 w 11199600"/>
              <a:gd name="connsiteY190" fmla="*/ 3100970 h 5920067"/>
              <a:gd name="connsiteX191" fmla="*/ 0 w 11199600"/>
              <a:gd name="connsiteY191" fmla="*/ 2991102 h 5920067"/>
              <a:gd name="connsiteX192" fmla="*/ 0 w 11199600"/>
              <a:gd name="connsiteY192" fmla="*/ 2946095 h 5920067"/>
              <a:gd name="connsiteX193" fmla="*/ 0 w 11199600"/>
              <a:gd name="connsiteY193" fmla="*/ 2826730 h 5920067"/>
              <a:gd name="connsiteX194" fmla="*/ 0 w 11199600"/>
              <a:gd name="connsiteY194" fmla="*/ 2787072 h 5920067"/>
              <a:gd name="connsiteX195" fmla="*/ 0 w 11199600"/>
              <a:gd name="connsiteY195" fmla="*/ 2741948 h 5920067"/>
              <a:gd name="connsiteX196" fmla="*/ 0 w 11199600"/>
              <a:gd name="connsiteY196" fmla="*/ 2716862 h 5920067"/>
              <a:gd name="connsiteX197" fmla="*/ 0 w 11199600"/>
              <a:gd name="connsiteY197" fmla="*/ 2512832 h 5920067"/>
              <a:gd name="connsiteX198" fmla="*/ 0 w 11199600"/>
              <a:gd name="connsiteY198" fmla="*/ 2472043 h 5920067"/>
              <a:gd name="connsiteX199" fmla="*/ 0 w 11199600"/>
              <a:gd name="connsiteY199" fmla="*/ 2467708 h 5920067"/>
              <a:gd name="connsiteX200" fmla="*/ 0 w 11199600"/>
              <a:gd name="connsiteY200" fmla="*/ 2449933 h 5920067"/>
              <a:gd name="connsiteX201" fmla="*/ 0 w 11199600"/>
              <a:gd name="connsiteY201" fmla="*/ 2197803 h 5920067"/>
              <a:gd name="connsiteX202" fmla="*/ 0 w 11199600"/>
              <a:gd name="connsiteY202" fmla="*/ 2180556 h 5920067"/>
              <a:gd name="connsiteX203" fmla="*/ 0 w 11199600"/>
              <a:gd name="connsiteY203" fmla="*/ 2175692 h 5920067"/>
              <a:gd name="connsiteX204" fmla="*/ 0 w 11199600"/>
              <a:gd name="connsiteY204" fmla="*/ 2088721 h 5920067"/>
              <a:gd name="connsiteX205" fmla="*/ 0 w 11199600"/>
              <a:gd name="connsiteY205" fmla="*/ 1906316 h 5920067"/>
              <a:gd name="connsiteX206" fmla="*/ 0 w 11199600"/>
              <a:gd name="connsiteY206" fmla="*/ 1866658 h 5920067"/>
              <a:gd name="connsiteX207" fmla="*/ 0 w 11199600"/>
              <a:gd name="connsiteY207" fmla="*/ 1814481 h 5920067"/>
              <a:gd name="connsiteX208" fmla="*/ 0 w 11199600"/>
              <a:gd name="connsiteY208" fmla="*/ 1702609 h 5920067"/>
              <a:gd name="connsiteX209" fmla="*/ 0 w 11199600"/>
              <a:gd name="connsiteY209" fmla="*/ 1592418 h 5920067"/>
              <a:gd name="connsiteX210" fmla="*/ 0 w 11199600"/>
              <a:gd name="connsiteY210" fmla="*/ 1529519 h 5920067"/>
              <a:gd name="connsiteX211" fmla="*/ 0 w 11199600"/>
              <a:gd name="connsiteY211" fmla="*/ 1428369 h 5920067"/>
              <a:gd name="connsiteX212" fmla="*/ 0 w 11199600"/>
              <a:gd name="connsiteY212" fmla="*/ 1290764 h 5920067"/>
              <a:gd name="connsiteX213" fmla="*/ 0 w 11199600"/>
              <a:gd name="connsiteY213" fmla="*/ 1255278 h 5920067"/>
              <a:gd name="connsiteX214" fmla="*/ 0 w 11199600"/>
              <a:gd name="connsiteY214" fmla="*/ 1168307 h 5920067"/>
              <a:gd name="connsiteX215" fmla="*/ 0 w 11199600"/>
              <a:gd name="connsiteY215" fmla="*/ 1016524 h 5920067"/>
              <a:gd name="connsiteX216" fmla="*/ 0 w 11199600"/>
              <a:gd name="connsiteY216" fmla="*/ 894067 h 5920067"/>
              <a:gd name="connsiteX217" fmla="*/ 0 w 11199600"/>
              <a:gd name="connsiteY217" fmla="*/ 782195 h 5920067"/>
              <a:gd name="connsiteX218" fmla="*/ 0 w 11199600"/>
              <a:gd name="connsiteY218" fmla="*/ 507955 h 5920067"/>
              <a:gd name="connsiteX219" fmla="*/ 0 w 11199600"/>
              <a:gd name="connsiteY219" fmla="*/ 370350 h 5920067"/>
              <a:gd name="connsiteX220" fmla="*/ 0 w 11199600"/>
              <a:gd name="connsiteY220" fmla="*/ 96110 h 5920067"/>
              <a:gd name="connsiteX221" fmla="*/ 95997 w 11199600"/>
              <a:gd name="connsiteY221" fmla="*/ 0 h 59200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</a:cxnLst>
            <a:rect l="l" t="t" r="r" b="b"/>
            <a:pathLst>
              <a:path w="11199600" h="5920067">
                <a:moveTo>
                  <a:pt x="95997" y="0"/>
                </a:moveTo>
                <a:lnTo>
                  <a:pt x="11103603" y="0"/>
                </a:lnTo>
                <a:cubicBezTo>
                  <a:pt x="11199600" y="0"/>
                  <a:pt x="11199600" y="96110"/>
                  <a:pt x="11199600" y="96110"/>
                </a:cubicBezTo>
                <a:cubicBezTo>
                  <a:pt x="11199600" y="96110"/>
                  <a:pt x="11199600" y="96110"/>
                  <a:pt x="11199600" y="335165"/>
                </a:cubicBezTo>
                <a:lnTo>
                  <a:pt x="11199600" y="370350"/>
                </a:lnTo>
                <a:cubicBezTo>
                  <a:pt x="11199600" y="370350"/>
                  <a:pt x="11199600" y="370350"/>
                  <a:pt x="11199600" y="379204"/>
                </a:cubicBezTo>
                <a:lnTo>
                  <a:pt x="11199600" y="400048"/>
                </a:lnTo>
                <a:lnTo>
                  <a:pt x="11199600" y="400232"/>
                </a:lnTo>
                <a:cubicBezTo>
                  <a:pt x="11199600" y="415173"/>
                  <a:pt x="11199600" y="437585"/>
                  <a:pt x="11199600" y="471202"/>
                </a:cubicBezTo>
                <a:lnTo>
                  <a:pt x="11199600" y="475721"/>
                </a:lnTo>
                <a:lnTo>
                  <a:pt x="11199600" y="508692"/>
                </a:lnTo>
                <a:cubicBezTo>
                  <a:pt x="11199600" y="522527"/>
                  <a:pt x="11199600" y="537744"/>
                  <a:pt x="11199600" y="554484"/>
                </a:cubicBezTo>
                <a:lnTo>
                  <a:pt x="11199600" y="563015"/>
                </a:lnTo>
                <a:lnTo>
                  <a:pt x="11199600" y="609405"/>
                </a:lnTo>
                <a:lnTo>
                  <a:pt x="11199600" y="662759"/>
                </a:lnTo>
                <a:lnTo>
                  <a:pt x="11199600" y="674288"/>
                </a:lnTo>
                <a:cubicBezTo>
                  <a:pt x="11199600" y="697668"/>
                  <a:pt x="11199600" y="722846"/>
                  <a:pt x="11199600" y="749961"/>
                </a:cubicBezTo>
                <a:lnTo>
                  <a:pt x="11199600" y="775785"/>
                </a:lnTo>
                <a:lnTo>
                  <a:pt x="11199600" y="837255"/>
                </a:lnTo>
                <a:lnTo>
                  <a:pt x="11199600" y="902921"/>
                </a:lnTo>
                <a:lnTo>
                  <a:pt x="11199600" y="936999"/>
                </a:lnTo>
                <a:lnTo>
                  <a:pt x="11199600" y="1016524"/>
                </a:lnTo>
                <a:cubicBezTo>
                  <a:pt x="11199600" y="1016524"/>
                  <a:pt x="11199600" y="1016524"/>
                  <a:pt x="11199600" y="1029131"/>
                </a:cubicBezTo>
                <a:lnTo>
                  <a:pt x="11199600" y="1044999"/>
                </a:lnTo>
                <a:lnTo>
                  <a:pt x="11199600" y="1046406"/>
                </a:lnTo>
                <a:lnTo>
                  <a:pt x="11199600" y="1050025"/>
                </a:lnTo>
                <a:lnTo>
                  <a:pt x="11199600" y="1074887"/>
                </a:lnTo>
                <a:cubicBezTo>
                  <a:pt x="11199600" y="1098232"/>
                  <a:pt x="11199600" y="1130916"/>
                  <a:pt x="11199600" y="1176672"/>
                </a:cubicBezTo>
                <a:lnTo>
                  <a:pt x="11199600" y="1177161"/>
                </a:lnTo>
                <a:lnTo>
                  <a:pt x="11199600" y="1202847"/>
                </a:lnTo>
                <a:lnTo>
                  <a:pt x="11199600" y="1255579"/>
                </a:lnTo>
                <a:lnTo>
                  <a:pt x="11199600" y="1290764"/>
                </a:lnTo>
                <a:cubicBezTo>
                  <a:pt x="11199600" y="1290764"/>
                  <a:pt x="11199600" y="1290764"/>
                  <a:pt x="11199600" y="1299618"/>
                </a:cubicBezTo>
                <a:lnTo>
                  <a:pt x="11199600" y="1319239"/>
                </a:lnTo>
                <a:lnTo>
                  <a:pt x="11199600" y="1320462"/>
                </a:lnTo>
                <a:lnTo>
                  <a:pt x="11199600" y="1320646"/>
                </a:lnTo>
                <a:cubicBezTo>
                  <a:pt x="11199600" y="1328117"/>
                  <a:pt x="11199600" y="1337455"/>
                  <a:pt x="11199600" y="1349128"/>
                </a:cubicBezTo>
                <a:lnTo>
                  <a:pt x="11199600" y="1377296"/>
                </a:lnTo>
                <a:lnTo>
                  <a:pt x="11199600" y="1391616"/>
                </a:lnTo>
                <a:lnTo>
                  <a:pt x="11199600" y="1396135"/>
                </a:lnTo>
                <a:lnTo>
                  <a:pt x="11199600" y="1429106"/>
                </a:lnTo>
                <a:cubicBezTo>
                  <a:pt x="11199600" y="1442941"/>
                  <a:pt x="11199600" y="1458158"/>
                  <a:pt x="11199600" y="1474898"/>
                </a:cubicBezTo>
                <a:lnTo>
                  <a:pt x="11199600" y="1477087"/>
                </a:lnTo>
                <a:lnTo>
                  <a:pt x="11199600" y="1483429"/>
                </a:lnTo>
                <a:lnTo>
                  <a:pt x="11199600" y="1529819"/>
                </a:lnTo>
                <a:lnTo>
                  <a:pt x="11199600" y="1569177"/>
                </a:lnTo>
                <a:lnTo>
                  <a:pt x="11199600" y="1583173"/>
                </a:lnTo>
                <a:lnTo>
                  <a:pt x="11199600" y="1594702"/>
                </a:lnTo>
                <a:lnTo>
                  <a:pt x="11199600" y="1651536"/>
                </a:lnTo>
                <a:lnTo>
                  <a:pt x="11199600" y="1670375"/>
                </a:lnTo>
                <a:lnTo>
                  <a:pt x="11199600" y="1696199"/>
                </a:lnTo>
                <a:lnTo>
                  <a:pt x="11199600" y="1757669"/>
                </a:lnTo>
                <a:lnTo>
                  <a:pt x="11199600" y="1779318"/>
                </a:lnTo>
                <a:lnTo>
                  <a:pt x="11199600" y="1823335"/>
                </a:lnTo>
                <a:lnTo>
                  <a:pt x="11199600" y="1843417"/>
                </a:lnTo>
                <a:lnTo>
                  <a:pt x="11199600" y="1857413"/>
                </a:lnTo>
                <a:lnTo>
                  <a:pt x="11199600" y="1965413"/>
                </a:lnTo>
                <a:lnTo>
                  <a:pt x="11199600" y="1970439"/>
                </a:lnTo>
                <a:lnTo>
                  <a:pt x="11199600" y="2008551"/>
                </a:lnTo>
                <a:lnTo>
                  <a:pt x="11199600" y="2053558"/>
                </a:lnTo>
                <a:lnTo>
                  <a:pt x="11199600" y="2097575"/>
                </a:lnTo>
                <a:lnTo>
                  <a:pt x="11199600" y="2123261"/>
                </a:lnTo>
                <a:lnTo>
                  <a:pt x="11199600" y="2239653"/>
                </a:lnTo>
                <a:lnTo>
                  <a:pt x="11199600" y="2257705"/>
                </a:lnTo>
                <a:lnTo>
                  <a:pt x="11199600" y="2282791"/>
                </a:lnTo>
                <a:lnTo>
                  <a:pt x="11199600" y="2297710"/>
                </a:lnTo>
                <a:lnTo>
                  <a:pt x="11199600" y="2397501"/>
                </a:lnTo>
                <a:lnTo>
                  <a:pt x="11199600" y="2489591"/>
                </a:lnTo>
                <a:lnTo>
                  <a:pt x="11199600" y="2527610"/>
                </a:lnTo>
                <a:lnTo>
                  <a:pt x="11199600" y="2531945"/>
                </a:lnTo>
                <a:lnTo>
                  <a:pt x="11199600" y="2571950"/>
                </a:lnTo>
                <a:lnTo>
                  <a:pt x="11199600" y="2699732"/>
                </a:lnTo>
                <a:lnTo>
                  <a:pt x="11199600" y="2763831"/>
                </a:lnTo>
                <a:lnTo>
                  <a:pt x="11199600" y="2801851"/>
                </a:lnTo>
                <a:lnTo>
                  <a:pt x="11199600" y="2819097"/>
                </a:lnTo>
                <a:lnTo>
                  <a:pt x="11199600" y="2928965"/>
                </a:lnTo>
                <a:lnTo>
                  <a:pt x="11199600" y="2973972"/>
                </a:lnTo>
                <a:lnTo>
                  <a:pt x="11199600" y="3093337"/>
                </a:lnTo>
                <a:lnTo>
                  <a:pt x="11199600" y="3132995"/>
                </a:lnTo>
                <a:lnTo>
                  <a:pt x="11199600" y="3178119"/>
                </a:lnTo>
                <a:lnTo>
                  <a:pt x="11199600" y="3203205"/>
                </a:lnTo>
                <a:lnTo>
                  <a:pt x="11199600" y="3407236"/>
                </a:lnTo>
                <a:lnTo>
                  <a:pt x="11199600" y="3448024"/>
                </a:lnTo>
                <a:lnTo>
                  <a:pt x="11199600" y="3452359"/>
                </a:lnTo>
                <a:lnTo>
                  <a:pt x="11199600" y="3470135"/>
                </a:lnTo>
                <a:lnTo>
                  <a:pt x="11199600" y="3722265"/>
                </a:lnTo>
                <a:lnTo>
                  <a:pt x="11199600" y="3739511"/>
                </a:lnTo>
                <a:lnTo>
                  <a:pt x="11199600" y="3744375"/>
                </a:lnTo>
                <a:lnTo>
                  <a:pt x="11199600" y="3831346"/>
                </a:lnTo>
                <a:lnTo>
                  <a:pt x="11199600" y="4013751"/>
                </a:lnTo>
                <a:lnTo>
                  <a:pt x="11199600" y="4053409"/>
                </a:lnTo>
                <a:lnTo>
                  <a:pt x="11199600" y="4105586"/>
                </a:lnTo>
                <a:lnTo>
                  <a:pt x="11199600" y="4217459"/>
                </a:lnTo>
                <a:lnTo>
                  <a:pt x="11199600" y="4327650"/>
                </a:lnTo>
                <a:lnTo>
                  <a:pt x="11199600" y="4390549"/>
                </a:lnTo>
                <a:lnTo>
                  <a:pt x="11199600" y="4491699"/>
                </a:lnTo>
                <a:lnTo>
                  <a:pt x="11199600" y="4629303"/>
                </a:lnTo>
                <a:lnTo>
                  <a:pt x="11199600" y="4664789"/>
                </a:lnTo>
                <a:lnTo>
                  <a:pt x="11199600" y="4751760"/>
                </a:lnTo>
                <a:lnTo>
                  <a:pt x="11199600" y="4903543"/>
                </a:lnTo>
                <a:lnTo>
                  <a:pt x="11199600" y="5026000"/>
                </a:lnTo>
                <a:lnTo>
                  <a:pt x="11199600" y="5137873"/>
                </a:lnTo>
                <a:lnTo>
                  <a:pt x="11199600" y="5412113"/>
                </a:lnTo>
                <a:lnTo>
                  <a:pt x="11199600" y="5549717"/>
                </a:lnTo>
                <a:lnTo>
                  <a:pt x="11199600" y="5823957"/>
                </a:lnTo>
                <a:cubicBezTo>
                  <a:pt x="11199600" y="5920067"/>
                  <a:pt x="11103603" y="5920067"/>
                  <a:pt x="11103603" y="5920067"/>
                </a:cubicBezTo>
                <a:cubicBezTo>
                  <a:pt x="11103603" y="5920067"/>
                  <a:pt x="11103603" y="5920067"/>
                  <a:pt x="95997" y="5920067"/>
                </a:cubicBezTo>
                <a:cubicBezTo>
                  <a:pt x="0" y="5920067"/>
                  <a:pt x="0" y="5823957"/>
                  <a:pt x="0" y="5823957"/>
                </a:cubicBezTo>
                <a:lnTo>
                  <a:pt x="0" y="5820222"/>
                </a:lnTo>
                <a:lnTo>
                  <a:pt x="0" y="5811351"/>
                </a:lnTo>
                <a:lnTo>
                  <a:pt x="0" y="5794075"/>
                </a:lnTo>
                <a:lnTo>
                  <a:pt x="0" y="5765594"/>
                </a:lnTo>
                <a:lnTo>
                  <a:pt x="0" y="5723106"/>
                </a:lnTo>
                <a:lnTo>
                  <a:pt x="0" y="5663809"/>
                </a:lnTo>
                <a:lnTo>
                  <a:pt x="0" y="5584902"/>
                </a:lnTo>
                <a:lnTo>
                  <a:pt x="0" y="5549717"/>
                </a:lnTo>
                <a:lnTo>
                  <a:pt x="0" y="5548611"/>
                </a:lnTo>
                <a:lnTo>
                  <a:pt x="0" y="5540863"/>
                </a:lnTo>
                <a:lnTo>
                  <a:pt x="0" y="5520020"/>
                </a:lnTo>
                <a:lnTo>
                  <a:pt x="0" y="5519835"/>
                </a:lnTo>
                <a:lnTo>
                  <a:pt x="0" y="5478886"/>
                </a:lnTo>
                <a:lnTo>
                  <a:pt x="0" y="5448866"/>
                </a:lnTo>
                <a:lnTo>
                  <a:pt x="0" y="5444347"/>
                </a:lnTo>
                <a:lnTo>
                  <a:pt x="0" y="5411375"/>
                </a:lnTo>
                <a:lnTo>
                  <a:pt x="0" y="5365584"/>
                </a:lnTo>
                <a:lnTo>
                  <a:pt x="0" y="5357053"/>
                </a:lnTo>
                <a:lnTo>
                  <a:pt x="0" y="5310662"/>
                </a:lnTo>
                <a:lnTo>
                  <a:pt x="0" y="5257308"/>
                </a:lnTo>
                <a:lnTo>
                  <a:pt x="0" y="5245780"/>
                </a:lnTo>
                <a:lnTo>
                  <a:pt x="0" y="5170107"/>
                </a:lnTo>
                <a:lnTo>
                  <a:pt x="0" y="5144283"/>
                </a:lnTo>
                <a:lnTo>
                  <a:pt x="0" y="5082813"/>
                </a:lnTo>
                <a:lnTo>
                  <a:pt x="0" y="5017146"/>
                </a:lnTo>
                <a:lnTo>
                  <a:pt x="0" y="4983068"/>
                </a:lnTo>
                <a:lnTo>
                  <a:pt x="0" y="4903543"/>
                </a:lnTo>
                <a:lnTo>
                  <a:pt x="0" y="4899808"/>
                </a:lnTo>
                <a:lnTo>
                  <a:pt x="0" y="4890937"/>
                </a:lnTo>
                <a:lnTo>
                  <a:pt x="0" y="4875069"/>
                </a:lnTo>
                <a:lnTo>
                  <a:pt x="0" y="4873661"/>
                </a:lnTo>
                <a:lnTo>
                  <a:pt x="0" y="4870043"/>
                </a:lnTo>
                <a:lnTo>
                  <a:pt x="0" y="4845180"/>
                </a:lnTo>
                <a:lnTo>
                  <a:pt x="0" y="4802692"/>
                </a:lnTo>
                <a:lnTo>
                  <a:pt x="0" y="4743395"/>
                </a:lnTo>
                <a:lnTo>
                  <a:pt x="0" y="4742906"/>
                </a:lnTo>
                <a:lnTo>
                  <a:pt x="0" y="4717221"/>
                </a:lnTo>
                <a:lnTo>
                  <a:pt x="0" y="4664488"/>
                </a:lnTo>
                <a:lnTo>
                  <a:pt x="0" y="4629303"/>
                </a:lnTo>
                <a:lnTo>
                  <a:pt x="0" y="4628197"/>
                </a:lnTo>
                <a:lnTo>
                  <a:pt x="0" y="4620449"/>
                </a:lnTo>
                <a:lnTo>
                  <a:pt x="0" y="4600829"/>
                </a:lnTo>
                <a:lnTo>
                  <a:pt x="0" y="4599606"/>
                </a:lnTo>
                <a:lnTo>
                  <a:pt x="0" y="4599421"/>
                </a:lnTo>
                <a:lnTo>
                  <a:pt x="0" y="4558472"/>
                </a:lnTo>
                <a:lnTo>
                  <a:pt x="0" y="4542771"/>
                </a:lnTo>
                <a:lnTo>
                  <a:pt x="0" y="4528452"/>
                </a:lnTo>
                <a:lnTo>
                  <a:pt x="0" y="4523933"/>
                </a:lnTo>
                <a:lnTo>
                  <a:pt x="0" y="4490961"/>
                </a:lnTo>
                <a:lnTo>
                  <a:pt x="0" y="4445170"/>
                </a:lnTo>
                <a:lnTo>
                  <a:pt x="0" y="4442981"/>
                </a:lnTo>
                <a:lnTo>
                  <a:pt x="0" y="4436639"/>
                </a:lnTo>
                <a:lnTo>
                  <a:pt x="0" y="4390248"/>
                </a:lnTo>
                <a:lnTo>
                  <a:pt x="0" y="4350891"/>
                </a:lnTo>
                <a:lnTo>
                  <a:pt x="0" y="4336894"/>
                </a:lnTo>
                <a:lnTo>
                  <a:pt x="0" y="4325366"/>
                </a:lnTo>
                <a:lnTo>
                  <a:pt x="0" y="4268531"/>
                </a:lnTo>
                <a:lnTo>
                  <a:pt x="0" y="4249693"/>
                </a:lnTo>
                <a:lnTo>
                  <a:pt x="0" y="4223869"/>
                </a:lnTo>
                <a:lnTo>
                  <a:pt x="0" y="4162399"/>
                </a:lnTo>
                <a:lnTo>
                  <a:pt x="0" y="4140749"/>
                </a:lnTo>
                <a:lnTo>
                  <a:pt x="0" y="4096732"/>
                </a:lnTo>
                <a:lnTo>
                  <a:pt x="0" y="4076651"/>
                </a:lnTo>
                <a:lnTo>
                  <a:pt x="0" y="4062654"/>
                </a:lnTo>
                <a:lnTo>
                  <a:pt x="0" y="3954655"/>
                </a:lnTo>
                <a:lnTo>
                  <a:pt x="0" y="3949629"/>
                </a:lnTo>
                <a:lnTo>
                  <a:pt x="0" y="3911516"/>
                </a:lnTo>
                <a:lnTo>
                  <a:pt x="0" y="3866509"/>
                </a:lnTo>
                <a:lnTo>
                  <a:pt x="0" y="3822492"/>
                </a:lnTo>
                <a:lnTo>
                  <a:pt x="0" y="3796807"/>
                </a:lnTo>
                <a:lnTo>
                  <a:pt x="0" y="3680415"/>
                </a:lnTo>
                <a:lnTo>
                  <a:pt x="0" y="3662362"/>
                </a:lnTo>
                <a:lnTo>
                  <a:pt x="0" y="3637276"/>
                </a:lnTo>
                <a:lnTo>
                  <a:pt x="0" y="3622357"/>
                </a:lnTo>
                <a:lnTo>
                  <a:pt x="0" y="3522567"/>
                </a:lnTo>
                <a:lnTo>
                  <a:pt x="0" y="3430477"/>
                </a:lnTo>
                <a:lnTo>
                  <a:pt x="0" y="3392457"/>
                </a:lnTo>
                <a:lnTo>
                  <a:pt x="0" y="3388122"/>
                </a:lnTo>
                <a:lnTo>
                  <a:pt x="0" y="3348117"/>
                </a:lnTo>
                <a:lnTo>
                  <a:pt x="0" y="3220335"/>
                </a:lnTo>
                <a:lnTo>
                  <a:pt x="0" y="3156237"/>
                </a:lnTo>
                <a:lnTo>
                  <a:pt x="0" y="3118217"/>
                </a:lnTo>
                <a:lnTo>
                  <a:pt x="0" y="3100970"/>
                </a:lnTo>
                <a:lnTo>
                  <a:pt x="0" y="2991102"/>
                </a:lnTo>
                <a:lnTo>
                  <a:pt x="0" y="2946095"/>
                </a:lnTo>
                <a:lnTo>
                  <a:pt x="0" y="2826730"/>
                </a:lnTo>
                <a:lnTo>
                  <a:pt x="0" y="2787072"/>
                </a:lnTo>
                <a:lnTo>
                  <a:pt x="0" y="2741948"/>
                </a:lnTo>
                <a:lnTo>
                  <a:pt x="0" y="2716862"/>
                </a:lnTo>
                <a:lnTo>
                  <a:pt x="0" y="2512832"/>
                </a:lnTo>
                <a:lnTo>
                  <a:pt x="0" y="2472043"/>
                </a:lnTo>
                <a:lnTo>
                  <a:pt x="0" y="2467708"/>
                </a:lnTo>
                <a:lnTo>
                  <a:pt x="0" y="2449933"/>
                </a:lnTo>
                <a:lnTo>
                  <a:pt x="0" y="2197803"/>
                </a:lnTo>
                <a:lnTo>
                  <a:pt x="0" y="2180556"/>
                </a:lnTo>
                <a:lnTo>
                  <a:pt x="0" y="2175692"/>
                </a:lnTo>
                <a:lnTo>
                  <a:pt x="0" y="2088721"/>
                </a:lnTo>
                <a:lnTo>
                  <a:pt x="0" y="1906316"/>
                </a:lnTo>
                <a:lnTo>
                  <a:pt x="0" y="1866658"/>
                </a:lnTo>
                <a:lnTo>
                  <a:pt x="0" y="1814481"/>
                </a:lnTo>
                <a:lnTo>
                  <a:pt x="0" y="1702609"/>
                </a:lnTo>
                <a:lnTo>
                  <a:pt x="0" y="1592418"/>
                </a:lnTo>
                <a:lnTo>
                  <a:pt x="0" y="1529519"/>
                </a:lnTo>
                <a:lnTo>
                  <a:pt x="0" y="1428369"/>
                </a:lnTo>
                <a:lnTo>
                  <a:pt x="0" y="1290764"/>
                </a:lnTo>
                <a:lnTo>
                  <a:pt x="0" y="1255278"/>
                </a:lnTo>
                <a:lnTo>
                  <a:pt x="0" y="1168307"/>
                </a:lnTo>
                <a:lnTo>
                  <a:pt x="0" y="1016524"/>
                </a:lnTo>
                <a:lnTo>
                  <a:pt x="0" y="894067"/>
                </a:lnTo>
                <a:lnTo>
                  <a:pt x="0" y="782195"/>
                </a:lnTo>
                <a:lnTo>
                  <a:pt x="0" y="507955"/>
                </a:lnTo>
                <a:lnTo>
                  <a:pt x="0" y="370350"/>
                </a:lnTo>
                <a:lnTo>
                  <a:pt x="0" y="96110"/>
                </a:lnTo>
                <a:cubicBezTo>
                  <a:pt x="0" y="0"/>
                  <a:pt x="95997" y="0"/>
                  <a:pt x="95997" y="0"/>
                </a:cubicBezTo>
                <a:close/>
              </a:path>
            </a:pathLst>
          </a:custGeom>
          <a:solidFill>
            <a:schemeClr val="bg2">
              <a:lumMod val="20000"/>
              <a:lumOff val="80000"/>
              <a:alpha val="10000"/>
            </a:schemeClr>
          </a:solidFill>
        </p:spPr>
        <p:txBody>
          <a:bodyPr wrap="square" lIns="3240000" tIns="36000" rIns="36000" bIns="36000" anchor="ctr" anchorCtr="0">
            <a:noAutofit/>
          </a:bodyPr>
          <a:lstStyle>
            <a:lvl1pPr algn="ctr">
              <a:defRPr sz="1400" b="0"/>
            </a:lvl1pPr>
          </a:lstStyle>
          <a:p>
            <a:r>
              <a:rPr lang="nl-NL" noProof="0" smtClean="0"/>
              <a:t>Klik op het pictogram als u een afbeelding wilt toevoegen</a:t>
            </a:r>
            <a:endParaRPr lang="en-GB" noProof="0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0375517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llee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066186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sclaim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688046" y="1270000"/>
            <a:ext cx="4109625" cy="5004000"/>
          </a:xfrm>
        </p:spPr>
        <p:txBody>
          <a:bodyPr/>
          <a:lstStyle>
            <a:lvl1pPr>
              <a:lnSpc>
                <a:spcPts val="1400"/>
              </a:lnSpc>
              <a:spcAft>
                <a:spcPts val="0"/>
              </a:spcAft>
              <a:defRPr sz="1300" b="0"/>
            </a:lvl1pPr>
            <a:lvl2pPr>
              <a:lnSpc>
                <a:spcPts val="1400"/>
              </a:lnSpc>
              <a:spcAft>
                <a:spcPts val="0"/>
              </a:spcAft>
              <a:defRPr sz="1300"/>
            </a:lvl2pPr>
            <a:lvl3pPr>
              <a:lnSpc>
                <a:spcPts val="1400"/>
              </a:lnSpc>
              <a:spcAft>
                <a:spcPts val="0"/>
              </a:spcAft>
              <a:defRPr sz="1300"/>
            </a:lvl3pPr>
            <a:lvl4pPr>
              <a:lnSpc>
                <a:spcPts val="1400"/>
              </a:lnSpc>
              <a:spcAft>
                <a:spcPts val="0"/>
              </a:spcAft>
              <a:defRPr sz="1300"/>
            </a:lvl4pPr>
            <a:lvl5pPr>
              <a:lnSpc>
                <a:spcPts val="1400"/>
              </a:lnSpc>
              <a:spcAft>
                <a:spcPts val="0"/>
              </a:spcAft>
              <a:defRPr sz="1300"/>
            </a:lvl5pPr>
          </a:lstStyle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8" name="Content Placeholder 2"/>
          <p:cNvSpPr>
            <a:spLocks noGrp="1"/>
          </p:cNvSpPr>
          <p:nvPr>
            <p:ph idx="13"/>
          </p:nvPr>
        </p:nvSpPr>
        <p:spPr bwMode="gray">
          <a:xfrm>
            <a:off x="5099859" y="1270000"/>
            <a:ext cx="4109625" cy="5004000"/>
          </a:xfrm>
        </p:spPr>
        <p:txBody>
          <a:bodyPr/>
          <a:lstStyle>
            <a:lvl1pPr>
              <a:lnSpc>
                <a:spcPts val="1400"/>
              </a:lnSpc>
              <a:spcAft>
                <a:spcPts val="0"/>
              </a:spcAft>
              <a:defRPr sz="1300" b="0"/>
            </a:lvl1pPr>
            <a:lvl2pPr>
              <a:lnSpc>
                <a:spcPts val="1400"/>
              </a:lnSpc>
              <a:spcAft>
                <a:spcPts val="0"/>
              </a:spcAft>
              <a:defRPr sz="1300"/>
            </a:lvl2pPr>
            <a:lvl3pPr>
              <a:lnSpc>
                <a:spcPts val="1400"/>
              </a:lnSpc>
              <a:spcAft>
                <a:spcPts val="0"/>
              </a:spcAft>
              <a:defRPr sz="1300"/>
            </a:lvl3pPr>
            <a:lvl4pPr>
              <a:lnSpc>
                <a:spcPts val="1400"/>
              </a:lnSpc>
              <a:spcAft>
                <a:spcPts val="0"/>
              </a:spcAft>
              <a:defRPr sz="1300"/>
            </a:lvl4pPr>
            <a:lvl5pPr>
              <a:lnSpc>
                <a:spcPts val="1400"/>
              </a:lnSpc>
              <a:spcAft>
                <a:spcPts val="0"/>
              </a:spcAft>
              <a:defRPr sz="1300"/>
            </a:lvl5pPr>
          </a:lstStyle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82220697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="" xmlns:p15="http://schemas.microsoft.com/office/powerpoint/2012/main">
        <p15:guide id="1" pos="3720" userDrawn="1">
          <p15:clr>
            <a:srgbClr val="FBAE40"/>
          </p15:clr>
        </p15:guide>
        <p15:guide id="2" pos="3948" userDrawn="1">
          <p15:clr>
            <a:srgbClr val="FBAE40"/>
          </p15:clr>
        </p15:guide>
      </p15:sldGuideLst>
    </p:ext>
  </p:extLst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e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186525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F Title Slide Confidential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8" name="Group 37"/>
          <p:cNvGrpSpPr/>
          <p:nvPr userDrawn="1"/>
        </p:nvGrpSpPr>
        <p:grpSpPr bwMode="gray">
          <a:xfrm>
            <a:off x="1" y="1643202"/>
            <a:ext cx="9213354" cy="3055937"/>
            <a:chOff x="409575" y="3144838"/>
            <a:chExt cx="11339513" cy="3055937"/>
          </a:xfrm>
        </p:grpSpPr>
        <p:sp>
          <p:nvSpPr>
            <p:cNvPr id="40" name="Freeform 5"/>
            <p:cNvSpPr>
              <a:spLocks/>
            </p:cNvSpPr>
            <p:nvPr/>
          </p:nvSpPr>
          <p:spPr bwMode="gray">
            <a:xfrm>
              <a:off x="409575" y="5521325"/>
              <a:ext cx="11339513" cy="679450"/>
            </a:xfrm>
            <a:custGeom>
              <a:avLst/>
              <a:gdLst>
                <a:gd name="T0" fmla="*/ 0 w 2680"/>
                <a:gd name="T1" fmla="*/ 0 h 160"/>
                <a:gd name="T2" fmla="*/ 0 w 2680"/>
                <a:gd name="T3" fmla="*/ 160 h 160"/>
                <a:gd name="T4" fmla="*/ 2656 w 2680"/>
                <a:gd name="T5" fmla="*/ 160 h 160"/>
                <a:gd name="T6" fmla="*/ 2680 w 2680"/>
                <a:gd name="T7" fmla="*/ 136 h 160"/>
                <a:gd name="T8" fmla="*/ 2680 w 2680"/>
                <a:gd name="T9" fmla="*/ 0 h 160"/>
                <a:gd name="T10" fmla="*/ 0 w 2680"/>
                <a:gd name="T11" fmla="*/ 0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80" h="160">
                  <a:moveTo>
                    <a:pt x="0" y="0"/>
                  </a:moveTo>
                  <a:cubicBezTo>
                    <a:pt x="0" y="160"/>
                    <a:pt x="0" y="160"/>
                    <a:pt x="0" y="160"/>
                  </a:cubicBezTo>
                  <a:cubicBezTo>
                    <a:pt x="2656" y="160"/>
                    <a:pt x="2656" y="160"/>
                    <a:pt x="2656" y="160"/>
                  </a:cubicBezTo>
                  <a:cubicBezTo>
                    <a:pt x="2656" y="160"/>
                    <a:pt x="2680" y="160"/>
                    <a:pt x="2680" y="136"/>
                  </a:cubicBezTo>
                  <a:cubicBezTo>
                    <a:pt x="2680" y="0"/>
                    <a:pt x="2680" y="0"/>
                    <a:pt x="2680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EAEAE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1" name="Freeform 6"/>
            <p:cNvSpPr>
              <a:spLocks/>
            </p:cNvSpPr>
            <p:nvPr/>
          </p:nvSpPr>
          <p:spPr bwMode="gray">
            <a:xfrm>
              <a:off x="409575" y="3144838"/>
              <a:ext cx="11339513" cy="2376487"/>
            </a:xfrm>
            <a:custGeom>
              <a:avLst/>
              <a:gdLst>
                <a:gd name="T0" fmla="*/ 0 w 2680"/>
                <a:gd name="T1" fmla="*/ 0 h 560"/>
                <a:gd name="T2" fmla="*/ 0 w 2680"/>
                <a:gd name="T3" fmla="*/ 560 h 560"/>
                <a:gd name="T4" fmla="*/ 2680 w 2680"/>
                <a:gd name="T5" fmla="*/ 560 h 560"/>
                <a:gd name="T6" fmla="*/ 2680 w 2680"/>
                <a:gd name="T7" fmla="*/ 24 h 560"/>
                <a:gd name="T8" fmla="*/ 2656 w 2680"/>
                <a:gd name="T9" fmla="*/ 0 h 560"/>
                <a:gd name="T10" fmla="*/ 0 w 2680"/>
                <a:gd name="T11" fmla="*/ 0 h 5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80" h="560">
                  <a:moveTo>
                    <a:pt x="0" y="0"/>
                  </a:moveTo>
                  <a:cubicBezTo>
                    <a:pt x="0" y="560"/>
                    <a:pt x="0" y="560"/>
                    <a:pt x="0" y="560"/>
                  </a:cubicBezTo>
                  <a:cubicBezTo>
                    <a:pt x="2680" y="560"/>
                    <a:pt x="2680" y="560"/>
                    <a:pt x="2680" y="560"/>
                  </a:cubicBezTo>
                  <a:cubicBezTo>
                    <a:pt x="2680" y="24"/>
                    <a:pt x="2680" y="24"/>
                    <a:pt x="2680" y="24"/>
                  </a:cubicBezTo>
                  <a:cubicBezTo>
                    <a:pt x="2680" y="24"/>
                    <a:pt x="2680" y="0"/>
                    <a:pt x="2656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F62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8" name="Rectangle 7"/>
          <p:cNvSpPr/>
          <p:nvPr userDrawn="1"/>
        </p:nvSpPr>
        <p:spPr bwMode="gray">
          <a:xfrm>
            <a:off x="2" y="6024880"/>
            <a:ext cx="9904532" cy="8331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2400"/>
          </a:p>
        </p:txBody>
      </p:sp>
      <p:sp>
        <p:nvSpPr>
          <p:cNvPr id="25" name="Title 1"/>
          <p:cNvSpPr>
            <a:spLocks noGrp="1"/>
          </p:cNvSpPr>
          <p:nvPr>
            <p:ph type="ctrTitle"/>
          </p:nvPr>
        </p:nvSpPr>
        <p:spPr bwMode="gray">
          <a:xfrm>
            <a:off x="684477" y="2116803"/>
            <a:ext cx="8379482" cy="1227573"/>
          </a:xfrm>
        </p:spPr>
        <p:txBody>
          <a:bodyPr anchor="ctr" anchorCtr="0">
            <a:noAutofit/>
          </a:bodyPr>
          <a:lstStyle>
            <a:lvl1pPr algn="l">
              <a:lnSpc>
                <a:spcPts val="4600"/>
              </a:lnSpc>
              <a:defRPr sz="4600">
                <a:solidFill>
                  <a:schemeClr val="bg1"/>
                </a:solidFill>
              </a:defRPr>
            </a:lvl1pPr>
          </a:lstStyle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  <p:sp>
        <p:nvSpPr>
          <p:cNvPr id="26" name="Subtitle 2"/>
          <p:cNvSpPr>
            <a:spLocks noGrp="1"/>
          </p:cNvSpPr>
          <p:nvPr>
            <p:ph type="subTitle" idx="1"/>
          </p:nvPr>
        </p:nvSpPr>
        <p:spPr bwMode="gray">
          <a:xfrm>
            <a:off x="684477" y="4240704"/>
            <a:ext cx="5754721" cy="306798"/>
          </a:xfrm>
        </p:spPr>
        <p:txBody>
          <a:bodyPr anchor="ctr" anchorCtr="0">
            <a:noAutofit/>
          </a:bodyPr>
          <a:lstStyle>
            <a:lvl1pPr marL="0" indent="0" algn="l">
              <a:lnSpc>
                <a:spcPts val="2200"/>
              </a:lnSpc>
              <a:buNone/>
              <a:defRPr sz="2000" b="0" i="0"/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nl-NL" noProof="0" smtClean="0"/>
              <a:t>Klik om de ondertitelstijl van het model te bewerken</a:t>
            </a:r>
            <a:endParaRPr lang="en-GB" noProof="0" dirty="0"/>
          </a:p>
        </p:txBody>
      </p:sp>
      <p:sp>
        <p:nvSpPr>
          <p:cNvPr id="27" name="Text Placeholder 6"/>
          <p:cNvSpPr>
            <a:spLocks noGrp="1"/>
          </p:cNvSpPr>
          <p:nvPr>
            <p:ph type="body" sz="quarter" idx="11"/>
          </p:nvPr>
        </p:nvSpPr>
        <p:spPr bwMode="gray">
          <a:xfrm>
            <a:off x="684451" y="3556803"/>
            <a:ext cx="8373361" cy="385233"/>
          </a:xfrm>
        </p:spPr>
        <p:txBody>
          <a:bodyPr>
            <a:noAutofit/>
          </a:bodyPr>
          <a:lstStyle>
            <a:lvl1pPr>
              <a:lnSpc>
                <a:spcPts val="2200"/>
              </a:lnSpc>
              <a:defRPr sz="220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noProof="0" smtClean="0"/>
              <a:t>Klik om de modelstijlen te bewerken</a:t>
            </a:r>
          </a:p>
        </p:txBody>
      </p:sp>
      <p:pic>
        <p:nvPicPr>
          <p:cNvPr id="30" name="Picture 29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428199" y="6203775"/>
            <a:ext cx="1233535" cy="378000"/>
          </a:xfrm>
          <a:prstGeom prst="rect">
            <a:avLst/>
          </a:prstGeom>
        </p:spPr>
      </p:pic>
      <p:pic>
        <p:nvPicPr>
          <p:cNvPr id="35" name="Picture Placeholder 36"/>
          <p:cNvPicPr>
            <a:picLocks noChangeAspect="1"/>
          </p:cNvPicPr>
          <p:nvPr userDrawn="1"/>
        </p:nvPicPr>
        <p:blipFill rotWithShape="1">
          <a:blip r:embed="rId3"/>
          <a:stretch/>
        </p:blipFill>
        <p:spPr bwMode="gray">
          <a:xfrm>
            <a:off x="681039" y="6291860"/>
            <a:ext cx="1778050" cy="287825"/>
          </a:xfrm>
          <a:prstGeom prst="rect">
            <a:avLst/>
          </a:prstGeom>
        </p:spPr>
      </p:pic>
      <p:grpSp>
        <p:nvGrpSpPr>
          <p:cNvPr id="48" name="Group 47"/>
          <p:cNvGrpSpPr/>
          <p:nvPr userDrawn="1"/>
        </p:nvGrpSpPr>
        <p:grpSpPr bwMode="gray">
          <a:xfrm>
            <a:off x="-1653580" y="0"/>
            <a:ext cx="1521000" cy="4689612"/>
            <a:chOff x="-2581275" y="595116"/>
            <a:chExt cx="1872000" cy="4689612"/>
          </a:xfrm>
        </p:grpSpPr>
        <p:sp>
          <p:nvSpPr>
            <p:cNvPr id="49" name="Rectangle 104"/>
            <p:cNvSpPr>
              <a:spLocks noChangeArrowheads="1"/>
            </p:cNvSpPr>
            <p:nvPr/>
          </p:nvSpPr>
          <p:spPr bwMode="gray">
            <a:xfrm>
              <a:off x="-2581275" y="4276728"/>
              <a:ext cx="1872000" cy="100800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50" name="Rectangle 104"/>
            <p:cNvSpPr>
              <a:spLocks noChangeArrowheads="1"/>
            </p:cNvSpPr>
            <p:nvPr userDrawn="1"/>
          </p:nvSpPr>
          <p:spPr bwMode="gray">
            <a:xfrm>
              <a:off x="-2581275" y="595116"/>
              <a:ext cx="1872000" cy="3672087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51" name="Rectangle 105"/>
            <p:cNvSpPr>
              <a:spLocks noChangeArrowheads="1"/>
            </p:cNvSpPr>
            <p:nvPr userDrawn="1"/>
          </p:nvSpPr>
          <p:spPr bwMode="gray">
            <a:xfrm>
              <a:off x="-2449513" y="1136650"/>
              <a:ext cx="215900" cy="215900"/>
            </a:xfrm>
            <a:prstGeom prst="rect">
              <a:avLst/>
            </a:prstGeom>
            <a:solidFill>
              <a:srgbClr val="FF6200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52" name="Rectangle 106"/>
            <p:cNvSpPr>
              <a:spLocks noChangeArrowheads="1"/>
            </p:cNvSpPr>
            <p:nvPr userDrawn="1"/>
          </p:nvSpPr>
          <p:spPr bwMode="gray">
            <a:xfrm>
              <a:off x="-2159000" y="1146175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Orang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55, 98, 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3" name="Rectangle 107"/>
            <p:cNvSpPr>
              <a:spLocks noChangeArrowheads="1"/>
            </p:cNvSpPr>
            <p:nvPr userDrawn="1"/>
          </p:nvSpPr>
          <p:spPr bwMode="gray">
            <a:xfrm>
              <a:off x="-2449513" y="1571626"/>
              <a:ext cx="215900" cy="215900"/>
            </a:xfrm>
            <a:prstGeom prst="rect">
              <a:avLst/>
            </a:prstGeom>
            <a:solidFill>
              <a:srgbClr val="A8A8A8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54" name="Rectangle 108"/>
            <p:cNvSpPr>
              <a:spLocks noChangeArrowheads="1"/>
            </p:cNvSpPr>
            <p:nvPr userDrawn="1"/>
          </p:nvSpPr>
          <p:spPr bwMode="gray">
            <a:xfrm>
              <a:off x="-2159000" y="15970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ght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68, 168, 16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5" name="Rectangle 109"/>
            <p:cNvSpPr>
              <a:spLocks noChangeArrowheads="1"/>
            </p:cNvSpPr>
            <p:nvPr userDrawn="1"/>
          </p:nvSpPr>
          <p:spPr bwMode="gray">
            <a:xfrm>
              <a:off x="-2449513" y="2058988"/>
              <a:ext cx="215900" cy="215900"/>
            </a:xfrm>
            <a:prstGeom prst="rect">
              <a:avLst/>
            </a:prstGeom>
            <a:solidFill>
              <a:srgbClr val="52519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56" name="Rectangle 110"/>
            <p:cNvSpPr>
              <a:spLocks noChangeArrowheads="1"/>
            </p:cNvSpPr>
            <p:nvPr userDrawn="1"/>
          </p:nvSpPr>
          <p:spPr bwMode="gray">
            <a:xfrm>
              <a:off x="-2159000" y="2068513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Indigo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82, 81, 153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7" name="Rectangle 111"/>
            <p:cNvSpPr>
              <a:spLocks noChangeArrowheads="1"/>
            </p:cNvSpPr>
            <p:nvPr userDrawn="1"/>
          </p:nvSpPr>
          <p:spPr bwMode="gray">
            <a:xfrm>
              <a:off x="-2449513" y="2527301"/>
              <a:ext cx="215900" cy="215900"/>
            </a:xfrm>
            <a:prstGeom prst="rect">
              <a:avLst/>
            </a:prstGeom>
            <a:solidFill>
              <a:srgbClr val="60A6DA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58" name="Rectangle 112"/>
            <p:cNvSpPr>
              <a:spLocks noChangeArrowheads="1"/>
            </p:cNvSpPr>
            <p:nvPr userDrawn="1"/>
          </p:nvSpPr>
          <p:spPr bwMode="gray">
            <a:xfrm>
              <a:off x="-2159000" y="25368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Sk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96, 166, 2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9" name="Rectangle 113"/>
            <p:cNvSpPr>
              <a:spLocks noChangeArrowheads="1"/>
            </p:cNvSpPr>
            <p:nvPr userDrawn="1"/>
          </p:nvSpPr>
          <p:spPr bwMode="gray">
            <a:xfrm>
              <a:off x="-2449513" y="762000"/>
              <a:ext cx="1692000" cy="165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90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200" b="1" smtClean="0">
                  <a:solidFill>
                    <a:srgbClr val="333333"/>
                  </a:solidFill>
                </a:rPr>
                <a:t>Colour Guidelines</a:t>
              </a:r>
              <a:endParaRPr lang="en-GB" altLang="en-US" sz="1200" b="1">
                <a:solidFill>
                  <a:srgbClr val="333333"/>
                </a:solidFill>
              </a:endParaRPr>
            </a:p>
          </p:txBody>
        </p:sp>
        <p:sp>
          <p:nvSpPr>
            <p:cNvPr id="60" name="Rectangle 107"/>
            <p:cNvSpPr>
              <a:spLocks noChangeArrowheads="1"/>
            </p:cNvSpPr>
            <p:nvPr/>
          </p:nvSpPr>
          <p:spPr bwMode="gray">
            <a:xfrm>
              <a:off x="-2449513" y="2962277"/>
              <a:ext cx="215900" cy="215900"/>
            </a:xfrm>
            <a:prstGeom prst="rect">
              <a:avLst/>
            </a:prstGeom>
            <a:solidFill>
              <a:srgbClr val="AB006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61" name="Rectangle 108"/>
            <p:cNvSpPr>
              <a:spLocks noChangeArrowheads="1"/>
            </p:cNvSpPr>
            <p:nvPr/>
          </p:nvSpPr>
          <p:spPr bwMode="gray">
            <a:xfrm>
              <a:off x="-2159000" y="29876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Fuchsia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71, 0, 102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2" name="Rectangle 109"/>
            <p:cNvSpPr>
              <a:spLocks noChangeArrowheads="1"/>
            </p:cNvSpPr>
            <p:nvPr/>
          </p:nvSpPr>
          <p:spPr bwMode="gray">
            <a:xfrm>
              <a:off x="-2449513" y="3449639"/>
              <a:ext cx="215900" cy="215900"/>
            </a:xfrm>
            <a:prstGeom prst="rect">
              <a:avLst/>
            </a:prstGeom>
            <a:solidFill>
              <a:srgbClr val="D0D93C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63" name="Rectangle 110"/>
            <p:cNvSpPr>
              <a:spLocks noChangeArrowheads="1"/>
            </p:cNvSpPr>
            <p:nvPr/>
          </p:nvSpPr>
          <p:spPr bwMode="gray">
            <a:xfrm>
              <a:off x="-2159000" y="3459164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m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08, 217, 6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4" name="Rectangle 111"/>
            <p:cNvSpPr>
              <a:spLocks noChangeArrowheads="1"/>
            </p:cNvSpPr>
            <p:nvPr/>
          </p:nvSpPr>
          <p:spPr bwMode="gray">
            <a:xfrm>
              <a:off x="-2449513" y="3917952"/>
              <a:ext cx="215900" cy="215900"/>
            </a:xfrm>
            <a:prstGeom prst="rect">
              <a:avLst/>
            </a:prstGeom>
            <a:solidFill>
              <a:srgbClr val="01964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65" name="Rectangle 112"/>
            <p:cNvSpPr>
              <a:spLocks noChangeArrowheads="1"/>
            </p:cNvSpPr>
            <p:nvPr/>
          </p:nvSpPr>
          <p:spPr bwMode="gray">
            <a:xfrm>
              <a:off x="-2159000" y="39274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eaf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2, 150, 8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6" name="Rectangle 109"/>
            <p:cNvSpPr>
              <a:spLocks noChangeArrowheads="1"/>
            </p:cNvSpPr>
            <p:nvPr/>
          </p:nvSpPr>
          <p:spPr bwMode="gray">
            <a:xfrm>
              <a:off x="-2449513" y="4405314"/>
              <a:ext cx="215900" cy="215900"/>
            </a:xfrm>
            <a:prstGeom prst="rect">
              <a:avLst/>
            </a:prstGeom>
            <a:solidFill>
              <a:srgbClr val="76767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67" name="Rectangle 110"/>
            <p:cNvSpPr>
              <a:spLocks noChangeArrowheads="1"/>
            </p:cNvSpPr>
            <p:nvPr/>
          </p:nvSpPr>
          <p:spPr bwMode="gray">
            <a:xfrm>
              <a:off x="-2159000" y="4414839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Mid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18, 118, 1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8" name="Rectangle 111"/>
            <p:cNvSpPr>
              <a:spLocks noChangeArrowheads="1"/>
            </p:cNvSpPr>
            <p:nvPr/>
          </p:nvSpPr>
          <p:spPr bwMode="gray">
            <a:xfrm>
              <a:off x="-2449513" y="4873627"/>
              <a:ext cx="215900" cy="215900"/>
            </a:xfrm>
            <a:prstGeom prst="rect">
              <a:avLst/>
            </a:prstGeom>
            <a:solidFill>
              <a:srgbClr val="333333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69" name="Rectangle 112"/>
            <p:cNvSpPr>
              <a:spLocks noChangeArrowheads="1"/>
            </p:cNvSpPr>
            <p:nvPr/>
          </p:nvSpPr>
          <p:spPr bwMode="gray">
            <a:xfrm>
              <a:off x="-2159000" y="4883152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Text Colour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1, 51, 5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</p:grpSp>
      <p:pic>
        <p:nvPicPr>
          <p:cNvPr id="37" name="Picture 36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-1466554" y="4402733"/>
            <a:ext cx="125761" cy="138908"/>
          </a:xfrm>
          <a:prstGeom prst="rect">
            <a:avLst/>
          </a:prstGeom>
        </p:spPr>
      </p:pic>
      <p:sp>
        <p:nvSpPr>
          <p:cNvPr id="39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6636209" y="4291504"/>
            <a:ext cx="2427750" cy="275612"/>
          </a:xfrm>
        </p:spPr>
        <p:txBody>
          <a:bodyPr tIns="0" bIns="0"/>
          <a:lstStyle>
            <a:lvl1pPr marL="0" indent="0" algn="r">
              <a:lnSpc>
                <a:spcPct val="100000"/>
              </a:lnSpc>
              <a:buNone/>
              <a:defRPr sz="1500">
                <a:solidFill>
                  <a:srgbClr val="000000"/>
                </a:solidFill>
                <a:latin typeface="+mn-lt"/>
              </a:defRPr>
            </a:lvl1pPr>
            <a:lvl2pPr>
              <a:defRPr sz="2200">
                <a:solidFill>
                  <a:srgbClr val="000000"/>
                </a:solidFill>
              </a:defRPr>
            </a:lvl2pPr>
            <a:lvl3pPr>
              <a:defRPr sz="2200">
                <a:solidFill>
                  <a:srgbClr val="000000"/>
                </a:solidFill>
              </a:defRPr>
            </a:lvl3pPr>
            <a:lvl4pPr>
              <a:defRPr sz="2200">
                <a:solidFill>
                  <a:srgbClr val="000000"/>
                </a:solidFill>
              </a:defRPr>
            </a:lvl4pPr>
            <a:lvl5pPr>
              <a:defRPr sz="2200">
                <a:solidFill>
                  <a:srgbClr val="000000"/>
                </a:solidFill>
              </a:defRPr>
            </a:lvl5pPr>
          </a:lstStyle>
          <a:p>
            <a:pPr lvl="0"/>
            <a:r>
              <a:rPr lang="en-GB" noProof="0" dirty="0" smtClean="0"/>
              <a:t>Click to edit location and date</a:t>
            </a:r>
          </a:p>
        </p:txBody>
      </p:sp>
      <p:grpSp>
        <p:nvGrpSpPr>
          <p:cNvPr id="42" name="Group 41"/>
          <p:cNvGrpSpPr/>
          <p:nvPr userDrawn="1"/>
        </p:nvGrpSpPr>
        <p:grpSpPr>
          <a:xfrm>
            <a:off x="8733700" y="-133099"/>
            <a:ext cx="1170834" cy="1565166"/>
            <a:chOff x="5364088" y="4720073"/>
            <a:chExt cx="1441027" cy="1565166"/>
          </a:xfrm>
        </p:grpSpPr>
        <p:sp>
          <p:nvSpPr>
            <p:cNvPr id="43" name="Freeform 5"/>
            <p:cNvSpPr>
              <a:spLocks/>
            </p:cNvSpPr>
            <p:nvPr/>
          </p:nvSpPr>
          <p:spPr bwMode="gray">
            <a:xfrm>
              <a:off x="5364088" y="4844212"/>
              <a:ext cx="1441027" cy="1441027"/>
            </a:xfrm>
            <a:custGeom>
              <a:avLst/>
              <a:gdLst>
                <a:gd name="T0" fmla="*/ 0 w 810"/>
                <a:gd name="T1" fmla="*/ 0 h 810"/>
                <a:gd name="T2" fmla="*/ 810 w 810"/>
                <a:gd name="T3" fmla="*/ 810 h 810"/>
                <a:gd name="T4" fmla="*/ 810 w 810"/>
                <a:gd name="T5" fmla="*/ 536 h 810"/>
                <a:gd name="T6" fmla="*/ 274 w 810"/>
                <a:gd name="T7" fmla="*/ 0 h 810"/>
                <a:gd name="T8" fmla="*/ 0 w 810"/>
                <a:gd name="T9" fmla="*/ 0 h 8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10" h="810">
                  <a:moveTo>
                    <a:pt x="0" y="0"/>
                  </a:moveTo>
                  <a:lnTo>
                    <a:pt x="810" y="810"/>
                  </a:lnTo>
                  <a:lnTo>
                    <a:pt x="810" y="536"/>
                  </a:lnTo>
                  <a:lnTo>
                    <a:pt x="274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17A7DC"/>
            </a:solidFill>
            <a:ln w="3175">
              <a:solidFill>
                <a:srgbClr val="17A7DC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/>
            </a:p>
          </p:txBody>
        </p:sp>
        <p:sp>
          <p:nvSpPr>
            <p:cNvPr id="44" name="Title 14"/>
            <p:cNvSpPr txBox="1">
              <a:spLocks/>
            </p:cNvSpPr>
            <p:nvPr userDrawn="1"/>
          </p:nvSpPr>
          <p:spPr bwMode="gray">
            <a:xfrm rot="2700000">
              <a:off x="5481455" y="5320862"/>
              <a:ext cx="1447800" cy="246221"/>
            </a:xfrm>
            <a:prstGeom prst="rect">
              <a:avLst/>
            </a:prstGeom>
          </p:spPr>
          <p:txBody>
            <a:bodyPr vert="horz" wrap="none" lIns="0" tIns="0" rIns="0" bIns="0" rtlCol="0" anchor="ctr" anchorCtr="0">
              <a:noAutofit/>
            </a:bodyPr>
            <a:lstStyle>
              <a:lvl1pPr algn="l" defTabSz="914400" rtl="0" eaLnBrk="1" latinLnBrk="0" hangingPunct="1">
                <a:lnSpc>
                  <a:spcPts val="4600"/>
                </a:lnSpc>
                <a:spcBef>
                  <a:spcPct val="0"/>
                </a:spcBef>
                <a:buNone/>
                <a:defRPr sz="4400" b="1" kern="1200" baseline="0">
                  <a:solidFill>
                    <a:schemeClr val="bg1"/>
                  </a:solidFill>
                  <a:latin typeface="+mj-lt"/>
                  <a:ea typeface="+mj-ea"/>
                  <a:cs typeface="Arial" panose="020B0604020202020204" pitchFamily="34" charset="0"/>
                </a:defRPr>
              </a:lvl1pPr>
            </a:lstStyle>
            <a:p>
              <a:pPr algn="ctr">
                <a:lnSpc>
                  <a:spcPct val="100000"/>
                </a:lnSpc>
              </a:pPr>
              <a:r>
                <a:rPr lang="en-US" sz="1600" smtClean="0"/>
                <a:t>Confidential</a:t>
              </a:r>
              <a:endParaRPr lang="en-GB" sz="1600" dirty="0"/>
            </a:p>
          </p:txBody>
        </p:sp>
      </p:grpSp>
    </p:spTree>
    <p:extLst>
      <p:ext uri="{BB962C8B-B14F-4D97-AF65-F5344CB8AC3E}">
        <p14:creationId xmlns:p14="http://schemas.microsoft.com/office/powerpoint/2010/main" val="1710295950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1" orient="horz" pos="4135">
          <p15:clr>
            <a:srgbClr val="FBAE40"/>
          </p15:clr>
        </p15:guide>
      </p15:sldGuideLst>
    </p:ext>
  </p:extLst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Freeform 31"/>
          <p:cNvSpPr>
            <a:spLocks noChangeAspect="1"/>
          </p:cNvSpPr>
          <p:nvPr userDrawn="1"/>
        </p:nvSpPr>
        <p:spPr bwMode="gray">
          <a:xfrm>
            <a:off x="563662" y="1695450"/>
            <a:ext cx="8646300" cy="2630915"/>
          </a:xfrm>
          <a:custGeom>
            <a:avLst/>
            <a:gdLst>
              <a:gd name="T0" fmla="*/ 2480 w 2480"/>
              <a:gd name="T1" fmla="*/ 528 h 611"/>
              <a:gd name="T2" fmla="*/ 2480 w 2480"/>
              <a:gd name="T3" fmla="*/ 32 h 611"/>
              <a:gd name="T4" fmla="*/ 2448 w 2480"/>
              <a:gd name="T5" fmla="*/ 0 h 611"/>
              <a:gd name="T6" fmla="*/ 32 w 2480"/>
              <a:gd name="T7" fmla="*/ 0 h 611"/>
              <a:gd name="T8" fmla="*/ 0 w 2480"/>
              <a:gd name="T9" fmla="*/ 32 h 611"/>
              <a:gd name="T10" fmla="*/ 0 w 2480"/>
              <a:gd name="T11" fmla="*/ 528 h 611"/>
              <a:gd name="T12" fmla="*/ 32 w 2480"/>
              <a:gd name="T13" fmla="*/ 560 h 611"/>
              <a:gd name="T14" fmla="*/ 237 w 2480"/>
              <a:gd name="T15" fmla="*/ 560 h 611"/>
              <a:gd name="T16" fmla="*/ 271 w 2480"/>
              <a:gd name="T17" fmla="*/ 604 h 611"/>
              <a:gd name="T18" fmla="*/ 289 w 2480"/>
              <a:gd name="T19" fmla="*/ 604 h 611"/>
              <a:gd name="T20" fmla="*/ 323 w 2480"/>
              <a:gd name="T21" fmla="*/ 560 h 611"/>
              <a:gd name="T22" fmla="*/ 2448 w 2480"/>
              <a:gd name="T23" fmla="*/ 560 h 611"/>
              <a:gd name="T24" fmla="*/ 2480 w 2480"/>
              <a:gd name="T25" fmla="*/ 528 h 61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2480" h="611">
                <a:moveTo>
                  <a:pt x="2480" y="528"/>
                </a:moveTo>
                <a:cubicBezTo>
                  <a:pt x="2480" y="32"/>
                  <a:pt x="2480" y="32"/>
                  <a:pt x="2480" y="32"/>
                </a:cubicBezTo>
                <a:cubicBezTo>
                  <a:pt x="2480" y="32"/>
                  <a:pt x="2480" y="0"/>
                  <a:pt x="2448" y="0"/>
                </a:cubicBezTo>
                <a:cubicBezTo>
                  <a:pt x="32" y="0"/>
                  <a:pt x="32" y="0"/>
                  <a:pt x="32" y="0"/>
                </a:cubicBezTo>
                <a:cubicBezTo>
                  <a:pt x="32" y="0"/>
                  <a:pt x="0" y="0"/>
                  <a:pt x="0" y="32"/>
                </a:cubicBezTo>
                <a:cubicBezTo>
                  <a:pt x="0" y="528"/>
                  <a:pt x="0" y="528"/>
                  <a:pt x="0" y="528"/>
                </a:cubicBezTo>
                <a:cubicBezTo>
                  <a:pt x="0" y="528"/>
                  <a:pt x="0" y="560"/>
                  <a:pt x="32" y="560"/>
                </a:cubicBezTo>
                <a:cubicBezTo>
                  <a:pt x="237" y="560"/>
                  <a:pt x="237" y="560"/>
                  <a:pt x="237" y="560"/>
                </a:cubicBezTo>
                <a:cubicBezTo>
                  <a:pt x="271" y="604"/>
                  <a:pt x="271" y="604"/>
                  <a:pt x="271" y="604"/>
                </a:cubicBezTo>
                <a:cubicBezTo>
                  <a:pt x="276" y="611"/>
                  <a:pt x="284" y="611"/>
                  <a:pt x="289" y="604"/>
                </a:cubicBezTo>
                <a:cubicBezTo>
                  <a:pt x="323" y="560"/>
                  <a:pt x="323" y="560"/>
                  <a:pt x="323" y="560"/>
                </a:cubicBezTo>
                <a:cubicBezTo>
                  <a:pt x="2448" y="560"/>
                  <a:pt x="2448" y="560"/>
                  <a:pt x="2448" y="560"/>
                </a:cubicBezTo>
                <a:cubicBezTo>
                  <a:pt x="2448" y="560"/>
                  <a:pt x="2480" y="560"/>
                  <a:pt x="2480" y="528"/>
                </a:cubicBezTo>
              </a:path>
            </a:pathLst>
          </a:custGeom>
          <a:solidFill>
            <a:srgbClr val="FF62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>
              <a:solidFill>
                <a:srgbClr val="333333"/>
              </a:solidFill>
            </a:endParaRPr>
          </a:p>
        </p:txBody>
      </p:sp>
      <p:sp>
        <p:nvSpPr>
          <p:cNvPr id="5" name="Title 1"/>
          <p:cNvSpPr>
            <a:spLocks noGrp="1"/>
          </p:cNvSpPr>
          <p:nvPr>
            <p:ph type="ctrTitle"/>
          </p:nvPr>
        </p:nvSpPr>
        <p:spPr bwMode="gray">
          <a:xfrm>
            <a:off x="952372" y="1695452"/>
            <a:ext cx="8257113" cy="2368549"/>
          </a:xfrm>
        </p:spPr>
        <p:txBody>
          <a:bodyPr anchor="ctr" anchorCtr="0">
            <a:noAutofit/>
          </a:bodyPr>
          <a:lstStyle>
            <a:lvl1pPr algn="l">
              <a:lnSpc>
                <a:spcPts val="4600"/>
              </a:lnSpc>
              <a:defRPr sz="4600">
                <a:solidFill>
                  <a:schemeClr val="bg1"/>
                </a:solidFill>
              </a:defRPr>
            </a:lvl1pPr>
          </a:lstStyle>
          <a:p>
            <a:r>
              <a:rPr lang="nl-NL" smtClean="0"/>
              <a:t>Klik om de stijl te bewerken</a:t>
            </a:r>
            <a:endParaRPr lang="en-GB" dirty="0"/>
          </a:p>
        </p:txBody>
      </p:sp>
      <p:grpSp>
        <p:nvGrpSpPr>
          <p:cNvPr id="36" name="Group 35"/>
          <p:cNvGrpSpPr/>
          <p:nvPr userDrawn="1"/>
        </p:nvGrpSpPr>
        <p:grpSpPr bwMode="gray">
          <a:xfrm>
            <a:off x="-1653580" y="0"/>
            <a:ext cx="1521000" cy="4689612"/>
            <a:chOff x="-2581275" y="595116"/>
            <a:chExt cx="1872000" cy="4689612"/>
          </a:xfrm>
        </p:grpSpPr>
        <p:sp>
          <p:nvSpPr>
            <p:cNvPr id="37" name="Rectangle 104"/>
            <p:cNvSpPr>
              <a:spLocks noChangeArrowheads="1"/>
            </p:cNvSpPr>
            <p:nvPr/>
          </p:nvSpPr>
          <p:spPr bwMode="gray">
            <a:xfrm>
              <a:off x="-2581275" y="4276728"/>
              <a:ext cx="1872000" cy="100800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38" name="Rectangle 104"/>
            <p:cNvSpPr>
              <a:spLocks noChangeArrowheads="1"/>
            </p:cNvSpPr>
            <p:nvPr userDrawn="1"/>
          </p:nvSpPr>
          <p:spPr bwMode="gray">
            <a:xfrm>
              <a:off x="-2581275" y="595116"/>
              <a:ext cx="1872000" cy="3672087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39" name="Rectangle 105"/>
            <p:cNvSpPr>
              <a:spLocks noChangeArrowheads="1"/>
            </p:cNvSpPr>
            <p:nvPr userDrawn="1"/>
          </p:nvSpPr>
          <p:spPr bwMode="gray">
            <a:xfrm>
              <a:off x="-2449513" y="1136650"/>
              <a:ext cx="215900" cy="215900"/>
            </a:xfrm>
            <a:prstGeom prst="rect">
              <a:avLst/>
            </a:prstGeom>
            <a:solidFill>
              <a:srgbClr val="FF6200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40" name="Rectangle 106"/>
            <p:cNvSpPr>
              <a:spLocks noChangeArrowheads="1"/>
            </p:cNvSpPr>
            <p:nvPr userDrawn="1"/>
          </p:nvSpPr>
          <p:spPr bwMode="gray">
            <a:xfrm>
              <a:off x="-2159000" y="1146175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Orang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55, 98, 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41" name="Rectangle 107"/>
            <p:cNvSpPr>
              <a:spLocks noChangeArrowheads="1"/>
            </p:cNvSpPr>
            <p:nvPr userDrawn="1"/>
          </p:nvSpPr>
          <p:spPr bwMode="gray">
            <a:xfrm>
              <a:off x="-2449513" y="1571626"/>
              <a:ext cx="215900" cy="215900"/>
            </a:xfrm>
            <a:prstGeom prst="rect">
              <a:avLst/>
            </a:prstGeom>
            <a:solidFill>
              <a:srgbClr val="A8A8A8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42" name="Rectangle 108"/>
            <p:cNvSpPr>
              <a:spLocks noChangeArrowheads="1"/>
            </p:cNvSpPr>
            <p:nvPr userDrawn="1"/>
          </p:nvSpPr>
          <p:spPr bwMode="gray">
            <a:xfrm>
              <a:off x="-2159000" y="15970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ght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68, 168, 16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43" name="Rectangle 109"/>
            <p:cNvSpPr>
              <a:spLocks noChangeArrowheads="1"/>
            </p:cNvSpPr>
            <p:nvPr userDrawn="1"/>
          </p:nvSpPr>
          <p:spPr bwMode="gray">
            <a:xfrm>
              <a:off x="-2449513" y="2058988"/>
              <a:ext cx="215900" cy="215900"/>
            </a:xfrm>
            <a:prstGeom prst="rect">
              <a:avLst/>
            </a:prstGeom>
            <a:solidFill>
              <a:srgbClr val="52519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44" name="Rectangle 110"/>
            <p:cNvSpPr>
              <a:spLocks noChangeArrowheads="1"/>
            </p:cNvSpPr>
            <p:nvPr userDrawn="1"/>
          </p:nvSpPr>
          <p:spPr bwMode="gray">
            <a:xfrm>
              <a:off x="-2159000" y="2068513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Indigo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82, 81, 153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45" name="Rectangle 111"/>
            <p:cNvSpPr>
              <a:spLocks noChangeArrowheads="1"/>
            </p:cNvSpPr>
            <p:nvPr userDrawn="1"/>
          </p:nvSpPr>
          <p:spPr bwMode="gray">
            <a:xfrm>
              <a:off x="-2449513" y="2527301"/>
              <a:ext cx="215900" cy="215900"/>
            </a:xfrm>
            <a:prstGeom prst="rect">
              <a:avLst/>
            </a:prstGeom>
            <a:solidFill>
              <a:srgbClr val="60A6DA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46" name="Rectangle 112"/>
            <p:cNvSpPr>
              <a:spLocks noChangeArrowheads="1"/>
            </p:cNvSpPr>
            <p:nvPr userDrawn="1"/>
          </p:nvSpPr>
          <p:spPr bwMode="gray">
            <a:xfrm>
              <a:off x="-2159000" y="25368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Sk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96, 166, 2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47" name="Rectangle 113"/>
            <p:cNvSpPr>
              <a:spLocks noChangeArrowheads="1"/>
            </p:cNvSpPr>
            <p:nvPr userDrawn="1"/>
          </p:nvSpPr>
          <p:spPr bwMode="gray">
            <a:xfrm>
              <a:off x="-2449513" y="762000"/>
              <a:ext cx="1692000" cy="165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90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200" b="1" smtClean="0">
                  <a:solidFill>
                    <a:srgbClr val="333333"/>
                  </a:solidFill>
                </a:rPr>
                <a:t>Colour Guidelines</a:t>
              </a:r>
              <a:endParaRPr lang="en-GB" altLang="en-US" sz="1200" b="1">
                <a:solidFill>
                  <a:srgbClr val="333333"/>
                </a:solidFill>
              </a:endParaRPr>
            </a:p>
          </p:txBody>
        </p:sp>
        <p:sp>
          <p:nvSpPr>
            <p:cNvPr id="48" name="Rectangle 107"/>
            <p:cNvSpPr>
              <a:spLocks noChangeArrowheads="1"/>
            </p:cNvSpPr>
            <p:nvPr/>
          </p:nvSpPr>
          <p:spPr bwMode="gray">
            <a:xfrm>
              <a:off x="-2449513" y="2962277"/>
              <a:ext cx="215900" cy="215900"/>
            </a:xfrm>
            <a:prstGeom prst="rect">
              <a:avLst/>
            </a:prstGeom>
            <a:solidFill>
              <a:srgbClr val="AB006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49" name="Rectangle 108"/>
            <p:cNvSpPr>
              <a:spLocks noChangeArrowheads="1"/>
            </p:cNvSpPr>
            <p:nvPr/>
          </p:nvSpPr>
          <p:spPr bwMode="gray">
            <a:xfrm>
              <a:off x="-2159000" y="29876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Fuchsia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71, 0, 102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0" name="Rectangle 109"/>
            <p:cNvSpPr>
              <a:spLocks noChangeArrowheads="1"/>
            </p:cNvSpPr>
            <p:nvPr/>
          </p:nvSpPr>
          <p:spPr bwMode="gray">
            <a:xfrm>
              <a:off x="-2449513" y="3449639"/>
              <a:ext cx="215900" cy="215900"/>
            </a:xfrm>
            <a:prstGeom prst="rect">
              <a:avLst/>
            </a:prstGeom>
            <a:solidFill>
              <a:srgbClr val="D0D93C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1" name="Rectangle 110"/>
            <p:cNvSpPr>
              <a:spLocks noChangeArrowheads="1"/>
            </p:cNvSpPr>
            <p:nvPr/>
          </p:nvSpPr>
          <p:spPr bwMode="gray">
            <a:xfrm>
              <a:off x="-2159000" y="3459164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m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08, 217, 6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2" name="Rectangle 111"/>
            <p:cNvSpPr>
              <a:spLocks noChangeArrowheads="1"/>
            </p:cNvSpPr>
            <p:nvPr/>
          </p:nvSpPr>
          <p:spPr bwMode="gray">
            <a:xfrm>
              <a:off x="-2449513" y="3917952"/>
              <a:ext cx="215900" cy="215900"/>
            </a:xfrm>
            <a:prstGeom prst="rect">
              <a:avLst/>
            </a:prstGeom>
            <a:solidFill>
              <a:srgbClr val="01964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3" name="Rectangle 112"/>
            <p:cNvSpPr>
              <a:spLocks noChangeArrowheads="1"/>
            </p:cNvSpPr>
            <p:nvPr/>
          </p:nvSpPr>
          <p:spPr bwMode="gray">
            <a:xfrm>
              <a:off x="-2159000" y="39274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eaf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2, 150, 8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4" name="Rectangle 109"/>
            <p:cNvSpPr>
              <a:spLocks noChangeArrowheads="1"/>
            </p:cNvSpPr>
            <p:nvPr/>
          </p:nvSpPr>
          <p:spPr bwMode="gray">
            <a:xfrm>
              <a:off x="-2449513" y="4405314"/>
              <a:ext cx="215900" cy="215900"/>
            </a:xfrm>
            <a:prstGeom prst="rect">
              <a:avLst/>
            </a:prstGeom>
            <a:solidFill>
              <a:srgbClr val="76767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5" name="Rectangle 110"/>
            <p:cNvSpPr>
              <a:spLocks noChangeArrowheads="1"/>
            </p:cNvSpPr>
            <p:nvPr/>
          </p:nvSpPr>
          <p:spPr bwMode="gray">
            <a:xfrm>
              <a:off x="-2159000" y="4414839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Mid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18, 118, 1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6" name="Rectangle 111"/>
            <p:cNvSpPr>
              <a:spLocks noChangeArrowheads="1"/>
            </p:cNvSpPr>
            <p:nvPr/>
          </p:nvSpPr>
          <p:spPr bwMode="gray">
            <a:xfrm>
              <a:off x="-2449513" y="4873627"/>
              <a:ext cx="215900" cy="215900"/>
            </a:xfrm>
            <a:prstGeom prst="rect">
              <a:avLst/>
            </a:prstGeom>
            <a:solidFill>
              <a:srgbClr val="333333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7" name="Rectangle 112"/>
            <p:cNvSpPr>
              <a:spLocks noChangeArrowheads="1"/>
            </p:cNvSpPr>
            <p:nvPr/>
          </p:nvSpPr>
          <p:spPr bwMode="gray">
            <a:xfrm>
              <a:off x="-2159000" y="4883152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Text Colour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1, 51, 5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</p:grpSp>
      <p:pic>
        <p:nvPicPr>
          <p:cNvPr id="27" name="Picture 2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28199" y="6203775"/>
            <a:ext cx="1233535" cy="378000"/>
          </a:xfrm>
          <a:prstGeom prst="rect">
            <a:avLst/>
          </a:prstGeom>
        </p:spPr>
      </p:pic>
      <p:pic>
        <p:nvPicPr>
          <p:cNvPr id="28" name="Picture 27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466554" y="4402733"/>
            <a:ext cx="125761" cy="1389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3052505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F Title Slide Alt Confidenti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9" name="Group 78"/>
          <p:cNvGrpSpPr>
            <a:grpSpLocks noChangeAspect="1"/>
          </p:cNvGrpSpPr>
          <p:nvPr userDrawn="1"/>
        </p:nvGrpSpPr>
        <p:grpSpPr bwMode="gray">
          <a:xfrm>
            <a:off x="0" y="1643199"/>
            <a:ext cx="4801323" cy="3045600"/>
            <a:chOff x="3465513" y="2070100"/>
            <a:chExt cx="5260975" cy="2711450"/>
          </a:xfrm>
        </p:grpSpPr>
        <p:sp>
          <p:nvSpPr>
            <p:cNvPr id="80" name="Freeform 5"/>
            <p:cNvSpPr>
              <a:spLocks/>
            </p:cNvSpPr>
            <p:nvPr userDrawn="1"/>
          </p:nvSpPr>
          <p:spPr bwMode="gray">
            <a:xfrm>
              <a:off x="3465513" y="4095750"/>
              <a:ext cx="5260975" cy="685800"/>
            </a:xfrm>
            <a:custGeom>
              <a:avLst/>
              <a:gdLst>
                <a:gd name="T0" fmla="*/ 0 w 1400"/>
                <a:gd name="T1" fmla="*/ 0 h 182"/>
                <a:gd name="T2" fmla="*/ 0 w 1400"/>
                <a:gd name="T3" fmla="*/ 182 h 182"/>
                <a:gd name="T4" fmla="*/ 1376 w 1400"/>
                <a:gd name="T5" fmla="*/ 182 h 182"/>
                <a:gd name="T6" fmla="*/ 1400 w 1400"/>
                <a:gd name="T7" fmla="*/ 158 h 182"/>
                <a:gd name="T8" fmla="*/ 1400 w 1400"/>
                <a:gd name="T9" fmla="*/ 0 h 182"/>
                <a:gd name="T10" fmla="*/ 0 w 1400"/>
                <a:gd name="T11" fmla="*/ 0 h 1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400" h="182">
                  <a:moveTo>
                    <a:pt x="0" y="0"/>
                  </a:moveTo>
                  <a:cubicBezTo>
                    <a:pt x="0" y="182"/>
                    <a:pt x="0" y="182"/>
                    <a:pt x="0" y="182"/>
                  </a:cubicBezTo>
                  <a:cubicBezTo>
                    <a:pt x="1376" y="182"/>
                    <a:pt x="1376" y="182"/>
                    <a:pt x="1376" y="182"/>
                  </a:cubicBezTo>
                  <a:cubicBezTo>
                    <a:pt x="1376" y="182"/>
                    <a:pt x="1400" y="182"/>
                    <a:pt x="1400" y="158"/>
                  </a:cubicBezTo>
                  <a:cubicBezTo>
                    <a:pt x="1400" y="0"/>
                    <a:pt x="1400" y="0"/>
                    <a:pt x="1400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EAEAEA"/>
            </a:solidFill>
            <a:ln w="9525">
              <a:solidFill>
                <a:srgbClr val="EAEAEA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1" name="Freeform 80"/>
            <p:cNvSpPr>
              <a:spLocks/>
            </p:cNvSpPr>
            <p:nvPr userDrawn="1"/>
          </p:nvSpPr>
          <p:spPr bwMode="gray">
            <a:xfrm>
              <a:off x="3465513" y="2070100"/>
              <a:ext cx="5260975" cy="2025650"/>
            </a:xfrm>
            <a:custGeom>
              <a:avLst/>
              <a:gdLst>
                <a:gd name="T0" fmla="*/ 0 w 1400"/>
                <a:gd name="T1" fmla="*/ 0 h 538"/>
                <a:gd name="T2" fmla="*/ 0 w 1400"/>
                <a:gd name="T3" fmla="*/ 538 h 538"/>
                <a:gd name="T4" fmla="*/ 1400 w 1400"/>
                <a:gd name="T5" fmla="*/ 538 h 538"/>
                <a:gd name="T6" fmla="*/ 1400 w 1400"/>
                <a:gd name="T7" fmla="*/ 24 h 538"/>
                <a:gd name="T8" fmla="*/ 1376 w 1400"/>
                <a:gd name="T9" fmla="*/ 0 h 538"/>
                <a:gd name="T10" fmla="*/ 0 w 1400"/>
                <a:gd name="T11" fmla="*/ 0 h 5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400" h="538">
                  <a:moveTo>
                    <a:pt x="0" y="0"/>
                  </a:moveTo>
                  <a:cubicBezTo>
                    <a:pt x="0" y="538"/>
                    <a:pt x="0" y="538"/>
                    <a:pt x="0" y="538"/>
                  </a:cubicBezTo>
                  <a:cubicBezTo>
                    <a:pt x="1400" y="538"/>
                    <a:pt x="1400" y="538"/>
                    <a:pt x="1400" y="538"/>
                  </a:cubicBezTo>
                  <a:cubicBezTo>
                    <a:pt x="1400" y="24"/>
                    <a:pt x="1400" y="24"/>
                    <a:pt x="1400" y="24"/>
                  </a:cubicBezTo>
                  <a:cubicBezTo>
                    <a:pt x="1400" y="24"/>
                    <a:pt x="1400" y="0"/>
                    <a:pt x="1376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F6200"/>
            </a:solidFill>
            <a:ln w="9525">
              <a:solidFill>
                <a:srgbClr val="FF6200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9" name="Title 1"/>
          <p:cNvSpPr>
            <a:spLocks noGrp="1"/>
          </p:cNvSpPr>
          <p:nvPr>
            <p:ph type="ctrTitle"/>
          </p:nvPr>
        </p:nvSpPr>
        <p:spPr bwMode="gray">
          <a:xfrm>
            <a:off x="684479" y="2012286"/>
            <a:ext cx="3963347" cy="1461600"/>
          </a:xfrm>
        </p:spPr>
        <p:txBody>
          <a:bodyPr anchor="ctr" anchorCtr="0">
            <a:noAutofit/>
          </a:bodyPr>
          <a:lstStyle>
            <a:lvl1pPr algn="l">
              <a:lnSpc>
                <a:spcPts val="3800"/>
              </a:lnSpc>
              <a:defRPr sz="3800">
                <a:solidFill>
                  <a:schemeClr val="bg1"/>
                </a:solidFill>
              </a:defRPr>
            </a:lvl1pPr>
          </a:lstStyle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  <p:sp>
        <p:nvSpPr>
          <p:cNvPr id="10" name="Subtitle 2"/>
          <p:cNvSpPr>
            <a:spLocks noGrp="1"/>
          </p:cNvSpPr>
          <p:nvPr>
            <p:ph type="subTitle" idx="1"/>
          </p:nvPr>
        </p:nvSpPr>
        <p:spPr bwMode="gray">
          <a:xfrm>
            <a:off x="684479" y="4031478"/>
            <a:ext cx="3963347" cy="306798"/>
          </a:xfrm>
        </p:spPr>
        <p:txBody>
          <a:bodyPr anchor="ctr" anchorCtr="0">
            <a:noAutofit/>
          </a:bodyPr>
          <a:lstStyle>
            <a:lvl1pPr marL="0" indent="0" algn="l">
              <a:lnSpc>
                <a:spcPts val="2200"/>
              </a:lnSpc>
              <a:buNone/>
              <a:defRPr sz="1700" b="0" i="0"/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nl-NL" noProof="0" smtClean="0"/>
              <a:t>Klik om de ondertitelstijl van het model te bewerken</a:t>
            </a:r>
            <a:endParaRPr lang="en-GB" noProof="0" dirty="0"/>
          </a:p>
        </p:txBody>
      </p:sp>
      <p:sp>
        <p:nvSpPr>
          <p:cNvPr id="11" name="Text Placeholder 6"/>
          <p:cNvSpPr>
            <a:spLocks noGrp="1"/>
          </p:cNvSpPr>
          <p:nvPr>
            <p:ph type="body" sz="quarter" idx="11"/>
          </p:nvPr>
        </p:nvSpPr>
        <p:spPr bwMode="gray">
          <a:xfrm>
            <a:off x="684479" y="3603486"/>
            <a:ext cx="3963347" cy="290712"/>
          </a:xfrm>
        </p:spPr>
        <p:txBody>
          <a:bodyPr bIns="0">
            <a:noAutofit/>
          </a:bodyPr>
          <a:lstStyle>
            <a:lvl1pPr algn="l">
              <a:lnSpc>
                <a:spcPts val="1700"/>
              </a:lnSpc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noProof="0" smtClean="0"/>
              <a:t>Klik om de modelstijlen te bewerken</a:t>
            </a:r>
          </a:p>
        </p:txBody>
      </p:sp>
      <p:sp>
        <p:nvSpPr>
          <p:cNvPr id="12" name="Rectangle 11"/>
          <p:cNvSpPr/>
          <p:nvPr userDrawn="1"/>
        </p:nvSpPr>
        <p:spPr bwMode="gray">
          <a:xfrm>
            <a:off x="2" y="6024880"/>
            <a:ext cx="9904532" cy="8331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2400"/>
          </a:p>
        </p:txBody>
      </p:sp>
      <p:pic>
        <p:nvPicPr>
          <p:cNvPr id="18" name="Picture 17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428199" y="6203775"/>
            <a:ext cx="1233535" cy="378000"/>
          </a:xfrm>
          <a:prstGeom prst="rect">
            <a:avLst/>
          </a:prstGeom>
        </p:spPr>
      </p:pic>
      <p:pic>
        <p:nvPicPr>
          <p:cNvPr id="30" name="Picture Placeholder 36"/>
          <p:cNvPicPr>
            <a:picLocks noChangeAspect="1"/>
          </p:cNvPicPr>
          <p:nvPr userDrawn="1"/>
        </p:nvPicPr>
        <p:blipFill rotWithShape="1">
          <a:blip r:embed="rId3"/>
          <a:stretch/>
        </p:blipFill>
        <p:spPr bwMode="gray">
          <a:xfrm>
            <a:off x="681039" y="6291860"/>
            <a:ext cx="1778050" cy="287825"/>
          </a:xfrm>
          <a:prstGeom prst="rect">
            <a:avLst/>
          </a:prstGeom>
        </p:spPr>
      </p:pic>
      <p:grpSp>
        <p:nvGrpSpPr>
          <p:cNvPr id="48" name="Group 47"/>
          <p:cNvGrpSpPr/>
          <p:nvPr userDrawn="1"/>
        </p:nvGrpSpPr>
        <p:grpSpPr bwMode="gray">
          <a:xfrm>
            <a:off x="-1653580" y="0"/>
            <a:ext cx="1521000" cy="4689612"/>
            <a:chOff x="-2581275" y="595116"/>
            <a:chExt cx="1872000" cy="4689612"/>
          </a:xfrm>
        </p:grpSpPr>
        <p:sp>
          <p:nvSpPr>
            <p:cNvPr id="49" name="Rectangle 104"/>
            <p:cNvSpPr>
              <a:spLocks noChangeArrowheads="1"/>
            </p:cNvSpPr>
            <p:nvPr/>
          </p:nvSpPr>
          <p:spPr bwMode="gray">
            <a:xfrm>
              <a:off x="-2581275" y="4276728"/>
              <a:ext cx="1872000" cy="100800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50" name="Rectangle 104"/>
            <p:cNvSpPr>
              <a:spLocks noChangeArrowheads="1"/>
            </p:cNvSpPr>
            <p:nvPr userDrawn="1"/>
          </p:nvSpPr>
          <p:spPr bwMode="gray">
            <a:xfrm>
              <a:off x="-2581275" y="595116"/>
              <a:ext cx="1872000" cy="3672087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51" name="Rectangle 105"/>
            <p:cNvSpPr>
              <a:spLocks noChangeArrowheads="1"/>
            </p:cNvSpPr>
            <p:nvPr userDrawn="1"/>
          </p:nvSpPr>
          <p:spPr bwMode="gray">
            <a:xfrm>
              <a:off x="-2449513" y="1136650"/>
              <a:ext cx="215900" cy="215900"/>
            </a:xfrm>
            <a:prstGeom prst="rect">
              <a:avLst/>
            </a:prstGeom>
            <a:solidFill>
              <a:srgbClr val="FF6200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52" name="Rectangle 106"/>
            <p:cNvSpPr>
              <a:spLocks noChangeArrowheads="1"/>
            </p:cNvSpPr>
            <p:nvPr userDrawn="1"/>
          </p:nvSpPr>
          <p:spPr bwMode="gray">
            <a:xfrm>
              <a:off x="-2159000" y="1146175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Orang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55, 98, 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3" name="Rectangle 107"/>
            <p:cNvSpPr>
              <a:spLocks noChangeArrowheads="1"/>
            </p:cNvSpPr>
            <p:nvPr userDrawn="1"/>
          </p:nvSpPr>
          <p:spPr bwMode="gray">
            <a:xfrm>
              <a:off x="-2449513" y="1571626"/>
              <a:ext cx="215900" cy="215900"/>
            </a:xfrm>
            <a:prstGeom prst="rect">
              <a:avLst/>
            </a:prstGeom>
            <a:solidFill>
              <a:srgbClr val="A8A8A8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54" name="Rectangle 108"/>
            <p:cNvSpPr>
              <a:spLocks noChangeArrowheads="1"/>
            </p:cNvSpPr>
            <p:nvPr userDrawn="1"/>
          </p:nvSpPr>
          <p:spPr bwMode="gray">
            <a:xfrm>
              <a:off x="-2159000" y="15970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ght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68, 168, 16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5" name="Rectangle 109"/>
            <p:cNvSpPr>
              <a:spLocks noChangeArrowheads="1"/>
            </p:cNvSpPr>
            <p:nvPr userDrawn="1"/>
          </p:nvSpPr>
          <p:spPr bwMode="gray">
            <a:xfrm>
              <a:off x="-2449513" y="2058988"/>
              <a:ext cx="215900" cy="215900"/>
            </a:xfrm>
            <a:prstGeom prst="rect">
              <a:avLst/>
            </a:prstGeom>
            <a:solidFill>
              <a:srgbClr val="52519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56" name="Rectangle 110"/>
            <p:cNvSpPr>
              <a:spLocks noChangeArrowheads="1"/>
            </p:cNvSpPr>
            <p:nvPr userDrawn="1"/>
          </p:nvSpPr>
          <p:spPr bwMode="gray">
            <a:xfrm>
              <a:off x="-2159000" y="2068513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Indigo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82, 81, 153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7" name="Rectangle 111"/>
            <p:cNvSpPr>
              <a:spLocks noChangeArrowheads="1"/>
            </p:cNvSpPr>
            <p:nvPr userDrawn="1"/>
          </p:nvSpPr>
          <p:spPr bwMode="gray">
            <a:xfrm>
              <a:off x="-2449513" y="2527301"/>
              <a:ext cx="215900" cy="215900"/>
            </a:xfrm>
            <a:prstGeom prst="rect">
              <a:avLst/>
            </a:prstGeom>
            <a:solidFill>
              <a:srgbClr val="60A6DA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58" name="Rectangle 112"/>
            <p:cNvSpPr>
              <a:spLocks noChangeArrowheads="1"/>
            </p:cNvSpPr>
            <p:nvPr userDrawn="1"/>
          </p:nvSpPr>
          <p:spPr bwMode="gray">
            <a:xfrm>
              <a:off x="-2159000" y="25368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Sk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96, 166, 2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9" name="Rectangle 113"/>
            <p:cNvSpPr>
              <a:spLocks noChangeArrowheads="1"/>
            </p:cNvSpPr>
            <p:nvPr userDrawn="1"/>
          </p:nvSpPr>
          <p:spPr bwMode="gray">
            <a:xfrm>
              <a:off x="-2449513" y="762000"/>
              <a:ext cx="1692000" cy="165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90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200" b="1" smtClean="0">
                  <a:solidFill>
                    <a:srgbClr val="333333"/>
                  </a:solidFill>
                </a:rPr>
                <a:t>Colour Guidelines</a:t>
              </a:r>
              <a:endParaRPr lang="en-GB" altLang="en-US" sz="1200" b="1">
                <a:solidFill>
                  <a:srgbClr val="333333"/>
                </a:solidFill>
              </a:endParaRPr>
            </a:p>
          </p:txBody>
        </p:sp>
        <p:sp>
          <p:nvSpPr>
            <p:cNvPr id="60" name="Rectangle 107"/>
            <p:cNvSpPr>
              <a:spLocks noChangeArrowheads="1"/>
            </p:cNvSpPr>
            <p:nvPr/>
          </p:nvSpPr>
          <p:spPr bwMode="gray">
            <a:xfrm>
              <a:off x="-2449513" y="2962277"/>
              <a:ext cx="215900" cy="215900"/>
            </a:xfrm>
            <a:prstGeom prst="rect">
              <a:avLst/>
            </a:prstGeom>
            <a:solidFill>
              <a:srgbClr val="AB006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61" name="Rectangle 108"/>
            <p:cNvSpPr>
              <a:spLocks noChangeArrowheads="1"/>
            </p:cNvSpPr>
            <p:nvPr/>
          </p:nvSpPr>
          <p:spPr bwMode="gray">
            <a:xfrm>
              <a:off x="-2159000" y="29876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Fuchsia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71, 0, 102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2" name="Rectangle 109"/>
            <p:cNvSpPr>
              <a:spLocks noChangeArrowheads="1"/>
            </p:cNvSpPr>
            <p:nvPr/>
          </p:nvSpPr>
          <p:spPr bwMode="gray">
            <a:xfrm>
              <a:off x="-2449513" y="3449639"/>
              <a:ext cx="215900" cy="215900"/>
            </a:xfrm>
            <a:prstGeom prst="rect">
              <a:avLst/>
            </a:prstGeom>
            <a:solidFill>
              <a:srgbClr val="D0D93C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63" name="Rectangle 110"/>
            <p:cNvSpPr>
              <a:spLocks noChangeArrowheads="1"/>
            </p:cNvSpPr>
            <p:nvPr/>
          </p:nvSpPr>
          <p:spPr bwMode="gray">
            <a:xfrm>
              <a:off x="-2159000" y="3459164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m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08, 217, 6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4" name="Rectangle 111"/>
            <p:cNvSpPr>
              <a:spLocks noChangeArrowheads="1"/>
            </p:cNvSpPr>
            <p:nvPr/>
          </p:nvSpPr>
          <p:spPr bwMode="gray">
            <a:xfrm>
              <a:off x="-2449513" y="3917952"/>
              <a:ext cx="215900" cy="215900"/>
            </a:xfrm>
            <a:prstGeom prst="rect">
              <a:avLst/>
            </a:prstGeom>
            <a:solidFill>
              <a:srgbClr val="01964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65" name="Rectangle 112"/>
            <p:cNvSpPr>
              <a:spLocks noChangeArrowheads="1"/>
            </p:cNvSpPr>
            <p:nvPr/>
          </p:nvSpPr>
          <p:spPr bwMode="gray">
            <a:xfrm>
              <a:off x="-2159000" y="39274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eaf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2, 150, 8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6" name="Rectangle 109"/>
            <p:cNvSpPr>
              <a:spLocks noChangeArrowheads="1"/>
            </p:cNvSpPr>
            <p:nvPr/>
          </p:nvSpPr>
          <p:spPr bwMode="gray">
            <a:xfrm>
              <a:off x="-2449513" y="4405314"/>
              <a:ext cx="215900" cy="215900"/>
            </a:xfrm>
            <a:prstGeom prst="rect">
              <a:avLst/>
            </a:prstGeom>
            <a:solidFill>
              <a:srgbClr val="76767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67" name="Rectangle 110"/>
            <p:cNvSpPr>
              <a:spLocks noChangeArrowheads="1"/>
            </p:cNvSpPr>
            <p:nvPr/>
          </p:nvSpPr>
          <p:spPr bwMode="gray">
            <a:xfrm>
              <a:off x="-2159000" y="4414839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Mid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18, 118, 1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8" name="Rectangle 111"/>
            <p:cNvSpPr>
              <a:spLocks noChangeArrowheads="1"/>
            </p:cNvSpPr>
            <p:nvPr/>
          </p:nvSpPr>
          <p:spPr bwMode="gray">
            <a:xfrm>
              <a:off x="-2449513" y="4873627"/>
              <a:ext cx="215900" cy="215900"/>
            </a:xfrm>
            <a:prstGeom prst="rect">
              <a:avLst/>
            </a:prstGeom>
            <a:solidFill>
              <a:srgbClr val="333333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69" name="Rectangle 112"/>
            <p:cNvSpPr>
              <a:spLocks noChangeArrowheads="1"/>
            </p:cNvSpPr>
            <p:nvPr/>
          </p:nvSpPr>
          <p:spPr bwMode="gray">
            <a:xfrm>
              <a:off x="-2159000" y="4883152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Text Colour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1, 51, 5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</p:grpSp>
      <p:pic>
        <p:nvPicPr>
          <p:cNvPr id="38" name="Picture 37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-1466554" y="4402733"/>
            <a:ext cx="125761" cy="138908"/>
          </a:xfrm>
          <a:prstGeom prst="rect">
            <a:avLst/>
          </a:prstGeom>
        </p:spPr>
      </p:pic>
      <p:sp>
        <p:nvSpPr>
          <p:cNvPr id="39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684478" y="4381898"/>
            <a:ext cx="3963375" cy="216000"/>
          </a:xfrm>
        </p:spPr>
        <p:txBody>
          <a:bodyPr tIns="0" bIns="0"/>
          <a:lstStyle>
            <a:lvl1pPr marL="0" indent="0" algn="l">
              <a:lnSpc>
                <a:spcPts val="1350"/>
              </a:lnSpc>
              <a:buNone/>
              <a:defRPr sz="1350">
                <a:solidFill>
                  <a:srgbClr val="000000"/>
                </a:solidFill>
                <a:latin typeface="+mn-lt"/>
              </a:defRPr>
            </a:lvl1pPr>
            <a:lvl2pPr>
              <a:defRPr sz="2200">
                <a:solidFill>
                  <a:srgbClr val="000000"/>
                </a:solidFill>
              </a:defRPr>
            </a:lvl2pPr>
            <a:lvl3pPr>
              <a:defRPr sz="2200">
                <a:solidFill>
                  <a:srgbClr val="000000"/>
                </a:solidFill>
              </a:defRPr>
            </a:lvl3pPr>
            <a:lvl4pPr>
              <a:defRPr sz="2200">
                <a:solidFill>
                  <a:srgbClr val="000000"/>
                </a:solidFill>
              </a:defRPr>
            </a:lvl4pPr>
            <a:lvl5pPr>
              <a:defRPr sz="2200">
                <a:solidFill>
                  <a:srgbClr val="000000"/>
                </a:solidFill>
              </a:defRPr>
            </a:lvl5pPr>
          </a:lstStyle>
          <a:p>
            <a:pPr lvl="0"/>
            <a:r>
              <a:rPr lang="en-GB" noProof="0" dirty="0" smtClean="0"/>
              <a:t>Click to edit location and date</a:t>
            </a:r>
          </a:p>
        </p:txBody>
      </p:sp>
      <p:sp>
        <p:nvSpPr>
          <p:cNvPr id="70" name="Picture Placeholder 69"/>
          <p:cNvSpPr>
            <a:spLocks noGrp="1"/>
          </p:cNvSpPr>
          <p:nvPr>
            <p:ph type="pic" sz="quarter" idx="12"/>
          </p:nvPr>
        </p:nvSpPr>
        <p:spPr bwMode="gray">
          <a:xfrm>
            <a:off x="-2579" y="4"/>
            <a:ext cx="9908580" cy="6024879"/>
          </a:xfrm>
          <a:custGeom>
            <a:avLst/>
            <a:gdLst>
              <a:gd name="connsiteX0" fmla="*/ 11239226 w 12195175"/>
              <a:gd name="connsiteY0" fmla="*/ 0 h 6024879"/>
              <a:gd name="connsiteX1" fmla="*/ 12195175 w 12195175"/>
              <a:gd name="connsiteY1" fmla="*/ 0 h 6024879"/>
              <a:gd name="connsiteX2" fmla="*/ 12195175 w 12195175"/>
              <a:gd name="connsiteY2" fmla="*/ 955949 h 6024879"/>
              <a:gd name="connsiteX3" fmla="*/ 0 w 12195175"/>
              <a:gd name="connsiteY3" fmla="*/ 0 h 6024879"/>
              <a:gd name="connsiteX4" fmla="*/ 10750550 w 12195175"/>
              <a:gd name="connsiteY4" fmla="*/ 0 h 6024879"/>
              <a:gd name="connsiteX5" fmla="*/ 12195175 w 12195175"/>
              <a:gd name="connsiteY5" fmla="*/ 1444625 h 6024879"/>
              <a:gd name="connsiteX6" fmla="*/ 12195175 w 12195175"/>
              <a:gd name="connsiteY6" fmla="*/ 6024879 h 6024879"/>
              <a:gd name="connsiteX7" fmla="*/ 0 w 12195175"/>
              <a:gd name="connsiteY7" fmla="*/ 6024879 h 6024879"/>
              <a:gd name="connsiteX8" fmla="*/ 0 w 12195175"/>
              <a:gd name="connsiteY8" fmla="*/ 4688798 h 6024879"/>
              <a:gd name="connsiteX9" fmla="*/ 3176 w 12195175"/>
              <a:gd name="connsiteY9" fmla="*/ 4688798 h 6024879"/>
              <a:gd name="connsiteX10" fmla="*/ 61412 w 12195175"/>
              <a:gd name="connsiteY10" fmla="*/ 4688798 h 6024879"/>
              <a:gd name="connsiteX11" fmla="*/ 530839 w 12195175"/>
              <a:gd name="connsiteY11" fmla="*/ 4688798 h 6024879"/>
              <a:gd name="connsiteX12" fmla="*/ 5811194 w 12195175"/>
              <a:gd name="connsiteY12" fmla="*/ 4688798 h 6024879"/>
              <a:gd name="connsiteX13" fmla="*/ 5912496 w 12195175"/>
              <a:gd name="connsiteY13" fmla="*/ 4587218 h 6024879"/>
              <a:gd name="connsiteX14" fmla="*/ 5912496 w 12195175"/>
              <a:gd name="connsiteY14" fmla="*/ 3918482 h 6024879"/>
              <a:gd name="connsiteX15" fmla="*/ 5912496 w 12195175"/>
              <a:gd name="connsiteY15" fmla="*/ 1744697 h 6024879"/>
              <a:gd name="connsiteX16" fmla="*/ 5811194 w 12195175"/>
              <a:gd name="connsiteY16" fmla="*/ 1643198 h 6024879"/>
              <a:gd name="connsiteX17" fmla="*/ 61412 w 12195175"/>
              <a:gd name="connsiteY17" fmla="*/ 1643198 h 6024879"/>
              <a:gd name="connsiteX18" fmla="*/ 3176 w 12195175"/>
              <a:gd name="connsiteY18" fmla="*/ 1643198 h 6024879"/>
              <a:gd name="connsiteX19" fmla="*/ 0 w 12195175"/>
              <a:gd name="connsiteY19" fmla="*/ 1643198 h 60248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12195175" h="6024879">
                <a:moveTo>
                  <a:pt x="11239226" y="0"/>
                </a:moveTo>
                <a:lnTo>
                  <a:pt x="12195175" y="0"/>
                </a:lnTo>
                <a:lnTo>
                  <a:pt x="12195175" y="955949"/>
                </a:lnTo>
                <a:close/>
                <a:moveTo>
                  <a:pt x="0" y="0"/>
                </a:moveTo>
                <a:lnTo>
                  <a:pt x="10750550" y="0"/>
                </a:lnTo>
                <a:lnTo>
                  <a:pt x="12195175" y="1444625"/>
                </a:lnTo>
                <a:lnTo>
                  <a:pt x="12195175" y="6024879"/>
                </a:lnTo>
                <a:lnTo>
                  <a:pt x="0" y="6024879"/>
                </a:lnTo>
                <a:lnTo>
                  <a:pt x="0" y="4688798"/>
                </a:lnTo>
                <a:lnTo>
                  <a:pt x="3176" y="4688798"/>
                </a:lnTo>
                <a:lnTo>
                  <a:pt x="61412" y="4688798"/>
                </a:lnTo>
                <a:lnTo>
                  <a:pt x="530839" y="4688798"/>
                </a:lnTo>
                <a:cubicBezTo>
                  <a:pt x="5811194" y="4688798"/>
                  <a:pt x="5811194" y="4688798"/>
                  <a:pt x="5811194" y="4688798"/>
                </a:cubicBezTo>
                <a:cubicBezTo>
                  <a:pt x="5811194" y="4688798"/>
                  <a:pt x="5912496" y="4688798"/>
                  <a:pt x="5912496" y="4587218"/>
                </a:cubicBezTo>
                <a:cubicBezTo>
                  <a:pt x="5912496" y="3918482"/>
                  <a:pt x="5912496" y="3918482"/>
                  <a:pt x="5912496" y="3918482"/>
                </a:cubicBezTo>
                <a:cubicBezTo>
                  <a:pt x="5912496" y="1744697"/>
                  <a:pt x="5912496" y="1744697"/>
                  <a:pt x="5912496" y="1744697"/>
                </a:cubicBezTo>
                <a:cubicBezTo>
                  <a:pt x="5912496" y="1744697"/>
                  <a:pt x="5912496" y="1643198"/>
                  <a:pt x="5811194" y="1643198"/>
                </a:cubicBezTo>
                <a:lnTo>
                  <a:pt x="61412" y="1643198"/>
                </a:lnTo>
                <a:lnTo>
                  <a:pt x="3176" y="1643198"/>
                </a:lnTo>
                <a:lnTo>
                  <a:pt x="0" y="1643198"/>
                </a:lnTo>
                <a:close/>
              </a:path>
            </a:pathLst>
          </a:custGeom>
          <a:solidFill>
            <a:srgbClr val="E9E9E9">
              <a:alpha val="10000"/>
            </a:srgbClr>
          </a:solidFill>
        </p:spPr>
        <p:txBody>
          <a:bodyPr wrap="square" lIns="2880000" tIns="0" anchor="ctr" anchorCtr="0">
            <a:noAutofit/>
          </a:bodyPr>
          <a:lstStyle>
            <a:lvl1pPr algn="ctr">
              <a:defRPr sz="1400" b="0"/>
            </a:lvl1pPr>
          </a:lstStyle>
          <a:p>
            <a:r>
              <a:rPr lang="nl-NL" smtClean="0"/>
              <a:t>Klik op het pictogram als u een afbeelding wilt toevoegen</a:t>
            </a:r>
            <a:endParaRPr lang="en-GB"/>
          </a:p>
        </p:txBody>
      </p:sp>
      <p:grpSp>
        <p:nvGrpSpPr>
          <p:cNvPr id="40" name="Group 39"/>
          <p:cNvGrpSpPr/>
          <p:nvPr userDrawn="1"/>
        </p:nvGrpSpPr>
        <p:grpSpPr>
          <a:xfrm>
            <a:off x="8733700" y="-133099"/>
            <a:ext cx="1170834" cy="1565166"/>
            <a:chOff x="5364088" y="4720073"/>
            <a:chExt cx="1441027" cy="1565166"/>
          </a:xfrm>
        </p:grpSpPr>
        <p:sp>
          <p:nvSpPr>
            <p:cNvPr id="41" name="Freeform 5"/>
            <p:cNvSpPr>
              <a:spLocks/>
            </p:cNvSpPr>
            <p:nvPr/>
          </p:nvSpPr>
          <p:spPr bwMode="gray">
            <a:xfrm>
              <a:off x="5364088" y="4844212"/>
              <a:ext cx="1441027" cy="1441027"/>
            </a:xfrm>
            <a:custGeom>
              <a:avLst/>
              <a:gdLst>
                <a:gd name="T0" fmla="*/ 0 w 810"/>
                <a:gd name="T1" fmla="*/ 0 h 810"/>
                <a:gd name="T2" fmla="*/ 810 w 810"/>
                <a:gd name="T3" fmla="*/ 810 h 810"/>
                <a:gd name="T4" fmla="*/ 810 w 810"/>
                <a:gd name="T5" fmla="*/ 536 h 810"/>
                <a:gd name="T6" fmla="*/ 274 w 810"/>
                <a:gd name="T7" fmla="*/ 0 h 810"/>
                <a:gd name="T8" fmla="*/ 0 w 810"/>
                <a:gd name="T9" fmla="*/ 0 h 8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10" h="810">
                  <a:moveTo>
                    <a:pt x="0" y="0"/>
                  </a:moveTo>
                  <a:lnTo>
                    <a:pt x="810" y="810"/>
                  </a:lnTo>
                  <a:lnTo>
                    <a:pt x="810" y="536"/>
                  </a:lnTo>
                  <a:lnTo>
                    <a:pt x="274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17A7DC"/>
            </a:solidFill>
            <a:ln w="3175">
              <a:solidFill>
                <a:srgbClr val="17A7DC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/>
            </a:p>
          </p:txBody>
        </p:sp>
        <p:sp>
          <p:nvSpPr>
            <p:cNvPr id="42" name="Title 14"/>
            <p:cNvSpPr txBox="1">
              <a:spLocks/>
            </p:cNvSpPr>
            <p:nvPr userDrawn="1"/>
          </p:nvSpPr>
          <p:spPr bwMode="gray">
            <a:xfrm rot="2700000">
              <a:off x="5481455" y="5320862"/>
              <a:ext cx="1447800" cy="246221"/>
            </a:xfrm>
            <a:prstGeom prst="rect">
              <a:avLst/>
            </a:prstGeom>
          </p:spPr>
          <p:txBody>
            <a:bodyPr vert="horz" wrap="none" lIns="0" tIns="0" rIns="0" bIns="0" rtlCol="0" anchor="ctr" anchorCtr="0">
              <a:noAutofit/>
            </a:bodyPr>
            <a:lstStyle>
              <a:lvl1pPr algn="l" defTabSz="914400" rtl="0" eaLnBrk="1" latinLnBrk="0" hangingPunct="1">
                <a:lnSpc>
                  <a:spcPts val="4600"/>
                </a:lnSpc>
                <a:spcBef>
                  <a:spcPct val="0"/>
                </a:spcBef>
                <a:buNone/>
                <a:defRPr sz="4400" b="1" kern="1200" baseline="0">
                  <a:solidFill>
                    <a:schemeClr val="bg1"/>
                  </a:solidFill>
                  <a:latin typeface="+mj-lt"/>
                  <a:ea typeface="+mj-ea"/>
                  <a:cs typeface="Arial" panose="020B0604020202020204" pitchFamily="34" charset="0"/>
                </a:defRPr>
              </a:lvl1pPr>
            </a:lstStyle>
            <a:p>
              <a:pPr algn="ctr">
                <a:lnSpc>
                  <a:spcPct val="100000"/>
                </a:lnSpc>
              </a:pPr>
              <a:r>
                <a:rPr lang="en-US" sz="1600" smtClean="0"/>
                <a:t>Confidential</a:t>
              </a:r>
              <a:endParaRPr lang="en-GB" sz="1600" dirty="0"/>
            </a:p>
          </p:txBody>
        </p:sp>
      </p:grpSp>
    </p:spTree>
    <p:extLst>
      <p:ext uri="{BB962C8B-B14F-4D97-AF65-F5344CB8AC3E}">
        <p14:creationId xmlns:p14="http://schemas.microsoft.com/office/powerpoint/2010/main" val="15469895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1" orient="horz" pos="4135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ex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5"/>
          <p:cNvSpPr>
            <a:spLocks noChangeAspect="1"/>
          </p:cNvSpPr>
          <p:nvPr userDrawn="1"/>
        </p:nvSpPr>
        <p:spPr bwMode="gray">
          <a:xfrm>
            <a:off x="566241" y="1201148"/>
            <a:ext cx="9099675" cy="4999653"/>
          </a:xfrm>
          <a:custGeom>
            <a:avLst/>
            <a:gdLst>
              <a:gd name="connsiteX0" fmla="*/ 95997 w 11199600"/>
              <a:gd name="connsiteY0" fmla="*/ 0 h 4999653"/>
              <a:gd name="connsiteX1" fmla="*/ 11103603 w 11199600"/>
              <a:gd name="connsiteY1" fmla="*/ 0 h 4999653"/>
              <a:gd name="connsiteX2" fmla="*/ 11199600 w 11199600"/>
              <a:gd name="connsiteY2" fmla="*/ 96110 h 4999653"/>
              <a:gd name="connsiteX3" fmla="*/ 11199600 w 11199600"/>
              <a:gd name="connsiteY3" fmla="*/ 335165 h 4999653"/>
              <a:gd name="connsiteX4" fmla="*/ 11199600 w 11199600"/>
              <a:gd name="connsiteY4" fmla="*/ 370350 h 4999653"/>
              <a:gd name="connsiteX5" fmla="*/ 11199600 w 11199600"/>
              <a:gd name="connsiteY5" fmla="*/ 379204 h 4999653"/>
              <a:gd name="connsiteX6" fmla="*/ 11199600 w 11199600"/>
              <a:gd name="connsiteY6" fmla="*/ 400048 h 4999653"/>
              <a:gd name="connsiteX7" fmla="*/ 11199600 w 11199600"/>
              <a:gd name="connsiteY7" fmla="*/ 400232 h 4999653"/>
              <a:gd name="connsiteX8" fmla="*/ 11199600 w 11199600"/>
              <a:gd name="connsiteY8" fmla="*/ 471202 h 4999653"/>
              <a:gd name="connsiteX9" fmla="*/ 11199600 w 11199600"/>
              <a:gd name="connsiteY9" fmla="*/ 475721 h 4999653"/>
              <a:gd name="connsiteX10" fmla="*/ 11199600 w 11199600"/>
              <a:gd name="connsiteY10" fmla="*/ 508692 h 4999653"/>
              <a:gd name="connsiteX11" fmla="*/ 11199600 w 11199600"/>
              <a:gd name="connsiteY11" fmla="*/ 554484 h 4999653"/>
              <a:gd name="connsiteX12" fmla="*/ 11199600 w 11199600"/>
              <a:gd name="connsiteY12" fmla="*/ 563015 h 4999653"/>
              <a:gd name="connsiteX13" fmla="*/ 11199600 w 11199600"/>
              <a:gd name="connsiteY13" fmla="*/ 609405 h 4999653"/>
              <a:gd name="connsiteX14" fmla="*/ 11199600 w 11199600"/>
              <a:gd name="connsiteY14" fmla="*/ 662759 h 4999653"/>
              <a:gd name="connsiteX15" fmla="*/ 11199600 w 11199600"/>
              <a:gd name="connsiteY15" fmla="*/ 674288 h 4999653"/>
              <a:gd name="connsiteX16" fmla="*/ 11199600 w 11199600"/>
              <a:gd name="connsiteY16" fmla="*/ 749961 h 4999653"/>
              <a:gd name="connsiteX17" fmla="*/ 11199600 w 11199600"/>
              <a:gd name="connsiteY17" fmla="*/ 775785 h 4999653"/>
              <a:gd name="connsiteX18" fmla="*/ 11199600 w 11199600"/>
              <a:gd name="connsiteY18" fmla="*/ 837255 h 4999653"/>
              <a:gd name="connsiteX19" fmla="*/ 11199600 w 11199600"/>
              <a:gd name="connsiteY19" fmla="*/ 902921 h 4999653"/>
              <a:gd name="connsiteX20" fmla="*/ 11199600 w 11199600"/>
              <a:gd name="connsiteY20" fmla="*/ 936999 h 4999653"/>
              <a:gd name="connsiteX21" fmla="*/ 11199600 w 11199600"/>
              <a:gd name="connsiteY21" fmla="*/ 1044999 h 4999653"/>
              <a:gd name="connsiteX22" fmla="*/ 11199600 w 11199600"/>
              <a:gd name="connsiteY22" fmla="*/ 1050025 h 4999653"/>
              <a:gd name="connsiteX23" fmla="*/ 11199600 w 11199600"/>
              <a:gd name="connsiteY23" fmla="*/ 1177161 h 4999653"/>
              <a:gd name="connsiteX24" fmla="*/ 11199600 w 11199600"/>
              <a:gd name="connsiteY24" fmla="*/ 1202847 h 4999653"/>
              <a:gd name="connsiteX25" fmla="*/ 11199600 w 11199600"/>
              <a:gd name="connsiteY25" fmla="*/ 1319239 h 4999653"/>
              <a:gd name="connsiteX26" fmla="*/ 11199600 w 11199600"/>
              <a:gd name="connsiteY26" fmla="*/ 1377296 h 4999653"/>
              <a:gd name="connsiteX27" fmla="*/ 11199600 w 11199600"/>
              <a:gd name="connsiteY27" fmla="*/ 1477087 h 4999653"/>
              <a:gd name="connsiteX28" fmla="*/ 11199600 w 11199600"/>
              <a:gd name="connsiteY28" fmla="*/ 1569177 h 4999653"/>
              <a:gd name="connsiteX29" fmla="*/ 11199600 w 11199600"/>
              <a:gd name="connsiteY29" fmla="*/ 1651536 h 4999653"/>
              <a:gd name="connsiteX30" fmla="*/ 11199600 w 11199600"/>
              <a:gd name="connsiteY30" fmla="*/ 1779318 h 4999653"/>
              <a:gd name="connsiteX31" fmla="*/ 11199600 w 11199600"/>
              <a:gd name="connsiteY31" fmla="*/ 1843417 h 4999653"/>
              <a:gd name="connsiteX32" fmla="*/ 11199600 w 11199600"/>
              <a:gd name="connsiteY32" fmla="*/ 2008551 h 4999653"/>
              <a:gd name="connsiteX33" fmla="*/ 11199600 w 11199600"/>
              <a:gd name="connsiteY33" fmla="*/ 2053558 h 4999653"/>
              <a:gd name="connsiteX34" fmla="*/ 11199600 w 11199600"/>
              <a:gd name="connsiteY34" fmla="*/ 2257705 h 4999653"/>
              <a:gd name="connsiteX35" fmla="*/ 11199600 w 11199600"/>
              <a:gd name="connsiteY35" fmla="*/ 2282791 h 4999653"/>
              <a:gd name="connsiteX36" fmla="*/ 11199600 w 11199600"/>
              <a:gd name="connsiteY36" fmla="*/ 2527610 h 4999653"/>
              <a:gd name="connsiteX37" fmla="*/ 11199600 w 11199600"/>
              <a:gd name="connsiteY37" fmla="*/ 2531945 h 4999653"/>
              <a:gd name="connsiteX38" fmla="*/ 11199600 w 11199600"/>
              <a:gd name="connsiteY38" fmla="*/ 2801851 h 4999653"/>
              <a:gd name="connsiteX39" fmla="*/ 11199600 w 11199600"/>
              <a:gd name="connsiteY39" fmla="*/ 2819097 h 4999653"/>
              <a:gd name="connsiteX40" fmla="*/ 11199600 w 11199600"/>
              <a:gd name="connsiteY40" fmla="*/ 3093337 h 4999653"/>
              <a:gd name="connsiteX41" fmla="*/ 11199600 w 11199600"/>
              <a:gd name="connsiteY41" fmla="*/ 3132995 h 4999653"/>
              <a:gd name="connsiteX42" fmla="*/ 11199600 w 11199600"/>
              <a:gd name="connsiteY42" fmla="*/ 3407236 h 4999653"/>
              <a:gd name="connsiteX43" fmla="*/ 11199600 w 11199600"/>
              <a:gd name="connsiteY43" fmla="*/ 3470135 h 4999653"/>
              <a:gd name="connsiteX44" fmla="*/ 11199600 w 11199600"/>
              <a:gd name="connsiteY44" fmla="*/ 3744375 h 4999653"/>
              <a:gd name="connsiteX45" fmla="*/ 11199600 w 11199600"/>
              <a:gd name="connsiteY45" fmla="*/ 3831346 h 4999653"/>
              <a:gd name="connsiteX46" fmla="*/ 11199600 w 11199600"/>
              <a:gd name="connsiteY46" fmla="*/ 4105586 h 4999653"/>
              <a:gd name="connsiteX47" fmla="*/ 11199600 w 11199600"/>
              <a:gd name="connsiteY47" fmla="*/ 4217459 h 4999653"/>
              <a:gd name="connsiteX48" fmla="*/ 11199600 w 11199600"/>
              <a:gd name="connsiteY48" fmla="*/ 4491699 h 4999653"/>
              <a:gd name="connsiteX49" fmla="*/ 11199600 w 11199600"/>
              <a:gd name="connsiteY49" fmla="*/ 4629303 h 4999653"/>
              <a:gd name="connsiteX50" fmla="*/ 11199600 w 11199600"/>
              <a:gd name="connsiteY50" fmla="*/ 4903543 h 4999653"/>
              <a:gd name="connsiteX51" fmla="*/ 11103603 w 11199600"/>
              <a:gd name="connsiteY51" fmla="*/ 4999653 h 4999653"/>
              <a:gd name="connsiteX52" fmla="*/ 95997 w 11199600"/>
              <a:gd name="connsiteY52" fmla="*/ 4999653 h 4999653"/>
              <a:gd name="connsiteX53" fmla="*/ 0 w 11199600"/>
              <a:gd name="connsiteY53" fmla="*/ 4903543 h 4999653"/>
              <a:gd name="connsiteX54" fmla="*/ 0 w 11199600"/>
              <a:gd name="connsiteY54" fmla="*/ 4664488 h 4999653"/>
              <a:gd name="connsiteX55" fmla="*/ 0 w 11199600"/>
              <a:gd name="connsiteY55" fmla="*/ 4629303 h 4999653"/>
              <a:gd name="connsiteX56" fmla="*/ 0 w 11199600"/>
              <a:gd name="connsiteY56" fmla="*/ 4628197 h 4999653"/>
              <a:gd name="connsiteX57" fmla="*/ 0 w 11199600"/>
              <a:gd name="connsiteY57" fmla="*/ 4620449 h 4999653"/>
              <a:gd name="connsiteX58" fmla="*/ 0 w 11199600"/>
              <a:gd name="connsiteY58" fmla="*/ 4599606 h 4999653"/>
              <a:gd name="connsiteX59" fmla="*/ 0 w 11199600"/>
              <a:gd name="connsiteY59" fmla="*/ 4599421 h 4999653"/>
              <a:gd name="connsiteX60" fmla="*/ 0 w 11199600"/>
              <a:gd name="connsiteY60" fmla="*/ 4558472 h 4999653"/>
              <a:gd name="connsiteX61" fmla="*/ 0 w 11199600"/>
              <a:gd name="connsiteY61" fmla="*/ 4528452 h 4999653"/>
              <a:gd name="connsiteX62" fmla="*/ 0 w 11199600"/>
              <a:gd name="connsiteY62" fmla="*/ 4523933 h 4999653"/>
              <a:gd name="connsiteX63" fmla="*/ 0 w 11199600"/>
              <a:gd name="connsiteY63" fmla="*/ 4490961 h 4999653"/>
              <a:gd name="connsiteX64" fmla="*/ 0 w 11199600"/>
              <a:gd name="connsiteY64" fmla="*/ 4445170 h 4999653"/>
              <a:gd name="connsiteX65" fmla="*/ 0 w 11199600"/>
              <a:gd name="connsiteY65" fmla="*/ 4436639 h 4999653"/>
              <a:gd name="connsiteX66" fmla="*/ 0 w 11199600"/>
              <a:gd name="connsiteY66" fmla="*/ 4390248 h 4999653"/>
              <a:gd name="connsiteX67" fmla="*/ 0 w 11199600"/>
              <a:gd name="connsiteY67" fmla="*/ 4336894 h 4999653"/>
              <a:gd name="connsiteX68" fmla="*/ 0 w 11199600"/>
              <a:gd name="connsiteY68" fmla="*/ 4325366 h 4999653"/>
              <a:gd name="connsiteX69" fmla="*/ 0 w 11199600"/>
              <a:gd name="connsiteY69" fmla="*/ 4249693 h 4999653"/>
              <a:gd name="connsiteX70" fmla="*/ 0 w 11199600"/>
              <a:gd name="connsiteY70" fmla="*/ 4223869 h 4999653"/>
              <a:gd name="connsiteX71" fmla="*/ 0 w 11199600"/>
              <a:gd name="connsiteY71" fmla="*/ 4162399 h 4999653"/>
              <a:gd name="connsiteX72" fmla="*/ 0 w 11199600"/>
              <a:gd name="connsiteY72" fmla="*/ 4096732 h 4999653"/>
              <a:gd name="connsiteX73" fmla="*/ 0 w 11199600"/>
              <a:gd name="connsiteY73" fmla="*/ 4062654 h 4999653"/>
              <a:gd name="connsiteX74" fmla="*/ 0 w 11199600"/>
              <a:gd name="connsiteY74" fmla="*/ 3954655 h 4999653"/>
              <a:gd name="connsiteX75" fmla="*/ 0 w 11199600"/>
              <a:gd name="connsiteY75" fmla="*/ 3949629 h 4999653"/>
              <a:gd name="connsiteX76" fmla="*/ 0 w 11199600"/>
              <a:gd name="connsiteY76" fmla="*/ 3822492 h 4999653"/>
              <a:gd name="connsiteX77" fmla="*/ 0 w 11199600"/>
              <a:gd name="connsiteY77" fmla="*/ 3796807 h 4999653"/>
              <a:gd name="connsiteX78" fmla="*/ 0 w 11199600"/>
              <a:gd name="connsiteY78" fmla="*/ 3680415 h 4999653"/>
              <a:gd name="connsiteX79" fmla="*/ 0 w 11199600"/>
              <a:gd name="connsiteY79" fmla="*/ 3622357 h 4999653"/>
              <a:gd name="connsiteX80" fmla="*/ 0 w 11199600"/>
              <a:gd name="connsiteY80" fmla="*/ 3522567 h 4999653"/>
              <a:gd name="connsiteX81" fmla="*/ 0 w 11199600"/>
              <a:gd name="connsiteY81" fmla="*/ 3430477 h 4999653"/>
              <a:gd name="connsiteX82" fmla="*/ 0 w 11199600"/>
              <a:gd name="connsiteY82" fmla="*/ 3348117 h 4999653"/>
              <a:gd name="connsiteX83" fmla="*/ 0 w 11199600"/>
              <a:gd name="connsiteY83" fmla="*/ 3220335 h 4999653"/>
              <a:gd name="connsiteX84" fmla="*/ 0 w 11199600"/>
              <a:gd name="connsiteY84" fmla="*/ 3156237 h 4999653"/>
              <a:gd name="connsiteX85" fmla="*/ 0 w 11199600"/>
              <a:gd name="connsiteY85" fmla="*/ 2991102 h 4999653"/>
              <a:gd name="connsiteX86" fmla="*/ 0 w 11199600"/>
              <a:gd name="connsiteY86" fmla="*/ 2946095 h 4999653"/>
              <a:gd name="connsiteX87" fmla="*/ 0 w 11199600"/>
              <a:gd name="connsiteY87" fmla="*/ 2741948 h 4999653"/>
              <a:gd name="connsiteX88" fmla="*/ 0 w 11199600"/>
              <a:gd name="connsiteY88" fmla="*/ 2716862 h 4999653"/>
              <a:gd name="connsiteX89" fmla="*/ 0 w 11199600"/>
              <a:gd name="connsiteY89" fmla="*/ 2472043 h 4999653"/>
              <a:gd name="connsiteX90" fmla="*/ 0 w 11199600"/>
              <a:gd name="connsiteY90" fmla="*/ 2467708 h 4999653"/>
              <a:gd name="connsiteX91" fmla="*/ 0 w 11199600"/>
              <a:gd name="connsiteY91" fmla="*/ 2197803 h 4999653"/>
              <a:gd name="connsiteX92" fmla="*/ 0 w 11199600"/>
              <a:gd name="connsiteY92" fmla="*/ 2180556 h 4999653"/>
              <a:gd name="connsiteX93" fmla="*/ 0 w 11199600"/>
              <a:gd name="connsiteY93" fmla="*/ 1906316 h 4999653"/>
              <a:gd name="connsiteX94" fmla="*/ 0 w 11199600"/>
              <a:gd name="connsiteY94" fmla="*/ 1866658 h 4999653"/>
              <a:gd name="connsiteX95" fmla="*/ 0 w 11199600"/>
              <a:gd name="connsiteY95" fmla="*/ 1592418 h 4999653"/>
              <a:gd name="connsiteX96" fmla="*/ 0 w 11199600"/>
              <a:gd name="connsiteY96" fmla="*/ 1529519 h 4999653"/>
              <a:gd name="connsiteX97" fmla="*/ 0 w 11199600"/>
              <a:gd name="connsiteY97" fmla="*/ 1255278 h 4999653"/>
              <a:gd name="connsiteX98" fmla="*/ 0 w 11199600"/>
              <a:gd name="connsiteY98" fmla="*/ 1168307 h 4999653"/>
              <a:gd name="connsiteX99" fmla="*/ 0 w 11199600"/>
              <a:gd name="connsiteY99" fmla="*/ 894067 h 4999653"/>
              <a:gd name="connsiteX100" fmla="*/ 0 w 11199600"/>
              <a:gd name="connsiteY100" fmla="*/ 782195 h 4999653"/>
              <a:gd name="connsiteX101" fmla="*/ 0 w 11199600"/>
              <a:gd name="connsiteY101" fmla="*/ 507955 h 4999653"/>
              <a:gd name="connsiteX102" fmla="*/ 0 w 11199600"/>
              <a:gd name="connsiteY102" fmla="*/ 370350 h 4999653"/>
              <a:gd name="connsiteX103" fmla="*/ 0 w 11199600"/>
              <a:gd name="connsiteY103" fmla="*/ 96110 h 4999653"/>
              <a:gd name="connsiteX104" fmla="*/ 95997 w 11199600"/>
              <a:gd name="connsiteY104" fmla="*/ 0 h 49996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</a:cxnLst>
            <a:rect l="l" t="t" r="r" b="b"/>
            <a:pathLst>
              <a:path w="11199600" h="4999653">
                <a:moveTo>
                  <a:pt x="95997" y="0"/>
                </a:moveTo>
                <a:lnTo>
                  <a:pt x="11103603" y="0"/>
                </a:lnTo>
                <a:cubicBezTo>
                  <a:pt x="11199600" y="0"/>
                  <a:pt x="11199600" y="96110"/>
                  <a:pt x="11199600" y="96110"/>
                </a:cubicBezTo>
                <a:cubicBezTo>
                  <a:pt x="11199600" y="96110"/>
                  <a:pt x="11199600" y="96110"/>
                  <a:pt x="11199600" y="335165"/>
                </a:cubicBezTo>
                <a:lnTo>
                  <a:pt x="11199600" y="370350"/>
                </a:lnTo>
                <a:cubicBezTo>
                  <a:pt x="11199600" y="370350"/>
                  <a:pt x="11199600" y="370350"/>
                  <a:pt x="11199600" y="379204"/>
                </a:cubicBezTo>
                <a:lnTo>
                  <a:pt x="11199600" y="400048"/>
                </a:lnTo>
                <a:lnTo>
                  <a:pt x="11199600" y="400232"/>
                </a:lnTo>
                <a:cubicBezTo>
                  <a:pt x="11199600" y="415173"/>
                  <a:pt x="11199600" y="437585"/>
                  <a:pt x="11199600" y="471202"/>
                </a:cubicBezTo>
                <a:lnTo>
                  <a:pt x="11199600" y="475721"/>
                </a:lnTo>
                <a:lnTo>
                  <a:pt x="11199600" y="508692"/>
                </a:lnTo>
                <a:cubicBezTo>
                  <a:pt x="11199600" y="522527"/>
                  <a:pt x="11199600" y="537744"/>
                  <a:pt x="11199600" y="554484"/>
                </a:cubicBezTo>
                <a:lnTo>
                  <a:pt x="11199600" y="563015"/>
                </a:lnTo>
                <a:lnTo>
                  <a:pt x="11199600" y="609405"/>
                </a:lnTo>
                <a:lnTo>
                  <a:pt x="11199600" y="662759"/>
                </a:lnTo>
                <a:lnTo>
                  <a:pt x="11199600" y="674288"/>
                </a:lnTo>
                <a:cubicBezTo>
                  <a:pt x="11199600" y="697668"/>
                  <a:pt x="11199600" y="722846"/>
                  <a:pt x="11199600" y="749961"/>
                </a:cubicBezTo>
                <a:lnTo>
                  <a:pt x="11199600" y="775785"/>
                </a:lnTo>
                <a:lnTo>
                  <a:pt x="11199600" y="837255"/>
                </a:lnTo>
                <a:lnTo>
                  <a:pt x="11199600" y="902921"/>
                </a:lnTo>
                <a:lnTo>
                  <a:pt x="11199600" y="936999"/>
                </a:lnTo>
                <a:lnTo>
                  <a:pt x="11199600" y="1044999"/>
                </a:lnTo>
                <a:lnTo>
                  <a:pt x="11199600" y="1050025"/>
                </a:lnTo>
                <a:cubicBezTo>
                  <a:pt x="11199600" y="1090006"/>
                  <a:pt x="11199600" y="1132338"/>
                  <a:pt x="11199600" y="1177161"/>
                </a:cubicBezTo>
                <a:lnTo>
                  <a:pt x="11199600" y="1202847"/>
                </a:lnTo>
                <a:lnTo>
                  <a:pt x="11199600" y="1319239"/>
                </a:lnTo>
                <a:lnTo>
                  <a:pt x="11199600" y="1377296"/>
                </a:lnTo>
                <a:lnTo>
                  <a:pt x="11199600" y="1477087"/>
                </a:lnTo>
                <a:lnTo>
                  <a:pt x="11199600" y="1569177"/>
                </a:lnTo>
                <a:lnTo>
                  <a:pt x="11199600" y="1651536"/>
                </a:lnTo>
                <a:lnTo>
                  <a:pt x="11199600" y="1779318"/>
                </a:lnTo>
                <a:lnTo>
                  <a:pt x="11199600" y="1843417"/>
                </a:lnTo>
                <a:lnTo>
                  <a:pt x="11199600" y="2008551"/>
                </a:lnTo>
                <a:lnTo>
                  <a:pt x="11199600" y="2053558"/>
                </a:lnTo>
                <a:lnTo>
                  <a:pt x="11199600" y="2257705"/>
                </a:lnTo>
                <a:lnTo>
                  <a:pt x="11199600" y="2282791"/>
                </a:lnTo>
                <a:lnTo>
                  <a:pt x="11199600" y="2527610"/>
                </a:lnTo>
                <a:lnTo>
                  <a:pt x="11199600" y="2531945"/>
                </a:lnTo>
                <a:cubicBezTo>
                  <a:pt x="11199600" y="2618409"/>
                  <a:pt x="11199600" y="2708331"/>
                  <a:pt x="11199600" y="2801851"/>
                </a:cubicBezTo>
                <a:lnTo>
                  <a:pt x="11199600" y="2819097"/>
                </a:lnTo>
                <a:lnTo>
                  <a:pt x="11199600" y="3093337"/>
                </a:lnTo>
                <a:lnTo>
                  <a:pt x="11199600" y="3132995"/>
                </a:lnTo>
                <a:lnTo>
                  <a:pt x="11199600" y="3407236"/>
                </a:lnTo>
                <a:lnTo>
                  <a:pt x="11199600" y="3470135"/>
                </a:lnTo>
                <a:lnTo>
                  <a:pt x="11199600" y="3744375"/>
                </a:lnTo>
                <a:lnTo>
                  <a:pt x="11199600" y="3831346"/>
                </a:lnTo>
                <a:lnTo>
                  <a:pt x="11199600" y="4105586"/>
                </a:lnTo>
                <a:lnTo>
                  <a:pt x="11199600" y="4217459"/>
                </a:lnTo>
                <a:lnTo>
                  <a:pt x="11199600" y="4491699"/>
                </a:lnTo>
                <a:lnTo>
                  <a:pt x="11199600" y="4629303"/>
                </a:lnTo>
                <a:lnTo>
                  <a:pt x="11199600" y="4903543"/>
                </a:lnTo>
                <a:cubicBezTo>
                  <a:pt x="11199600" y="4999653"/>
                  <a:pt x="11103603" y="4999653"/>
                  <a:pt x="11103603" y="4999653"/>
                </a:cubicBezTo>
                <a:cubicBezTo>
                  <a:pt x="11103603" y="4999653"/>
                  <a:pt x="11103603" y="4999653"/>
                  <a:pt x="95997" y="4999653"/>
                </a:cubicBezTo>
                <a:cubicBezTo>
                  <a:pt x="0" y="4999653"/>
                  <a:pt x="0" y="4903543"/>
                  <a:pt x="0" y="4903543"/>
                </a:cubicBezTo>
                <a:cubicBezTo>
                  <a:pt x="0" y="4903543"/>
                  <a:pt x="0" y="4903543"/>
                  <a:pt x="0" y="4664488"/>
                </a:cubicBezTo>
                <a:lnTo>
                  <a:pt x="0" y="4629303"/>
                </a:lnTo>
                <a:lnTo>
                  <a:pt x="0" y="4628197"/>
                </a:lnTo>
                <a:lnTo>
                  <a:pt x="0" y="4620449"/>
                </a:lnTo>
                <a:lnTo>
                  <a:pt x="0" y="4599606"/>
                </a:lnTo>
                <a:lnTo>
                  <a:pt x="0" y="4599421"/>
                </a:lnTo>
                <a:lnTo>
                  <a:pt x="0" y="4558472"/>
                </a:lnTo>
                <a:lnTo>
                  <a:pt x="0" y="4528452"/>
                </a:lnTo>
                <a:lnTo>
                  <a:pt x="0" y="4523933"/>
                </a:lnTo>
                <a:lnTo>
                  <a:pt x="0" y="4490961"/>
                </a:lnTo>
                <a:lnTo>
                  <a:pt x="0" y="4445170"/>
                </a:lnTo>
                <a:lnTo>
                  <a:pt x="0" y="4436639"/>
                </a:lnTo>
                <a:lnTo>
                  <a:pt x="0" y="4390248"/>
                </a:lnTo>
                <a:lnTo>
                  <a:pt x="0" y="4336894"/>
                </a:lnTo>
                <a:lnTo>
                  <a:pt x="0" y="4325366"/>
                </a:lnTo>
                <a:lnTo>
                  <a:pt x="0" y="4249693"/>
                </a:lnTo>
                <a:lnTo>
                  <a:pt x="0" y="4223869"/>
                </a:lnTo>
                <a:lnTo>
                  <a:pt x="0" y="4162399"/>
                </a:lnTo>
                <a:lnTo>
                  <a:pt x="0" y="4096732"/>
                </a:lnTo>
                <a:lnTo>
                  <a:pt x="0" y="4062654"/>
                </a:lnTo>
                <a:lnTo>
                  <a:pt x="0" y="3954655"/>
                </a:lnTo>
                <a:lnTo>
                  <a:pt x="0" y="3949629"/>
                </a:lnTo>
                <a:lnTo>
                  <a:pt x="0" y="3822492"/>
                </a:lnTo>
                <a:lnTo>
                  <a:pt x="0" y="3796807"/>
                </a:lnTo>
                <a:lnTo>
                  <a:pt x="0" y="3680415"/>
                </a:lnTo>
                <a:lnTo>
                  <a:pt x="0" y="3622357"/>
                </a:lnTo>
                <a:lnTo>
                  <a:pt x="0" y="3522567"/>
                </a:lnTo>
                <a:lnTo>
                  <a:pt x="0" y="3430477"/>
                </a:lnTo>
                <a:lnTo>
                  <a:pt x="0" y="3348117"/>
                </a:lnTo>
                <a:lnTo>
                  <a:pt x="0" y="3220335"/>
                </a:lnTo>
                <a:lnTo>
                  <a:pt x="0" y="3156237"/>
                </a:lnTo>
                <a:lnTo>
                  <a:pt x="0" y="2991102"/>
                </a:lnTo>
                <a:lnTo>
                  <a:pt x="0" y="2946095"/>
                </a:lnTo>
                <a:lnTo>
                  <a:pt x="0" y="2741948"/>
                </a:lnTo>
                <a:lnTo>
                  <a:pt x="0" y="2716862"/>
                </a:lnTo>
                <a:lnTo>
                  <a:pt x="0" y="2472043"/>
                </a:lnTo>
                <a:lnTo>
                  <a:pt x="0" y="2467708"/>
                </a:lnTo>
                <a:lnTo>
                  <a:pt x="0" y="2197803"/>
                </a:lnTo>
                <a:lnTo>
                  <a:pt x="0" y="2180556"/>
                </a:lnTo>
                <a:lnTo>
                  <a:pt x="0" y="1906316"/>
                </a:lnTo>
                <a:lnTo>
                  <a:pt x="0" y="1866658"/>
                </a:lnTo>
                <a:lnTo>
                  <a:pt x="0" y="1592418"/>
                </a:lnTo>
                <a:lnTo>
                  <a:pt x="0" y="1529519"/>
                </a:lnTo>
                <a:lnTo>
                  <a:pt x="0" y="1255278"/>
                </a:lnTo>
                <a:lnTo>
                  <a:pt x="0" y="1168307"/>
                </a:lnTo>
                <a:lnTo>
                  <a:pt x="0" y="894067"/>
                </a:lnTo>
                <a:lnTo>
                  <a:pt x="0" y="782195"/>
                </a:lnTo>
                <a:lnTo>
                  <a:pt x="0" y="507955"/>
                </a:lnTo>
                <a:lnTo>
                  <a:pt x="0" y="370350"/>
                </a:lnTo>
                <a:lnTo>
                  <a:pt x="0" y="96110"/>
                </a:lnTo>
                <a:cubicBezTo>
                  <a:pt x="0" y="0"/>
                  <a:pt x="95997" y="0"/>
                  <a:pt x="95997" y="0"/>
                </a:cubicBezTo>
                <a:close/>
              </a:path>
            </a:pathLst>
          </a:custGeom>
          <a:solidFill>
            <a:srgbClr val="EAEAEA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GB"/>
          </a:p>
        </p:txBody>
      </p:sp>
      <p:sp>
        <p:nvSpPr>
          <p:cNvPr id="13" name="Content Placeholder 2"/>
          <p:cNvSpPr>
            <a:spLocks noGrp="1"/>
          </p:cNvSpPr>
          <p:nvPr>
            <p:ph idx="1"/>
          </p:nvPr>
        </p:nvSpPr>
        <p:spPr bwMode="gray">
          <a:xfrm>
            <a:off x="687029" y="1327150"/>
            <a:ext cx="8522456" cy="4752000"/>
          </a:xfrm>
        </p:spPr>
        <p:txBody>
          <a:bodyPr>
            <a:noAutofit/>
          </a:bodyPr>
          <a:lstStyle>
            <a:lvl1pPr marL="432000" marR="0" indent="-432000" algn="l" defTabSz="914377" rtl="0" eaLnBrk="1" fontAlgn="auto" latinLnBrk="0" hangingPunct="1">
              <a:lnSpc>
                <a:spcPts val="2200"/>
              </a:lnSpc>
              <a:spcBef>
                <a:spcPts val="200"/>
              </a:spcBef>
              <a:spcAft>
                <a:spcPts val="800"/>
              </a:spcAft>
              <a:buClrTx/>
              <a:buSzTx/>
              <a:buFont typeface="+mj-lt"/>
              <a:buAutoNum type="arabicPeriod"/>
              <a:tabLst>
                <a:tab pos="355591" algn="l"/>
              </a:tabLst>
              <a:defRPr sz="2000" b="0"/>
            </a:lvl1pPr>
            <a:lvl2pPr>
              <a:defRPr sz="2000"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‹#›</a:t>
            </a:fld>
            <a:endParaRPr lang="en-GB" noProof="0" dirty="0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287731730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/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ex Slide Picture Right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Freeform 13"/>
          <p:cNvSpPr>
            <a:spLocks noChangeAspect="1"/>
          </p:cNvSpPr>
          <p:nvPr userDrawn="1"/>
        </p:nvSpPr>
        <p:spPr bwMode="gray">
          <a:xfrm>
            <a:off x="566241" y="1201148"/>
            <a:ext cx="9099675" cy="4999653"/>
          </a:xfrm>
          <a:custGeom>
            <a:avLst/>
            <a:gdLst>
              <a:gd name="connsiteX0" fmla="*/ 95997 w 11199600"/>
              <a:gd name="connsiteY0" fmla="*/ 0 h 4999653"/>
              <a:gd name="connsiteX1" fmla="*/ 11103603 w 11199600"/>
              <a:gd name="connsiteY1" fmla="*/ 0 h 4999653"/>
              <a:gd name="connsiteX2" fmla="*/ 11199600 w 11199600"/>
              <a:gd name="connsiteY2" fmla="*/ 96110 h 4999653"/>
              <a:gd name="connsiteX3" fmla="*/ 11199600 w 11199600"/>
              <a:gd name="connsiteY3" fmla="*/ 335165 h 4999653"/>
              <a:gd name="connsiteX4" fmla="*/ 11199600 w 11199600"/>
              <a:gd name="connsiteY4" fmla="*/ 370350 h 4999653"/>
              <a:gd name="connsiteX5" fmla="*/ 11199600 w 11199600"/>
              <a:gd name="connsiteY5" fmla="*/ 379204 h 4999653"/>
              <a:gd name="connsiteX6" fmla="*/ 11199600 w 11199600"/>
              <a:gd name="connsiteY6" fmla="*/ 400048 h 4999653"/>
              <a:gd name="connsiteX7" fmla="*/ 11199600 w 11199600"/>
              <a:gd name="connsiteY7" fmla="*/ 400232 h 4999653"/>
              <a:gd name="connsiteX8" fmla="*/ 11199600 w 11199600"/>
              <a:gd name="connsiteY8" fmla="*/ 471202 h 4999653"/>
              <a:gd name="connsiteX9" fmla="*/ 11199600 w 11199600"/>
              <a:gd name="connsiteY9" fmla="*/ 475721 h 4999653"/>
              <a:gd name="connsiteX10" fmla="*/ 11199600 w 11199600"/>
              <a:gd name="connsiteY10" fmla="*/ 508692 h 4999653"/>
              <a:gd name="connsiteX11" fmla="*/ 11199600 w 11199600"/>
              <a:gd name="connsiteY11" fmla="*/ 554484 h 4999653"/>
              <a:gd name="connsiteX12" fmla="*/ 11199600 w 11199600"/>
              <a:gd name="connsiteY12" fmla="*/ 563015 h 4999653"/>
              <a:gd name="connsiteX13" fmla="*/ 11199600 w 11199600"/>
              <a:gd name="connsiteY13" fmla="*/ 609405 h 4999653"/>
              <a:gd name="connsiteX14" fmla="*/ 11199600 w 11199600"/>
              <a:gd name="connsiteY14" fmla="*/ 662759 h 4999653"/>
              <a:gd name="connsiteX15" fmla="*/ 11199600 w 11199600"/>
              <a:gd name="connsiteY15" fmla="*/ 674288 h 4999653"/>
              <a:gd name="connsiteX16" fmla="*/ 11199600 w 11199600"/>
              <a:gd name="connsiteY16" fmla="*/ 749961 h 4999653"/>
              <a:gd name="connsiteX17" fmla="*/ 11199600 w 11199600"/>
              <a:gd name="connsiteY17" fmla="*/ 775785 h 4999653"/>
              <a:gd name="connsiteX18" fmla="*/ 11199600 w 11199600"/>
              <a:gd name="connsiteY18" fmla="*/ 837255 h 4999653"/>
              <a:gd name="connsiteX19" fmla="*/ 11199600 w 11199600"/>
              <a:gd name="connsiteY19" fmla="*/ 902921 h 4999653"/>
              <a:gd name="connsiteX20" fmla="*/ 11199600 w 11199600"/>
              <a:gd name="connsiteY20" fmla="*/ 936999 h 4999653"/>
              <a:gd name="connsiteX21" fmla="*/ 11199600 w 11199600"/>
              <a:gd name="connsiteY21" fmla="*/ 1044999 h 4999653"/>
              <a:gd name="connsiteX22" fmla="*/ 11199600 w 11199600"/>
              <a:gd name="connsiteY22" fmla="*/ 1050025 h 4999653"/>
              <a:gd name="connsiteX23" fmla="*/ 11199600 w 11199600"/>
              <a:gd name="connsiteY23" fmla="*/ 1177161 h 4999653"/>
              <a:gd name="connsiteX24" fmla="*/ 11199600 w 11199600"/>
              <a:gd name="connsiteY24" fmla="*/ 1202847 h 4999653"/>
              <a:gd name="connsiteX25" fmla="*/ 11199600 w 11199600"/>
              <a:gd name="connsiteY25" fmla="*/ 1319239 h 4999653"/>
              <a:gd name="connsiteX26" fmla="*/ 11199600 w 11199600"/>
              <a:gd name="connsiteY26" fmla="*/ 1377296 h 4999653"/>
              <a:gd name="connsiteX27" fmla="*/ 11199600 w 11199600"/>
              <a:gd name="connsiteY27" fmla="*/ 1477087 h 4999653"/>
              <a:gd name="connsiteX28" fmla="*/ 11199600 w 11199600"/>
              <a:gd name="connsiteY28" fmla="*/ 1569177 h 4999653"/>
              <a:gd name="connsiteX29" fmla="*/ 11199600 w 11199600"/>
              <a:gd name="connsiteY29" fmla="*/ 1651536 h 4999653"/>
              <a:gd name="connsiteX30" fmla="*/ 11199600 w 11199600"/>
              <a:gd name="connsiteY30" fmla="*/ 1779318 h 4999653"/>
              <a:gd name="connsiteX31" fmla="*/ 11199600 w 11199600"/>
              <a:gd name="connsiteY31" fmla="*/ 1843417 h 4999653"/>
              <a:gd name="connsiteX32" fmla="*/ 11199600 w 11199600"/>
              <a:gd name="connsiteY32" fmla="*/ 2008551 h 4999653"/>
              <a:gd name="connsiteX33" fmla="*/ 11199600 w 11199600"/>
              <a:gd name="connsiteY33" fmla="*/ 2053558 h 4999653"/>
              <a:gd name="connsiteX34" fmla="*/ 11199600 w 11199600"/>
              <a:gd name="connsiteY34" fmla="*/ 2257705 h 4999653"/>
              <a:gd name="connsiteX35" fmla="*/ 11199600 w 11199600"/>
              <a:gd name="connsiteY35" fmla="*/ 2282791 h 4999653"/>
              <a:gd name="connsiteX36" fmla="*/ 11199600 w 11199600"/>
              <a:gd name="connsiteY36" fmla="*/ 2527610 h 4999653"/>
              <a:gd name="connsiteX37" fmla="*/ 11199600 w 11199600"/>
              <a:gd name="connsiteY37" fmla="*/ 2531945 h 4999653"/>
              <a:gd name="connsiteX38" fmla="*/ 11199600 w 11199600"/>
              <a:gd name="connsiteY38" fmla="*/ 2801851 h 4999653"/>
              <a:gd name="connsiteX39" fmla="*/ 11199600 w 11199600"/>
              <a:gd name="connsiteY39" fmla="*/ 2819097 h 4999653"/>
              <a:gd name="connsiteX40" fmla="*/ 11199600 w 11199600"/>
              <a:gd name="connsiteY40" fmla="*/ 3093337 h 4999653"/>
              <a:gd name="connsiteX41" fmla="*/ 11199600 w 11199600"/>
              <a:gd name="connsiteY41" fmla="*/ 3132995 h 4999653"/>
              <a:gd name="connsiteX42" fmla="*/ 11199600 w 11199600"/>
              <a:gd name="connsiteY42" fmla="*/ 3407236 h 4999653"/>
              <a:gd name="connsiteX43" fmla="*/ 11199600 w 11199600"/>
              <a:gd name="connsiteY43" fmla="*/ 3470135 h 4999653"/>
              <a:gd name="connsiteX44" fmla="*/ 11199600 w 11199600"/>
              <a:gd name="connsiteY44" fmla="*/ 3744375 h 4999653"/>
              <a:gd name="connsiteX45" fmla="*/ 11199600 w 11199600"/>
              <a:gd name="connsiteY45" fmla="*/ 3831346 h 4999653"/>
              <a:gd name="connsiteX46" fmla="*/ 11199600 w 11199600"/>
              <a:gd name="connsiteY46" fmla="*/ 4105586 h 4999653"/>
              <a:gd name="connsiteX47" fmla="*/ 11199600 w 11199600"/>
              <a:gd name="connsiteY47" fmla="*/ 4217459 h 4999653"/>
              <a:gd name="connsiteX48" fmla="*/ 11199600 w 11199600"/>
              <a:gd name="connsiteY48" fmla="*/ 4491699 h 4999653"/>
              <a:gd name="connsiteX49" fmla="*/ 11199600 w 11199600"/>
              <a:gd name="connsiteY49" fmla="*/ 4629303 h 4999653"/>
              <a:gd name="connsiteX50" fmla="*/ 11199600 w 11199600"/>
              <a:gd name="connsiteY50" fmla="*/ 4903543 h 4999653"/>
              <a:gd name="connsiteX51" fmla="*/ 11103603 w 11199600"/>
              <a:gd name="connsiteY51" fmla="*/ 4999653 h 4999653"/>
              <a:gd name="connsiteX52" fmla="*/ 95997 w 11199600"/>
              <a:gd name="connsiteY52" fmla="*/ 4999653 h 4999653"/>
              <a:gd name="connsiteX53" fmla="*/ 0 w 11199600"/>
              <a:gd name="connsiteY53" fmla="*/ 4903543 h 4999653"/>
              <a:gd name="connsiteX54" fmla="*/ 0 w 11199600"/>
              <a:gd name="connsiteY54" fmla="*/ 4664488 h 4999653"/>
              <a:gd name="connsiteX55" fmla="*/ 0 w 11199600"/>
              <a:gd name="connsiteY55" fmla="*/ 4629303 h 4999653"/>
              <a:gd name="connsiteX56" fmla="*/ 0 w 11199600"/>
              <a:gd name="connsiteY56" fmla="*/ 4628197 h 4999653"/>
              <a:gd name="connsiteX57" fmla="*/ 0 w 11199600"/>
              <a:gd name="connsiteY57" fmla="*/ 4620449 h 4999653"/>
              <a:gd name="connsiteX58" fmla="*/ 0 w 11199600"/>
              <a:gd name="connsiteY58" fmla="*/ 4599606 h 4999653"/>
              <a:gd name="connsiteX59" fmla="*/ 0 w 11199600"/>
              <a:gd name="connsiteY59" fmla="*/ 4599421 h 4999653"/>
              <a:gd name="connsiteX60" fmla="*/ 0 w 11199600"/>
              <a:gd name="connsiteY60" fmla="*/ 4558472 h 4999653"/>
              <a:gd name="connsiteX61" fmla="*/ 0 w 11199600"/>
              <a:gd name="connsiteY61" fmla="*/ 4528452 h 4999653"/>
              <a:gd name="connsiteX62" fmla="*/ 0 w 11199600"/>
              <a:gd name="connsiteY62" fmla="*/ 4523933 h 4999653"/>
              <a:gd name="connsiteX63" fmla="*/ 0 w 11199600"/>
              <a:gd name="connsiteY63" fmla="*/ 4490961 h 4999653"/>
              <a:gd name="connsiteX64" fmla="*/ 0 w 11199600"/>
              <a:gd name="connsiteY64" fmla="*/ 4445170 h 4999653"/>
              <a:gd name="connsiteX65" fmla="*/ 0 w 11199600"/>
              <a:gd name="connsiteY65" fmla="*/ 4436639 h 4999653"/>
              <a:gd name="connsiteX66" fmla="*/ 0 w 11199600"/>
              <a:gd name="connsiteY66" fmla="*/ 4390248 h 4999653"/>
              <a:gd name="connsiteX67" fmla="*/ 0 w 11199600"/>
              <a:gd name="connsiteY67" fmla="*/ 4336894 h 4999653"/>
              <a:gd name="connsiteX68" fmla="*/ 0 w 11199600"/>
              <a:gd name="connsiteY68" fmla="*/ 4325366 h 4999653"/>
              <a:gd name="connsiteX69" fmla="*/ 0 w 11199600"/>
              <a:gd name="connsiteY69" fmla="*/ 4249693 h 4999653"/>
              <a:gd name="connsiteX70" fmla="*/ 0 w 11199600"/>
              <a:gd name="connsiteY70" fmla="*/ 4223869 h 4999653"/>
              <a:gd name="connsiteX71" fmla="*/ 0 w 11199600"/>
              <a:gd name="connsiteY71" fmla="*/ 4162399 h 4999653"/>
              <a:gd name="connsiteX72" fmla="*/ 0 w 11199600"/>
              <a:gd name="connsiteY72" fmla="*/ 4096732 h 4999653"/>
              <a:gd name="connsiteX73" fmla="*/ 0 w 11199600"/>
              <a:gd name="connsiteY73" fmla="*/ 4062654 h 4999653"/>
              <a:gd name="connsiteX74" fmla="*/ 0 w 11199600"/>
              <a:gd name="connsiteY74" fmla="*/ 3954655 h 4999653"/>
              <a:gd name="connsiteX75" fmla="*/ 0 w 11199600"/>
              <a:gd name="connsiteY75" fmla="*/ 3949629 h 4999653"/>
              <a:gd name="connsiteX76" fmla="*/ 0 w 11199600"/>
              <a:gd name="connsiteY76" fmla="*/ 3822492 h 4999653"/>
              <a:gd name="connsiteX77" fmla="*/ 0 w 11199600"/>
              <a:gd name="connsiteY77" fmla="*/ 3796807 h 4999653"/>
              <a:gd name="connsiteX78" fmla="*/ 0 w 11199600"/>
              <a:gd name="connsiteY78" fmla="*/ 3680415 h 4999653"/>
              <a:gd name="connsiteX79" fmla="*/ 0 w 11199600"/>
              <a:gd name="connsiteY79" fmla="*/ 3622357 h 4999653"/>
              <a:gd name="connsiteX80" fmla="*/ 0 w 11199600"/>
              <a:gd name="connsiteY80" fmla="*/ 3522567 h 4999653"/>
              <a:gd name="connsiteX81" fmla="*/ 0 w 11199600"/>
              <a:gd name="connsiteY81" fmla="*/ 3430477 h 4999653"/>
              <a:gd name="connsiteX82" fmla="*/ 0 w 11199600"/>
              <a:gd name="connsiteY82" fmla="*/ 3348117 h 4999653"/>
              <a:gd name="connsiteX83" fmla="*/ 0 w 11199600"/>
              <a:gd name="connsiteY83" fmla="*/ 3220335 h 4999653"/>
              <a:gd name="connsiteX84" fmla="*/ 0 w 11199600"/>
              <a:gd name="connsiteY84" fmla="*/ 3156237 h 4999653"/>
              <a:gd name="connsiteX85" fmla="*/ 0 w 11199600"/>
              <a:gd name="connsiteY85" fmla="*/ 2991102 h 4999653"/>
              <a:gd name="connsiteX86" fmla="*/ 0 w 11199600"/>
              <a:gd name="connsiteY86" fmla="*/ 2946095 h 4999653"/>
              <a:gd name="connsiteX87" fmla="*/ 0 w 11199600"/>
              <a:gd name="connsiteY87" fmla="*/ 2741948 h 4999653"/>
              <a:gd name="connsiteX88" fmla="*/ 0 w 11199600"/>
              <a:gd name="connsiteY88" fmla="*/ 2716862 h 4999653"/>
              <a:gd name="connsiteX89" fmla="*/ 0 w 11199600"/>
              <a:gd name="connsiteY89" fmla="*/ 2472043 h 4999653"/>
              <a:gd name="connsiteX90" fmla="*/ 0 w 11199600"/>
              <a:gd name="connsiteY90" fmla="*/ 2467708 h 4999653"/>
              <a:gd name="connsiteX91" fmla="*/ 0 w 11199600"/>
              <a:gd name="connsiteY91" fmla="*/ 2197803 h 4999653"/>
              <a:gd name="connsiteX92" fmla="*/ 0 w 11199600"/>
              <a:gd name="connsiteY92" fmla="*/ 2180556 h 4999653"/>
              <a:gd name="connsiteX93" fmla="*/ 0 w 11199600"/>
              <a:gd name="connsiteY93" fmla="*/ 1906316 h 4999653"/>
              <a:gd name="connsiteX94" fmla="*/ 0 w 11199600"/>
              <a:gd name="connsiteY94" fmla="*/ 1866658 h 4999653"/>
              <a:gd name="connsiteX95" fmla="*/ 0 w 11199600"/>
              <a:gd name="connsiteY95" fmla="*/ 1592418 h 4999653"/>
              <a:gd name="connsiteX96" fmla="*/ 0 w 11199600"/>
              <a:gd name="connsiteY96" fmla="*/ 1529519 h 4999653"/>
              <a:gd name="connsiteX97" fmla="*/ 0 w 11199600"/>
              <a:gd name="connsiteY97" fmla="*/ 1255278 h 4999653"/>
              <a:gd name="connsiteX98" fmla="*/ 0 w 11199600"/>
              <a:gd name="connsiteY98" fmla="*/ 1168307 h 4999653"/>
              <a:gd name="connsiteX99" fmla="*/ 0 w 11199600"/>
              <a:gd name="connsiteY99" fmla="*/ 894067 h 4999653"/>
              <a:gd name="connsiteX100" fmla="*/ 0 w 11199600"/>
              <a:gd name="connsiteY100" fmla="*/ 782195 h 4999653"/>
              <a:gd name="connsiteX101" fmla="*/ 0 w 11199600"/>
              <a:gd name="connsiteY101" fmla="*/ 507955 h 4999653"/>
              <a:gd name="connsiteX102" fmla="*/ 0 w 11199600"/>
              <a:gd name="connsiteY102" fmla="*/ 370350 h 4999653"/>
              <a:gd name="connsiteX103" fmla="*/ 0 w 11199600"/>
              <a:gd name="connsiteY103" fmla="*/ 96110 h 4999653"/>
              <a:gd name="connsiteX104" fmla="*/ 95997 w 11199600"/>
              <a:gd name="connsiteY104" fmla="*/ 0 h 49996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</a:cxnLst>
            <a:rect l="l" t="t" r="r" b="b"/>
            <a:pathLst>
              <a:path w="11199600" h="4999653">
                <a:moveTo>
                  <a:pt x="95997" y="0"/>
                </a:moveTo>
                <a:lnTo>
                  <a:pt x="11103603" y="0"/>
                </a:lnTo>
                <a:cubicBezTo>
                  <a:pt x="11199600" y="0"/>
                  <a:pt x="11199600" y="96110"/>
                  <a:pt x="11199600" y="96110"/>
                </a:cubicBezTo>
                <a:cubicBezTo>
                  <a:pt x="11199600" y="96110"/>
                  <a:pt x="11199600" y="96110"/>
                  <a:pt x="11199600" y="335165"/>
                </a:cubicBezTo>
                <a:lnTo>
                  <a:pt x="11199600" y="370350"/>
                </a:lnTo>
                <a:cubicBezTo>
                  <a:pt x="11199600" y="370350"/>
                  <a:pt x="11199600" y="370350"/>
                  <a:pt x="11199600" y="379204"/>
                </a:cubicBezTo>
                <a:lnTo>
                  <a:pt x="11199600" y="400048"/>
                </a:lnTo>
                <a:lnTo>
                  <a:pt x="11199600" y="400232"/>
                </a:lnTo>
                <a:cubicBezTo>
                  <a:pt x="11199600" y="415173"/>
                  <a:pt x="11199600" y="437585"/>
                  <a:pt x="11199600" y="471202"/>
                </a:cubicBezTo>
                <a:lnTo>
                  <a:pt x="11199600" y="475721"/>
                </a:lnTo>
                <a:lnTo>
                  <a:pt x="11199600" y="508692"/>
                </a:lnTo>
                <a:cubicBezTo>
                  <a:pt x="11199600" y="522527"/>
                  <a:pt x="11199600" y="537744"/>
                  <a:pt x="11199600" y="554484"/>
                </a:cubicBezTo>
                <a:lnTo>
                  <a:pt x="11199600" y="563015"/>
                </a:lnTo>
                <a:lnTo>
                  <a:pt x="11199600" y="609405"/>
                </a:lnTo>
                <a:lnTo>
                  <a:pt x="11199600" y="662759"/>
                </a:lnTo>
                <a:lnTo>
                  <a:pt x="11199600" y="674288"/>
                </a:lnTo>
                <a:cubicBezTo>
                  <a:pt x="11199600" y="697668"/>
                  <a:pt x="11199600" y="722846"/>
                  <a:pt x="11199600" y="749961"/>
                </a:cubicBezTo>
                <a:lnTo>
                  <a:pt x="11199600" y="775785"/>
                </a:lnTo>
                <a:lnTo>
                  <a:pt x="11199600" y="837255"/>
                </a:lnTo>
                <a:lnTo>
                  <a:pt x="11199600" y="902921"/>
                </a:lnTo>
                <a:lnTo>
                  <a:pt x="11199600" y="936999"/>
                </a:lnTo>
                <a:lnTo>
                  <a:pt x="11199600" y="1044999"/>
                </a:lnTo>
                <a:lnTo>
                  <a:pt x="11199600" y="1050025"/>
                </a:lnTo>
                <a:cubicBezTo>
                  <a:pt x="11199600" y="1090006"/>
                  <a:pt x="11199600" y="1132338"/>
                  <a:pt x="11199600" y="1177161"/>
                </a:cubicBezTo>
                <a:lnTo>
                  <a:pt x="11199600" y="1202847"/>
                </a:lnTo>
                <a:lnTo>
                  <a:pt x="11199600" y="1319239"/>
                </a:lnTo>
                <a:lnTo>
                  <a:pt x="11199600" y="1377296"/>
                </a:lnTo>
                <a:lnTo>
                  <a:pt x="11199600" y="1477087"/>
                </a:lnTo>
                <a:lnTo>
                  <a:pt x="11199600" y="1569177"/>
                </a:lnTo>
                <a:lnTo>
                  <a:pt x="11199600" y="1651536"/>
                </a:lnTo>
                <a:lnTo>
                  <a:pt x="11199600" y="1779318"/>
                </a:lnTo>
                <a:lnTo>
                  <a:pt x="11199600" y="1843417"/>
                </a:lnTo>
                <a:lnTo>
                  <a:pt x="11199600" y="2008551"/>
                </a:lnTo>
                <a:lnTo>
                  <a:pt x="11199600" y="2053558"/>
                </a:lnTo>
                <a:lnTo>
                  <a:pt x="11199600" y="2257705"/>
                </a:lnTo>
                <a:lnTo>
                  <a:pt x="11199600" y="2282791"/>
                </a:lnTo>
                <a:lnTo>
                  <a:pt x="11199600" y="2527610"/>
                </a:lnTo>
                <a:lnTo>
                  <a:pt x="11199600" y="2531945"/>
                </a:lnTo>
                <a:cubicBezTo>
                  <a:pt x="11199600" y="2618409"/>
                  <a:pt x="11199600" y="2708331"/>
                  <a:pt x="11199600" y="2801851"/>
                </a:cubicBezTo>
                <a:lnTo>
                  <a:pt x="11199600" y="2819097"/>
                </a:lnTo>
                <a:lnTo>
                  <a:pt x="11199600" y="3093337"/>
                </a:lnTo>
                <a:lnTo>
                  <a:pt x="11199600" y="3132995"/>
                </a:lnTo>
                <a:lnTo>
                  <a:pt x="11199600" y="3407236"/>
                </a:lnTo>
                <a:lnTo>
                  <a:pt x="11199600" y="3470135"/>
                </a:lnTo>
                <a:lnTo>
                  <a:pt x="11199600" y="3744375"/>
                </a:lnTo>
                <a:lnTo>
                  <a:pt x="11199600" y="3831346"/>
                </a:lnTo>
                <a:lnTo>
                  <a:pt x="11199600" y="4105586"/>
                </a:lnTo>
                <a:lnTo>
                  <a:pt x="11199600" y="4217459"/>
                </a:lnTo>
                <a:lnTo>
                  <a:pt x="11199600" y="4491699"/>
                </a:lnTo>
                <a:lnTo>
                  <a:pt x="11199600" y="4629303"/>
                </a:lnTo>
                <a:lnTo>
                  <a:pt x="11199600" y="4903543"/>
                </a:lnTo>
                <a:cubicBezTo>
                  <a:pt x="11199600" y="4999653"/>
                  <a:pt x="11103603" y="4999653"/>
                  <a:pt x="11103603" y="4999653"/>
                </a:cubicBezTo>
                <a:cubicBezTo>
                  <a:pt x="11103603" y="4999653"/>
                  <a:pt x="11103603" y="4999653"/>
                  <a:pt x="95997" y="4999653"/>
                </a:cubicBezTo>
                <a:cubicBezTo>
                  <a:pt x="0" y="4999653"/>
                  <a:pt x="0" y="4903543"/>
                  <a:pt x="0" y="4903543"/>
                </a:cubicBezTo>
                <a:cubicBezTo>
                  <a:pt x="0" y="4903543"/>
                  <a:pt x="0" y="4903543"/>
                  <a:pt x="0" y="4664488"/>
                </a:cubicBezTo>
                <a:lnTo>
                  <a:pt x="0" y="4629303"/>
                </a:lnTo>
                <a:lnTo>
                  <a:pt x="0" y="4628197"/>
                </a:lnTo>
                <a:lnTo>
                  <a:pt x="0" y="4620449"/>
                </a:lnTo>
                <a:lnTo>
                  <a:pt x="0" y="4599606"/>
                </a:lnTo>
                <a:lnTo>
                  <a:pt x="0" y="4599421"/>
                </a:lnTo>
                <a:lnTo>
                  <a:pt x="0" y="4558472"/>
                </a:lnTo>
                <a:lnTo>
                  <a:pt x="0" y="4528452"/>
                </a:lnTo>
                <a:lnTo>
                  <a:pt x="0" y="4523933"/>
                </a:lnTo>
                <a:lnTo>
                  <a:pt x="0" y="4490961"/>
                </a:lnTo>
                <a:lnTo>
                  <a:pt x="0" y="4445170"/>
                </a:lnTo>
                <a:lnTo>
                  <a:pt x="0" y="4436639"/>
                </a:lnTo>
                <a:lnTo>
                  <a:pt x="0" y="4390248"/>
                </a:lnTo>
                <a:lnTo>
                  <a:pt x="0" y="4336894"/>
                </a:lnTo>
                <a:lnTo>
                  <a:pt x="0" y="4325366"/>
                </a:lnTo>
                <a:lnTo>
                  <a:pt x="0" y="4249693"/>
                </a:lnTo>
                <a:lnTo>
                  <a:pt x="0" y="4223869"/>
                </a:lnTo>
                <a:lnTo>
                  <a:pt x="0" y="4162399"/>
                </a:lnTo>
                <a:lnTo>
                  <a:pt x="0" y="4096732"/>
                </a:lnTo>
                <a:lnTo>
                  <a:pt x="0" y="4062654"/>
                </a:lnTo>
                <a:lnTo>
                  <a:pt x="0" y="3954655"/>
                </a:lnTo>
                <a:lnTo>
                  <a:pt x="0" y="3949629"/>
                </a:lnTo>
                <a:lnTo>
                  <a:pt x="0" y="3822492"/>
                </a:lnTo>
                <a:lnTo>
                  <a:pt x="0" y="3796807"/>
                </a:lnTo>
                <a:lnTo>
                  <a:pt x="0" y="3680415"/>
                </a:lnTo>
                <a:lnTo>
                  <a:pt x="0" y="3622357"/>
                </a:lnTo>
                <a:lnTo>
                  <a:pt x="0" y="3522567"/>
                </a:lnTo>
                <a:lnTo>
                  <a:pt x="0" y="3430477"/>
                </a:lnTo>
                <a:lnTo>
                  <a:pt x="0" y="3348117"/>
                </a:lnTo>
                <a:lnTo>
                  <a:pt x="0" y="3220335"/>
                </a:lnTo>
                <a:lnTo>
                  <a:pt x="0" y="3156237"/>
                </a:lnTo>
                <a:lnTo>
                  <a:pt x="0" y="2991102"/>
                </a:lnTo>
                <a:lnTo>
                  <a:pt x="0" y="2946095"/>
                </a:lnTo>
                <a:lnTo>
                  <a:pt x="0" y="2741948"/>
                </a:lnTo>
                <a:lnTo>
                  <a:pt x="0" y="2716862"/>
                </a:lnTo>
                <a:lnTo>
                  <a:pt x="0" y="2472043"/>
                </a:lnTo>
                <a:lnTo>
                  <a:pt x="0" y="2467708"/>
                </a:lnTo>
                <a:lnTo>
                  <a:pt x="0" y="2197803"/>
                </a:lnTo>
                <a:lnTo>
                  <a:pt x="0" y="2180556"/>
                </a:lnTo>
                <a:lnTo>
                  <a:pt x="0" y="1906316"/>
                </a:lnTo>
                <a:lnTo>
                  <a:pt x="0" y="1866658"/>
                </a:lnTo>
                <a:lnTo>
                  <a:pt x="0" y="1592418"/>
                </a:lnTo>
                <a:lnTo>
                  <a:pt x="0" y="1529519"/>
                </a:lnTo>
                <a:lnTo>
                  <a:pt x="0" y="1255278"/>
                </a:lnTo>
                <a:lnTo>
                  <a:pt x="0" y="1168307"/>
                </a:lnTo>
                <a:lnTo>
                  <a:pt x="0" y="894067"/>
                </a:lnTo>
                <a:lnTo>
                  <a:pt x="0" y="782195"/>
                </a:lnTo>
                <a:lnTo>
                  <a:pt x="0" y="507955"/>
                </a:lnTo>
                <a:lnTo>
                  <a:pt x="0" y="370350"/>
                </a:lnTo>
                <a:lnTo>
                  <a:pt x="0" y="96110"/>
                </a:lnTo>
                <a:cubicBezTo>
                  <a:pt x="0" y="0"/>
                  <a:pt x="95997" y="0"/>
                  <a:pt x="95997" y="0"/>
                </a:cubicBezTo>
                <a:close/>
              </a:path>
            </a:pathLst>
          </a:custGeom>
          <a:solidFill>
            <a:srgbClr val="EAEAEA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GB"/>
          </a:p>
        </p:txBody>
      </p:sp>
      <p:sp>
        <p:nvSpPr>
          <p:cNvPr id="13" name="Content Placeholder 2"/>
          <p:cNvSpPr>
            <a:spLocks noGrp="1"/>
          </p:cNvSpPr>
          <p:nvPr>
            <p:ph idx="1"/>
          </p:nvPr>
        </p:nvSpPr>
        <p:spPr bwMode="gray">
          <a:xfrm>
            <a:off x="687031" y="1327149"/>
            <a:ext cx="4864458" cy="4752000"/>
          </a:xfrm>
        </p:spPr>
        <p:txBody>
          <a:bodyPr>
            <a:noAutofit/>
          </a:bodyPr>
          <a:lstStyle>
            <a:lvl1pPr marL="432000" marR="0" indent="-432000" algn="l" defTabSz="914377" rtl="0" eaLnBrk="1" fontAlgn="auto" latinLnBrk="0" hangingPunct="1">
              <a:lnSpc>
                <a:spcPts val="2200"/>
              </a:lnSpc>
              <a:spcBef>
                <a:spcPts val="200"/>
              </a:spcBef>
              <a:spcAft>
                <a:spcPts val="800"/>
              </a:spcAft>
              <a:buClrTx/>
              <a:buSzTx/>
              <a:buFont typeface="+mj-lt"/>
              <a:buAutoNum type="arabicPeriod"/>
              <a:tabLst>
                <a:tab pos="355591" algn="l"/>
              </a:tabLst>
              <a:defRPr sz="2000" b="0"/>
            </a:lvl1pPr>
            <a:lvl2pPr>
              <a:defRPr sz="2000"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‹#›</a:t>
            </a:fld>
            <a:endParaRPr lang="en-GB" noProof="0" dirty="0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  <p:sp>
        <p:nvSpPr>
          <p:cNvPr id="17" name="Picture Placeholder 16"/>
          <p:cNvSpPr>
            <a:spLocks noGrp="1"/>
          </p:cNvSpPr>
          <p:nvPr>
            <p:ph type="pic" sz="quarter" idx="14"/>
          </p:nvPr>
        </p:nvSpPr>
        <p:spPr bwMode="gray">
          <a:xfrm>
            <a:off x="5928122" y="1201147"/>
            <a:ext cx="3737794" cy="4999652"/>
          </a:xfrm>
          <a:custGeom>
            <a:avLst/>
            <a:gdLst>
              <a:gd name="connsiteX0" fmla="*/ 0 w 4600362"/>
              <a:gd name="connsiteY0" fmla="*/ 0 h 4999652"/>
              <a:gd name="connsiteX1" fmla="*/ 4504373 w 4600362"/>
              <a:gd name="connsiteY1" fmla="*/ 0 h 4999652"/>
              <a:gd name="connsiteX2" fmla="*/ 4536051 w 4600362"/>
              <a:gd name="connsiteY2" fmla="*/ 4129 h 4999652"/>
              <a:gd name="connsiteX3" fmla="*/ 4600362 w 4600362"/>
              <a:gd name="connsiteY3" fmla="*/ 96109 h 4999652"/>
              <a:gd name="connsiteX4" fmla="*/ 4600362 w 4600362"/>
              <a:gd name="connsiteY4" fmla="*/ 335164 h 4999652"/>
              <a:gd name="connsiteX5" fmla="*/ 4600362 w 4600362"/>
              <a:gd name="connsiteY5" fmla="*/ 370349 h 4999652"/>
              <a:gd name="connsiteX6" fmla="*/ 4600362 w 4600362"/>
              <a:gd name="connsiteY6" fmla="*/ 379203 h 4999652"/>
              <a:gd name="connsiteX7" fmla="*/ 4600362 w 4600362"/>
              <a:gd name="connsiteY7" fmla="*/ 400047 h 4999652"/>
              <a:gd name="connsiteX8" fmla="*/ 4600362 w 4600362"/>
              <a:gd name="connsiteY8" fmla="*/ 400231 h 4999652"/>
              <a:gd name="connsiteX9" fmla="*/ 4600362 w 4600362"/>
              <a:gd name="connsiteY9" fmla="*/ 471201 h 4999652"/>
              <a:gd name="connsiteX10" fmla="*/ 4600362 w 4600362"/>
              <a:gd name="connsiteY10" fmla="*/ 475720 h 4999652"/>
              <a:gd name="connsiteX11" fmla="*/ 4600362 w 4600362"/>
              <a:gd name="connsiteY11" fmla="*/ 508691 h 4999652"/>
              <a:gd name="connsiteX12" fmla="*/ 4600362 w 4600362"/>
              <a:gd name="connsiteY12" fmla="*/ 554483 h 4999652"/>
              <a:gd name="connsiteX13" fmla="*/ 4600362 w 4600362"/>
              <a:gd name="connsiteY13" fmla="*/ 563014 h 4999652"/>
              <a:gd name="connsiteX14" fmla="*/ 4600362 w 4600362"/>
              <a:gd name="connsiteY14" fmla="*/ 609404 h 4999652"/>
              <a:gd name="connsiteX15" fmla="*/ 4600362 w 4600362"/>
              <a:gd name="connsiteY15" fmla="*/ 662758 h 4999652"/>
              <a:gd name="connsiteX16" fmla="*/ 4600362 w 4600362"/>
              <a:gd name="connsiteY16" fmla="*/ 674287 h 4999652"/>
              <a:gd name="connsiteX17" fmla="*/ 4600362 w 4600362"/>
              <a:gd name="connsiteY17" fmla="*/ 749960 h 4999652"/>
              <a:gd name="connsiteX18" fmla="*/ 4600362 w 4600362"/>
              <a:gd name="connsiteY18" fmla="*/ 775784 h 4999652"/>
              <a:gd name="connsiteX19" fmla="*/ 4600362 w 4600362"/>
              <a:gd name="connsiteY19" fmla="*/ 837254 h 4999652"/>
              <a:gd name="connsiteX20" fmla="*/ 4600362 w 4600362"/>
              <a:gd name="connsiteY20" fmla="*/ 902920 h 4999652"/>
              <a:gd name="connsiteX21" fmla="*/ 4600362 w 4600362"/>
              <a:gd name="connsiteY21" fmla="*/ 936998 h 4999652"/>
              <a:gd name="connsiteX22" fmla="*/ 4600362 w 4600362"/>
              <a:gd name="connsiteY22" fmla="*/ 1044998 h 4999652"/>
              <a:gd name="connsiteX23" fmla="*/ 4600362 w 4600362"/>
              <a:gd name="connsiteY23" fmla="*/ 1050024 h 4999652"/>
              <a:gd name="connsiteX24" fmla="*/ 4600362 w 4600362"/>
              <a:gd name="connsiteY24" fmla="*/ 1177160 h 4999652"/>
              <a:gd name="connsiteX25" fmla="*/ 4600362 w 4600362"/>
              <a:gd name="connsiteY25" fmla="*/ 1202846 h 4999652"/>
              <a:gd name="connsiteX26" fmla="*/ 4600362 w 4600362"/>
              <a:gd name="connsiteY26" fmla="*/ 1319238 h 4999652"/>
              <a:gd name="connsiteX27" fmla="*/ 4600362 w 4600362"/>
              <a:gd name="connsiteY27" fmla="*/ 1377295 h 4999652"/>
              <a:gd name="connsiteX28" fmla="*/ 4600362 w 4600362"/>
              <a:gd name="connsiteY28" fmla="*/ 1477086 h 4999652"/>
              <a:gd name="connsiteX29" fmla="*/ 4600362 w 4600362"/>
              <a:gd name="connsiteY29" fmla="*/ 1569176 h 4999652"/>
              <a:gd name="connsiteX30" fmla="*/ 4600362 w 4600362"/>
              <a:gd name="connsiteY30" fmla="*/ 1651535 h 4999652"/>
              <a:gd name="connsiteX31" fmla="*/ 4600362 w 4600362"/>
              <a:gd name="connsiteY31" fmla="*/ 1779317 h 4999652"/>
              <a:gd name="connsiteX32" fmla="*/ 4600362 w 4600362"/>
              <a:gd name="connsiteY32" fmla="*/ 1843416 h 4999652"/>
              <a:gd name="connsiteX33" fmla="*/ 4600362 w 4600362"/>
              <a:gd name="connsiteY33" fmla="*/ 2008550 h 4999652"/>
              <a:gd name="connsiteX34" fmla="*/ 4600362 w 4600362"/>
              <a:gd name="connsiteY34" fmla="*/ 2053557 h 4999652"/>
              <a:gd name="connsiteX35" fmla="*/ 4600362 w 4600362"/>
              <a:gd name="connsiteY35" fmla="*/ 2257704 h 4999652"/>
              <a:gd name="connsiteX36" fmla="*/ 4600362 w 4600362"/>
              <a:gd name="connsiteY36" fmla="*/ 2282790 h 4999652"/>
              <a:gd name="connsiteX37" fmla="*/ 4600362 w 4600362"/>
              <a:gd name="connsiteY37" fmla="*/ 2527609 h 4999652"/>
              <a:gd name="connsiteX38" fmla="*/ 4600362 w 4600362"/>
              <a:gd name="connsiteY38" fmla="*/ 2531944 h 4999652"/>
              <a:gd name="connsiteX39" fmla="*/ 4600362 w 4600362"/>
              <a:gd name="connsiteY39" fmla="*/ 2801850 h 4999652"/>
              <a:gd name="connsiteX40" fmla="*/ 4600362 w 4600362"/>
              <a:gd name="connsiteY40" fmla="*/ 2819096 h 4999652"/>
              <a:gd name="connsiteX41" fmla="*/ 4600362 w 4600362"/>
              <a:gd name="connsiteY41" fmla="*/ 3093336 h 4999652"/>
              <a:gd name="connsiteX42" fmla="*/ 4600362 w 4600362"/>
              <a:gd name="connsiteY42" fmla="*/ 3132994 h 4999652"/>
              <a:gd name="connsiteX43" fmla="*/ 4600362 w 4600362"/>
              <a:gd name="connsiteY43" fmla="*/ 3407235 h 4999652"/>
              <a:gd name="connsiteX44" fmla="*/ 4600362 w 4600362"/>
              <a:gd name="connsiteY44" fmla="*/ 3470134 h 4999652"/>
              <a:gd name="connsiteX45" fmla="*/ 4600362 w 4600362"/>
              <a:gd name="connsiteY45" fmla="*/ 3744374 h 4999652"/>
              <a:gd name="connsiteX46" fmla="*/ 4600362 w 4600362"/>
              <a:gd name="connsiteY46" fmla="*/ 3831345 h 4999652"/>
              <a:gd name="connsiteX47" fmla="*/ 4600362 w 4600362"/>
              <a:gd name="connsiteY47" fmla="*/ 4105585 h 4999652"/>
              <a:gd name="connsiteX48" fmla="*/ 4600362 w 4600362"/>
              <a:gd name="connsiteY48" fmla="*/ 4217458 h 4999652"/>
              <a:gd name="connsiteX49" fmla="*/ 4600362 w 4600362"/>
              <a:gd name="connsiteY49" fmla="*/ 4491698 h 4999652"/>
              <a:gd name="connsiteX50" fmla="*/ 4600362 w 4600362"/>
              <a:gd name="connsiteY50" fmla="*/ 4629302 h 4999652"/>
              <a:gd name="connsiteX51" fmla="*/ 4600362 w 4600362"/>
              <a:gd name="connsiteY51" fmla="*/ 4903542 h 4999652"/>
              <a:gd name="connsiteX52" fmla="*/ 4504365 w 4600362"/>
              <a:gd name="connsiteY52" fmla="*/ 4999652 h 4999652"/>
              <a:gd name="connsiteX53" fmla="*/ 144766 w 4600362"/>
              <a:gd name="connsiteY53" fmla="*/ 4999652 h 4999652"/>
              <a:gd name="connsiteX54" fmla="*/ 0 w 4600362"/>
              <a:gd name="connsiteY54" fmla="*/ 4999652 h 49996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</a:cxnLst>
            <a:rect l="l" t="t" r="r" b="b"/>
            <a:pathLst>
              <a:path w="4600362" h="4999652">
                <a:moveTo>
                  <a:pt x="0" y="0"/>
                </a:moveTo>
                <a:lnTo>
                  <a:pt x="4504373" y="0"/>
                </a:lnTo>
                <a:lnTo>
                  <a:pt x="4536051" y="4129"/>
                </a:lnTo>
                <a:cubicBezTo>
                  <a:pt x="4600362" y="22525"/>
                  <a:pt x="4600362" y="96109"/>
                  <a:pt x="4600362" y="96109"/>
                </a:cubicBezTo>
                <a:cubicBezTo>
                  <a:pt x="4600362" y="96109"/>
                  <a:pt x="4600362" y="96109"/>
                  <a:pt x="4600362" y="335164"/>
                </a:cubicBezTo>
                <a:lnTo>
                  <a:pt x="4600362" y="370349"/>
                </a:lnTo>
                <a:cubicBezTo>
                  <a:pt x="4600362" y="370349"/>
                  <a:pt x="4600362" y="370349"/>
                  <a:pt x="4600362" y="379203"/>
                </a:cubicBezTo>
                <a:lnTo>
                  <a:pt x="4600362" y="400047"/>
                </a:lnTo>
                <a:lnTo>
                  <a:pt x="4600362" y="400231"/>
                </a:lnTo>
                <a:cubicBezTo>
                  <a:pt x="4600362" y="415172"/>
                  <a:pt x="4600362" y="437584"/>
                  <a:pt x="4600362" y="471201"/>
                </a:cubicBezTo>
                <a:lnTo>
                  <a:pt x="4600362" y="475720"/>
                </a:lnTo>
                <a:lnTo>
                  <a:pt x="4600362" y="508691"/>
                </a:lnTo>
                <a:cubicBezTo>
                  <a:pt x="4600362" y="522526"/>
                  <a:pt x="4600362" y="537743"/>
                  <a:pt x="4600362" y="554483"/>
                </a:cubicBezTo>
                <a:lnTo>
                  <a:pt x="4600362" y="563014"/>
                </a:lnTo>
                <a:lnTo>
                  <a:pt x="4600362" y="609404"/>
                </a:lnTo>
                <a:lnTo>
                  <a:pt x="4600362" y="662758"/>
                </a:lnTo>
                <a:lnTo>
                  <a:pt x="4600362" y="674287"/>
                </a:lnTo>
                <a:cubicBezTo>
                  <a:pt x="4600362" y="697667"/>
                  <a:pt x="4600362" y="722845"/>
                  <a:pt x="4600362" y="749960"/>
                </a:cubicBezTo>
                <a:lnTo>
                  <a:pt x="4600362" y="775784"/>
                </a:lnTo>
                <a:lnTo>
                  <a:pt x="4600362" y="837254"/>
                </a:lnTo>
                <a:lnTo>
                  <a:pt x="4600362" y="902920"/>
                </a:lnTo>
                <a:lnTo>
                  <a:pt x="4600362" y="936998"/>
                </a:lnTo>
                <a:lnTo>
                  <a:pt x="4600362" y="1044998"/>
                </a:lnTo>
                <a:lnTo>
                  <a:pt x="4600362" y="1050024"/>
                </a:lnTo>
                <a:cubicBezTo>
                  <a:pt x="4600362" y="1090005"/>
                  <a:pt x="4600362" y="1132337"/>
                  <a:pt x="4600362" y="1177160"/>
                </a:cubicBezTo>
                <a:lnTo>
                  <a:pt x="4600362" y="1202846"/>
                </a:lnTo>
                <a:lnTo>
                  <a:pt x="4600362" y="1319238"/>
                </a:lnTo>
                <a:lnTo>
                  <a:pt x="4600362" y="1377295"/>
                </a:lnTo>
                <a:lnTo>
                  <a:pt x="4600362" y="1477086"/>
                </a:lnTo>
                <a:lnTo>
                  <a:pt x="4600362" y="1569176"/>
                </a:lnTo>
                <a:lnTo>
                  <a:pt x="4600362" y="1651535"/>
                </a:lnTo>
                <a:lnTo>
                  <a:pt x="4600362" y="1779317"/>
                </a:lnTo>
                <a:lnTo>
                  <a:pt x="4600362" y="1843416"/>
                </a:lnTo>
                <a:lnTo>
                  <a:pt x="4600362" y="2008550"/>
                </a:lnTo>
                <a:lnTo>
                  <a:pt x="4600362" y="2053557"/>
                </a:lnTo>
                <a:lnTo>
                  <a:pt x="4600362" y="2257704"/>
                </a:lnTo>
                <a:lnTo>
                  <a:pt x="4600362" y="2282790"/>
                </a:lnTo>
                <a:lnTo>
                  <a:pt x="4600362" y="2527609"/>
                </a:lnTo>
                <a:lnTo>
                  <a:pt x="4600362" y="2531944"/>
                </a:lnTo>
                <a:cubicBezTo>
                  <a:pt x="4600362" y="2618408"/>
                  <a:pt x="4600362" y="2708330"/>
                  <a:pt x="4600362" y="2801850"/>
                </a:cubicBezTo>
                <a:lnTo>
                  <a:pt x="4600362" y="2819096"/>
                </a:lnTo>
                <a:lnTo>
                  <a:pt x="4600362" y="3093336"/>
                </a:lnTo>
                <a:lnTo>
                  <a:pt x="4600362" y="3132994"/>
                </a:lnTo>
                <a:lnTo>
                  <a:pt x="4600362" y="3407235"/>
                </a:lnTo>
                <a:lnTo>
                  <a:pt x="4600362" y="3470134"/>
                </a:lnTo>
                <a:lnTo>
                  <a:pt x="4600362" y="3744374"/>
                </a:lnTo>
                <a:lnTo>
                  <a:pt x="4600362" y="3831345"/>
                </a:lnTo>
                <a:lnTo>
                  <a:pt x="4600362" y="4105585"/>
                </a:lnTo>
                <a:lnTo>
                  <a:pt x="4600362" y="4217458"/>
                </a:lnTo>
                <a:lnTo>
                  <a:pt x="4600362" y="4491698"/>
                </a:lnTo>
                <a:lnTo>
                  <a:pt x="4600362" y="4629302"/>
                </a:lnTo>
                <a:lnTo>
                  <a:pt x="4600362" y="4903542"/>
                </a:lnTo>
                <a:cubicBezTo>
                  <a:pt x="4600362" y="4999652"/>
                  <a:pt x="4504365" y="4999652"/>
                  <a:pt x="4504365" y="4999652"/>
                </a:cubicBezTo>
                <a:cubicBezTo>
                  <a:pt x="4504365" y="4999652"/>
                  <a:pt x="4504365" y="4999652"/>
                  <a:pt x="144766" y="4999652"/>
                </a:cubicBezTo>
                <a:lnTo>
                  <a:pt x="0" y="4999652"/>
                </a:lnTo>
                <a:close/>
              </a:path>
            </a:pathLst>
          </a:custGeom>
          <a:noFill/>
        </p:spPr>
        <p:txBody>
          <a:bodyPr wrap="square" tIns="108000">
            <a:noAutofit/>
          </a:bodyPr>
          <a:lstStyle/>
          <a:p>
            <a:r>
              <a:rPr lang="nl-NL" noProof="0" smtClean="0"/>
              <a:t>Klik op het pictogram als u een afbeelding wilt toevoegen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496741468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1" pos="4308" userDrawn="1">
          <p15:clr>
            <a:srgbClr val="FBAE40"/>
          </p15:clr>
        </p15:guide>
        <p15:guide id="2" pos="4596" userDrawn="1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Header Oran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Freeform 9"/>
          <p:cNvSpPr>
            <a:spLocks noChangeAspect="1"/>
          </p:cNvSpPr>
          <p:nvPr userDrawn="1"/>
        </p:nvSpPr>
        <p:spPr bwMode="gray">
          <a:xfrm>
            <a:off x="0" y="1695450"/>
            <a:ext cx="9222525" cy="2382290"/>
          </a:xfrm>
          <a:custGeom>
            <a:avLst/>
            <a:gdLst>
              <a:gd name="T0" fmla="*/ 0 w 2680"/>
              <a:gd name="T1" fmla="*/ 560 h 560"/>
              <a:gd name="T2" fmla="*/ 2648 w 2680"/>
              <a:gd name="T3" fmla="*/ 560 h 560"/>
              <a:gd name="T4" fmla="*/ 2680 w 2680"/>
              <a:gd name="T5" fmla="*/ 528 h 560"/>
              <a:gd name="T6" fmla="*/ 2680 w 2680"/>
              <a:gd name="T7" fmla="*/ 32 h 560"/>
              <a:gd name="T8" fmla="*/ 2648 w 2680"/>
              <a:gd name="T9" fmla="*/ 0 h 560"/>
              <a:gd name="T10" fmla="*/ 0 w 2680"/>
              <a:gd name="T11" fmla="*/ 0 h 5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2680" h="560">
                <a:moveTo>
                  <a:pt x="0" y="560"/>
                </a:moveTo>
                <a:cubicBezTo>
                  <a:pt x="2648" y="560"/>
                  <a:pt x="2648" y="560"/>
                  <a:pt x="2648" y="560"/>
                </a:cubicBezTo>
                <a:cubicBezTo>
                  <a:pt x="2648" y="560"/>
                  <a:pt x="2680" y="560"/>
                  <a:pt x="2680" y="528"/>
                </a:cubicBezTo>
                <a:cubicBezTo>
                  <a:pt x="2680" y="32"/>
                  <a:pt x="2680" y="32"/>
                  <a:pt x="2680" y="32"/>
                </a:cubicBezTo>
                <a:cubicBezTo>
                  <a:pt x="2680" y="32"/>
                  <a:pt x="2680" y="0"/>
                  <a:pt x="2648" y="0"/>
                </a:cubicBezTo>
                <a:cubicBezTo>
                  <a:pt x="0" y="0"/>
                  <a:pt x="0" y="0"/>
                  <a:pt x="0" y="0"/>
                </a:cubicBezTo>
              </a:path>
            </a:pathLst>
          </a:custGeom>
          <a:solidFill>
            <a:srgbClr val="FF62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5" name="Title 1"/>
          <p:cNvSpPr>
            <a:spLocks noGrp="1"/>
          </p:cNvSpPr>
          <p:nvPr userDrawn="1">
            <p:ph type="ctrTitle"/>
          </p:nvPr>
        </p:nvSpPr>
        <p:spPr bwMode="gray">
          <a:xfrm>
            <a:off x="684477" y="1695454"/>
            <a:ext cx="8379482" cy="2368549"/>
          </a:xfrm>
        </p:spPr>
        <p:txBody>
          <a:bodyPr anchor="ctr" anchorCtr="0">
            <a:noAutofit/>
          </a:bodyPr>
          <a:lstStyle>
            <a:lvl1pPr algn="l">
              <a:lnSpc>
                <a:spcPts val="4600"/>
              </a:lnSpc>
              <a:defRPr sz="4600">
                <a:solidFill>
                  <a:schemeClr val="bg1"/>
                </a:solidFill>
              </a:defRPr>
            </a:lvl1pPr>
          </a:lstStyle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  <p:grpSp>
        <p:nvGrpSpPr>
          <p:cNvPr id="8" name="Group 7"/>
          <p:cNvGrpSpPr/>
          <p:nvPr userDrawn="1"/>
        </p:nvGrpSpPr>
        <p:grpSpPr bwMode="gray">
          <a:xfrm>
            <a:off x="-1653580" y="0"/>
            <a:ext cx="1521000" cy="4689612"/>
            <a:chOff x="-2581275" y="595116"/>
            <a:chExt cx="1872000" cy="4689612"/>
          </a:xfrm>
        </p:grpSpPr>
        <p:sp>
          <p:nvSpPr>
            <p:cNvPr id="9" name="Rectangle 104"/>
            <p:cNvSpPr>
              <a:spLocks noChangeArrowheads="1"/>
            </p:cNvSpPr>
            <p:nvPr/>
          </p:nvSpPr>
          <p:spPr bwMode="gray">
            <a:xfrm>
              <a:off x="-2581275" y="4276728"/>
              <a:ext cx="1872000" cy="100800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10" name="Rectangle 104"/>
            <p:cNvSpPr>
              <a:spLocks noChangeArrowheads="1"/>
            </p:cNvSpPr>
            <p:nvPr userDrawn="1"/>
          </p:nvSpPr>
          <p:spPr bwMode="gray">
            <a:xfrm>
              <a:off x="-2581275" y="595116"/>
              <a:ext cx="1872000" cy="3672087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11" name="Rectangle 105"/>
            <p:cNvSpPr>
              <a:spLocks noChangeArrowheads="1"/>
            </p:cNvSpPr>
            <p:nvPr userDrawn="1"/>
          </p:nvSpPr>
          <p:spPr bwMode="gray">
            <a:xfrm>
              <a:off x="-2449513" y="1136650"/>
              <a:ext cx="215900" cy="215900"/>
            </a:xfrm>
            <a:prstGeom prst="rect">
              <a:avLst/>
            </a:prstGeom>
            <a:solidFill>
              <a:srgbClr val="FF6200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12" name="Rectangle 106"/>
            <p:cNvSpPr>
              <a:spLocks noChangeArrowheads="1"/>
            </p:cNvSpPr>
            <p:nvPr userDrawn="1"/>
          </p:nvSpPr>
          <p:spPr bwMode="gray">
            <a:xfrm>
              <a:off x="-2159000" y="1146175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Orang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55, 98, 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13" name="Rectangle 107"/>
            <p:cNvSpPr>
              <a:spLocks noChangeArrowheads="1"/>
            </p:cNvSpPr>
            <p:nvPr userDrawn="1"/>
          </p:nvSpPr>
          <p:spPr bwMode="gray">
            <a:xfrm>
              <a:off x="-2449513" y="1571626"/>
              <a:ext cx="215900" cy="215900"/>
            </a:xfrm>
            <a:prstGeom prst="rect">
              <a:avLst/>
            </a:prstGeom>
            <a:solidFill>
              <a:srgbClr val="A8A8A8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15" name="Rectangle 108"/>
            <p:cNvSpPr>
              <a:spLocks noChangeArrowheads="1"/>
            </p:cNvSpPr>
            <p:nvPr userDrawn="1"/>
          </p:nvSpPr>
          <p:spPr bwMode="gray">
            <a:xfrm>
              <a:off x="-2159000" y="15970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ght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68, 168, 16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16" name="Rectangle 109"/>
            <p:cNvSpPr>
              <a:spLocks noChangeArrowheads="1"/>
            </p:cNvSpPr>
            <p:nvPr userDrawn="1"/>
          </p:nvSpPr>
          <p:spPr bwMode="gray">
            <a:xfrm>
              <a:off x="-2449513" y="2058988"/>
              <a:ext cx="215900" cy="215900"/>
            </a:xfrm>
            <a:prstGeom prst="rect">
              <a:avLst/>
            </a:prstGeom>
            <a:solidFill>
              <a:srgbClr val="52519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17" name="Rectangle 110"/>
            <p:cNvSpPr>
              <a:spLocks noChangeArrowheads="1"/>
            </p:cNvSpPr>
            <p:nvPr userDrawn="1"/>
          </p:nvSpPr>
          <p:spPr bwMode="gray">
            <a:xfrm>
              <a:off x="-2159000" y="2068513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Indigo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82, 81, 153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18" name="Rectangle 111"/>
            <p:cNvSpPr>
              <a:spLocks noChangeArrowheads="1"/>
            </p:cNvSpPr>
            <p:nvPr userDrawn="1"/>
          </p:nvSpPr>
          <p:spPr bwMode="gray">
            <a:xfrm>
              <a:off x="-2449513" y="2527301"/>
              <a:ext cx="215900" cy="215900"/>
            </a:xfrm>
            <a:prstGeom prst="rect">
              <a:avLst/>
            </a:prstGeom>
            <a:solidFill>
              <a:srgbClr val="60A6DA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19" name="Rectangle 112"/>
            <p:cNvSpPr>
              <a:spLocks noChangeArrowheads="1"/>
            </p:cNvSpPr>
            <p:nvPr userDrawn="1"/>
          </p:nvSpPr>
          <p:spPr bwMode="gray">
            <a:xfrm>
              <a:off x="-2159000" y="25368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Sk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96, 166, 2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20" name="Rectangle 113"/>
            <p:cNvSpPr>
              <a:spLocks noChangeArrowheads="1"/>
            </p:cNvSpPr>
            <p:nvPr userDrawn="1"/>
          </p:nvSpPr>
          <p:spPr bwMode="gray">
            <a:xfrm>
              <a:off x="-2449513" y="762000"/>
              <a:ext cx="1692000" cy="165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90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200" b="1" smtClean="0">
                  <a:solidFill>
                    <a:srgbClr val="333333"/>
                  </a:solidFill>
                </a:rPr>
                <a:t>Colour Guidelines</a:t>
              </a:r>
              <a:endParaRPr lang="en-GB" altLang="en-US" sz="1200" b="1">
                <a:solidFill>
                  <a:srgbClr val="333333"/>
                </a:solidFill>
              </a:endParaRPr>
            </a:p>
          </p:txBody>
        </p:sp>
        <p:sp>
          <p:nvSpPr>
            <p:cNvPr id="21" name="Rectangle 107"/>
            <p:cNvSpPr>
              <a:spLocks noChangeArrowheads="1"/>
            </p:cNvSpPr>
            <p:nvPr/>
          </p:nvSpPr>
          <p:spPr bwMode="gray">
            <a:xfrm>
              <a:off x="-2449513" y="2962277"/>
              <a:ext cx="215900" cy="215900"/>
            </a:xfrm>
            <a:prstGeom prst="rect">
              <a:avLst/>
            </a:prstGeom>
            <a:solidFill>
              <a:srgbClr val="AB006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22" name="Rectangle 108"/>
            <p:cNvSpPr>
              <a:spLocks noChangeArrowheads="1"/>
            </p:cNvSpPr>
            <p:nvPr/>
          </p:nvSpPr>
          <p:spPr bwMode="gray">
            <a:xfrm>
              <a:off x="-2159000" y="29876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Fuchsia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71, 0, 102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23" name="Rectangle 109"/>
            <p:cNvSpPr>
              <a:spLocks noChangeArrowheads="1"/>
            </p:cNvSpPr>
            <p:nvPr/>
          </p:nvSpPr>
          <p:spPr bwMode="gray">
            <a:xfrm>
              <a:off x="-2449513" y="3449639"/>
              <a:ext cx="215900" cy="215900"/>
            </a:xfrm>
            <a:prstGeom prst="rect">
              <a:avLst/>
            </a:prstGeom>
            <a:solidFill>
              <a:srgbClr val="D0D93C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24" name="Rectangle 110"/>
            <p:cNvSpPr>
              <a:spLocks noChangeArrowheads="1"/>
            </p:cNvSpPr>
            <p:nvPr/>
          </p:nvSpPr>
          <p:spPr bwMode="gray">
            <a:xfrm>
              <a:off x="-2159000" y="3459164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m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08, 217, 6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25" name="Rectangle 111"/>
            <p:cNvSpPr>
              <a:spLocks noChangeArrowheads="1"/>
            </p:cNvSpPr>
            <p:nvPr/>
          </p:nvSpPr>
          <p:spPr bwMode="gray">
            <a:xfrm>
              <a:off x="-2449513" y="3917952"/>
              <a:ext cx="215900" cy="215900"/>
            </a:xfrm>
            <a:prstGeom prst="rect">
              <a:avLst/>
            </a:prstGeom>
            <a:solidFill>
              <a:srgbClr val="01964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26" name="Rectangle 112"/>
            <p:cNvSpPr>
              <a:spLocks noChangeArrowheads="1"/>
            </p:cNvSpPr>
            <p:nvPr/>
          </p:nvSpPr>
          <p:spPr bwMode="gray">
            <a:xfrm>
              <a:off x="-2159000" y="39274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eaf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2, 150, 8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27" name="Rectangle 109"/>
            <p:cNvSpPr>
              <a:spLocks noChangeArrowheads="1"/>
            </p:cNvSpPr>
            <p:nvPr/>
          </p:nvSpPr>
          <p:spPr bwMode="gray">
            <a:xfrm>
              <a:off x="-2449513" y="4405314"/>
              <a:ext cx="215900" cy="215900"/>
            </a:xfrm>
            <a:prstGeom prst="rect">
              <a:avLst/>
            </a:prstGeom>
            <a:solidFill>
              <a:srgbClr val="76767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28" name="Rectangle 110"/>
            <p:cNvSpPr>
              <a:spLocks noChangeArrowheads="1"/>
            </p:cNvSpPr>
            <p:nvPr/>
          </p:nvSpPr>
          <p:spPr bwMode="gray">
            <a:xfrm>
              <a:off x="-2159000" y="4414839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Mid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18, 118, 1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29" name="Rectangle 111"/>
            <p:cNvSpPr>
              <a:spLocks noChangeArrowheads="1"/>
            </p:cNvSpPr>
            <p:nvPr/>
          </p:nvSpPr>
          <p:spPr bwMode="gray">
            <a:xfrm>
              <a:off x="-2449513" y="4873627"/>
              <a:ext cx="215900" cy="215900"/>
            </a:xfrm>
            <a:prstGeom prst="rect">
              <a:avLst/>
            </a:prstGeom>
            <a:solidFill>
              <a:srgbClr val="333333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30" name="Rectangle 112"/>
            <p:cNvSpPr>
              <a:spLocks noChangeArrowheads="1"/>
            </p:cNvSpPr>
            <p:nvPr/>
          </p:nvSpPr>
          <p:spPr bwMode="gray">
            <a:xfrm>
              <a:off x="-2159000" y="4883152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Text Colour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1, 51, 5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</p:grpSp>
      <p:pic>
        <p:nvPicPr>
          <p:cNvPr id="31" name="Picture 30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-1466554" y="4402733"/>
            <a:ext cx="125761" cy="138908"/>
          </a:xfrm>
          <a:prstGeom prst="rect">
            <a:avLst/>
          </a:prstGeom>
        </p:spPr>
      </p:pic>
      <p:pic>
        <p:nvPicPr>
          <p:cNvPr id="40" name="Picture 39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8712789" y="6358072"/>
            <a:ext cx="961391" cy="2946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9048711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Header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Picture Placeholder 37"/>
          <p:cNvSpPr>
            <a:spLocks noGrp="1"/>
          </p:cNvSpPr>
          <p:nvPr>
            <p:ph type="pic" sz="quarter" idx="16"/>
          </p:nvPr>
        </p:nvSpPr>
        <p:spPr bwMode="gray">
          <a:xfrm>
            <a:off x="566241" y="1696718"/>
            <a:ext cx="9099675" cy="4504080"/>
          </a:xfrm>
          <a:custGeom>
            <a:avLst/>
            <a:gdLst>
              <a:gd name="connsiteX0" fmla="*/ 95997 w 11199600"/>
              <a:gd name="connsiteY0" fmla="*/ 0 h 4504080"/>
              <a:gd name="connsiteX1" fmla="*/ 11103603 w 11199600"/>
              <a:gd name="connsiteY1" fmla="*/ 0 h 4504080"/>
              <a:gd name="connsiteX2" fmla="*/ 11199600 w 11199600"/>
              <a:gd name="connsiteY2" fmla="*/ 96110 h 4504080"/>
              <a:gd name="connsiteX3" fmla="*/ 11199600 w 11199600"/>
              <a:gd name="connsiteY3" fmla="*/ 335165 h 4504080"/>
              <a:gd name="connsiteX4" fmla="*/ 11199600 w 11199600"/>
              <a:gd name="connsiteY4" fmla="*/ 370350 h 4504080"/>
              <a:gd name="connsiteX5" fmla="*/ 11199600 w 11199600"/>
              <a:gd name="connsiteY5" fmla="*/ 379204 h 4504080"/>
              <a:gd name="connsiteX6" fmla="*/ 11199600 w 11199600"/>
              <a:gd name="connsiteY6" fmla="*/ 400048 h 4504080"/>
              <a:gd name="connsiteX7" fmla="*/ 11199600 w 11199600"/>
              <a:gd name="connsiteY7" fmla="*/ 400232 h 4504080"/>
              <a:gd name="connsiteX8" fmla="*/ 11199600 w 11199600"/>
              <a:gd name="connsiteY8" fmla="*/ 471202 h 4504080"/>
              <a:gd name="connsiteX9" fmla="*/ 11199600 w 11199600"/>
              <a:gd name="connsiteY9" fmla="*/ 475721 h 4504080"/>
              <a:gd name="connsiteX10" fmla="*/ 11199600 w 11199600"/>
              <a:gd name="connsiteY10" fmla="*/ 508692 h 4504080"/>
              <a:gd name="connsiteX11" fmla="*/ 11199600 w 11199600"/>
              <a:gd name="connsiteY11" fmla="*/ 554484 h 4504080"/>
              <a:gd name="connsiteX12" fmla="*/ 11199600 w 11199600"/>
              <a:gd name="connsiteY12" fmla="*/ 563015 h 4504080"/>
              <a:gd name="connsiteX13" fmla="*/ 11199600 w 11199600"/>
              <a:gd name="connsiteY13" fmla="*/ 609405 h 4504080"/>
              <a:gd name="connsiteX14" fmla="*/ 11199600 w 11199600"/>
              <a:gd name="connsiteY14" fmla="*/ 662759 h 4504080"/>
              <a:gd name="connsiteX15" fmla="*/ 11199600 w 11199600"/>
              <a:gd name="connsiteY15" fmla="*/ 674288 h 4504080"/>
              <a:gd name="connsiteX16" fmla="*/ 11199600 w 11199600"/>
              <a:gd name="connsiteY16" fmla="*/ 749961 h 4504080"/>
              <a:gd name="connsiteX17" fmla="*/ 11199600 w 11199600"/>
              <a:gd name="connsiteY17" fmla="*/ 775785 h 4504080"/>
              <a:gd name="connsiteX18" fmla="*/ 11199600 w 11199600"/>
              <a:gd name="connsiteY18" fmla="*/ 837255 h 4504080"/>
              <a:gd name="connsiteX19" fmla="*/ 11199600 w 11199600"/>
              <a:gd name="connsiteY19" fmla="*/ 902921 h 4504080"/>
              <a:gd name="connsiteX20" fmla="*/ 11199600 w 11199600"/>
              <a:gd name="connsiteY20" fmla="*/ 936999 h 4504080"/>
              <a:gd name="connsiteX21" fmla="*/ 11199600 w 11199600"/>
              <a:gd name="connsiteY21" fmla="*/ 1044999 h 4504080"/>
              <a:gd name="connsiteX22" fmla="*/ 11199600 w 11199600"/>
              <a:gd name="connsiteY22" fmla="*/ 1050025 h 4504080"/>
              <a:gd name="connsiteX23" fmla="*/ 11199600 w 11199600"/>
              <a:gd name="connsiteY23" fmla="*/ 1177161 h 4504080"/>
              <a:gd name="connsiteX24" fmla="*/ 11199600 w 11199600"/>
              <a:gd name="connsiteY24" fmla="*/ 1202847 h 4504080"/>
              <a:gd name="connsiteX25" fmla="*/ 11199600 w 11199600"/>
              <a:gd name="connsiteY25" fmla="*/ 1319239 h 4504080"/>
              <a:gd name="connsiteX26" fmla="*/ 11199600 w 11199600"/>
              <a:gd name="connsiteY26" fmla="*/ 1377296 h 4504080"/>
              <a:gd name="connsiteX27" fmla="*/ 11199600 w 11199600"/>
              <a:gd name="connsiteY27" fmla="*/ 1477087 h 4504080"/>
              <a:gd name="connsiteX28" fmla="*/ 11199600 w 11199600"/>
              <a:gd name="connsiteY28" fmla="*/ 1569177 h 4504080"/>
              <a:gd name="connsiteX29" fmla="*/ 11199600 w 11199600"/>
              <a:gd name="connsiteY29" fmla="*/ 1626118 h 4504080"/>
              <a:gd name="connsiteX30" fmla="*/ 11199600 w 11199600"/>
              <a:gd name="connsiteY30" fmla="*/ 1651536 h 4504080"/>
              <a:gd name="connsiteX31" fmla="*/ 11199600 w 11199600"/>
              <a:gd name="connsiteY31" fmla="*/ 1762133 h 4504080"/>
              <a:gd name="connsiteX32" fmla="*/ 11199600 w 11199600"/>
              <a:gd name="connsiteY32" fmla="*/ 1779318 h 4504080"/>
              <a:gd name="connsiteX33" fmla="*/ 11199600 w 11199600"/>
              <a:gd name="connsiteY33" fmla="*/ 1787219 h 4504080"/>
              <a:gd name="connsiteX34" fmla="*/ 11199600 w 11199600"/>
              <a:gd name="connsiteY34" fmla="*/ 1843417 h 4504080"/>
              <a:gd name="connsiteX35" fmla="*/ 11199600 w 11199600"/>
              <a:gd name="connsiteY35" fmla="*/ 1984894 h 4504080"/>
              <a:gd name="connsiteX36" fmla="*/ 11199600 w 11199600"/>
              <a:gd name="connsiteY36" fmla="*/ 2032038 h 4504080"/>
              <a:gd name="connsiteX37" fmla="*/ 11199600 w 11199600"/>
              <a:gd name="connsiteY37" fmla="*/ 2036373 h 4504080"/>
              <a:gd name="connsiteX38" fmla="*/ 11199600 w 11199600"/>
              <a:gd name="connsiteY38" fmla="*/ 2306279 h 4504080"/>
              <a:gd name="connsiteX39" fmla="*/ 11199600 w 11199600"/>
              <a:gd name="connsiteY39" fmla="*/ 2323525 h 4504080"/>
              <a:gd name="connsiteX40" fmla="*/ 11199600 w 11199600"/>
              <a:gd name="connsiteY40" fmla="*/ 2597765 h 4504080"/>
              <a:gd name="connsiteX41" fmla="*/ 11199600 w 11199600"/>
              <a:gd name="connsiteY41" fmla="*/ 2637423 h 4504080"/>
              <a:gd name="connsiteX42" fmla="*/ 11199600 w 11199600"/>
              <a:gd name="connsiteY42" fmla="*/ 2911664 h 4504080"/>
              <a:gd name="connsiteX43" fmla="*/ 11199600 w 11199600"/>
              <a:gd name="connsiteY43" fmla="*/ 2974563 h 4504080"/>
              <a:gd name="connsiteX44" fmla="*/ 11199600 w 11199600"/>
              <a:gd name="connsiteY44" fmla="*/ 3248803 h 4504080"/>
              <a:gd name="connsiteX45" fmla="*/ 11199600 w 11199600"/>
              <a:gd name="connsiteY45" fmla="*/ 3335774 h 4504080"/>
              <a:gd name="connsiteX46" fmla="*/ 11199600 w 11199600"/>
              <a:gd name="connsiteY46" fmla="*/ 3610014 h 4504080"/>
              <a:gd name="connsiteX47" fmla="*/ 11199600 w 11199600"/>
              <a:gd name="connsiteY47" fmla="*/ 3721887 h 4504080"/>
              <a:gd name="connsiteX48" fmla="*/ 11199600 w 11199600"/>
              <a:gd name="connsiteY48" fmla="*/ 3996127 h 4504080"/>
              <a:gd name="connsiteX49" fmla="*/ 11199600 w 11199600"/>
              <a:gd name="connsiteY49" fmla="*/ 4133731 h 4504080"/>
              <a:gd name="connsiteX50" fmla="*/ 11199600 w 11199600"/>
              <a:gd name="connsiteY50" fmla="*/ 4407971 h 4504080"/>
              <a:gd name="connsiteX51" fmla="*/ 11118603 w 11199600"/>
              <a:gd name="connsiteY51" fmla="*/ 4502580 h 4504080"/>
              <a:gd name="connsiteX52" fmla="*/ 11103613 w 11199600"/>
              <a:gd name="connsiteY52" fmla="*/ 4504080 h 4504080"/>
              <a:gd name="connsiteX53" fmla="*/ 95989 w 11199600"/>
              <a:gd name="connsiteY53" fmla="*/ 4504080 h 4504080"/>
              <a:gd name="connsiteX54" fmla="*/ 64311 w 11199600"/>
              <a:gd name="connsiteY54" fmla="*/ 4499952 h 4504080"/>
              <a:gd name="connsiteX55" fmla="*/ 0 w 11199600"/>
              <a:gd name="connsiteY55" fmla="*/ 4407971 h 4504080"/>
              <a:gd name="connsiteX56" fmla="*/ 0 w 11199600"/>
              <a:gd name="connsiteY56" fmla="*/ 4404236 h 4504080"/>
              <a:gd name="connsiteX57" fmla="*/ 0 w 11199600"/>
              <a:gd name="connsiteY57" fmla="*/ 4395365 h 4504080"/>
              <a:gd name="connsiteX58" fmla="*/ 0 w 11199600"/>
              <a:gd name="connsiteY58" fmla="*/ 4378089 h 4504080"/>
              <a:gd name="connsiteX59" fmla="*/ 0 w 11199600"/>
              <a:gd name="connsiteY59" fmla="*/ 4349608 h 4504080"/>
              <a:gd name="connsiteX60" fmla="*/ 0 w 11199600"/>
              <a:gd name="connsiteY60" fmla="*/ 4307120 h 4504080"/>
              <a:gd name="connsiteX61" fmla="*/ 0 w 11199600"/>
              <a:gd name="connsiteY61" fmla="*/ 4247823 h 4504080"/>
              <a:gd name="connsiteX62" fmla="*/ 0 w 11199600"/>
              <a:gd name="connsiteY62" fmla="*/ 4168916 h 4504080"/>
              <a:gd name="connsiteX63" fmla="*/ 0 w 11199600"/>
              <a:gd name="connsiteY63" fmla="*/ 4133731 h 4504080"/>
              <a:gd name="connsiteX64" fmla="*/ 0 w 11199600"/>
              <a:gd name="connsiteY64" fmla="*/ 4132625 h 4504080"/>
              <a:gd name="connsiteX65" fmla="*/ 0 w 11199600"/>
              <a:gd name="connsiteY65" fmla="*/ 4124877 h 4504080"/>
              <a:gd name="connsiteX66" fmla="*/ 0 w 11199600"/>
              <a:gd name="connsiteY66" fmla="*/ 4104034 h 4504080"/>
              <a:gd name="connsiteX67" fmla="*/ 0 w 11199600"/>
              <a:gd name="connsiteY67" fmla="*/ 4103849 h 4504080"/>
              <a:gd name="connsiteX68" fmla="*/ 0 w 11199600"/>
              <a:gd name="connsiteY68" fmla="*/ 4062900 h 4504080"/>
              <a:gd name="connsiteX69" fmla="*/ 0 w 11199600"/>
              <a:gd name="connsiteY69" fmla="*/ 4032880 h 4504080"/>
              <a:gd name="connsiteX70" fmla="*/ 0 w 11199600"/>
              <a:gd name="connsiteY70" fmla="*/ 4028361 h 4504080"/>
              <a:gd name="connsiteX71" fmla="*/ 0 w 11199600"/>
              <a:gd name="connsiteY71" fmla="*/ 3995389 h 4504080"/>
              <a:gd name="connsiteX72" fmla="*/ 0 w 11199600"/>
              <a:gd name="connsiteY72" fmla="*/ 3949598 h 4504080"/>
              <a:gd name="connsiteX73" fmla="*/ 0 w 11199600"/>
              <a:gd name="connsiteY73" fmla="*/ 3941067 h 4504080"/>
              <a:gd name="connsiteX74" fmla="*/ 0 w 11199600"/>
              <a:gd name="connsiteY74" fmla="*/ 3894676 h 4504080"/>
              <a:gd name="connsiteX75" fmla="*/ 0 w 11199600"/>
              <a:gd name="connsiteY75" fmla="*/ 3841322 h 4504080"/>
              <a:gd name="connsiteX76" fmla="*/ 0 w 11199600"/>
              <a:gd name="connsiteY76" fmla="*/ 3829794 h 4504080"/>
              <a:gd name="connsiteX77" fmla="*/ 0 w 11199600"/>
              <a:gd name="connsiteY77" fmla="*/ 3754121 h 4504080"/>
              <a:gd name="connsiteX78" fmla="*/ 0 w 11199600"/>
              <a:gd name="connsiteY78" fmla="*/ 3728297 h 4504080"/>
              <a:gd name="connsiteX79" fmla="*/ 0 w 11199600"/>
              <a:gd name="connsiteY79" fmla="*/ 3666827 h 4504080"/>
              <a:gd name="connsiteX80" fmla="*/ 0 w 11199600"/>
              <a:gd name="connsiteY80" fmla="*/ 3601160 h 4504080"/>
              <a:gd name="connsiteX81" fmla="*/ 0 w 11199600"/>
              <a:gd name="connsiteY81" fmla="*/ 3567082 h 4504080"/>
              <a:gd name="connsiteX82" fmla="*/ 0 w 11199600"/>
              <a:gd name="connsiteY82" fmla="*/ 3459083 h 4504080"/>
              <a:gd name="connsiteX83" fmla="*/ 0 w 11199600"/>
              <a:gd name="connsiteY83" fmla="*/ 3454057 h 4504080"/>
              <a:gd name="connsiteX84" fmla="*/ 0 w 11199600"/>
              <a:gd name="connsiteY84" fmla="*/ 3326920 h 4504080"/>
              <a:gd name="connsiteX85" fmla="*/ 0 w 11199600"/>
              <a:gd name="connsiteY85" fmla="*/ 3301235 h 4504080"/>
              <a:gd name="connsiteX86" fmla="*/ 0 w 11199600"/>
              <a:gd name="connsiteY86" fmla="*/ 3184843 h 4504080"/>
              <a:gd name="connsiteX87" fmla="*/ 0 w 11199600"/>
              <a:gd name="connsiteY87" fmla="*/ 3126785 h 4504080"/>
              <a:gd name="connsiteX88" fmla="*/ 0 w 11199600"/>
              <a:gd name="connsiteY88" fmla="*/ 3026995 h 4504080"/>
              <a:gd name="connsiteX89" fmla="*/ 0 w 11199600"/>
              <a:gd name="connsiteY89" fmla="*/ 2934905 h 4504080"/>
              <a:gd name="connsiteX90" fmla="*/ 0 w 11199600"/>
              <a:gd name="connsiteY90" fmla="*/ 2852545 h 4504080"/>
              <a:gd name="connsiteX91" fmla="*/ 0 w 11199600"/>
              <a:gd name="connsiteY91" fmla="*/ 2724763 h 4504080"/>
              <a:gd name="connsiteX92" fmla="*/ 0 w 11199600"/>
              <a:gd name="connsiteY92" fmla="*/ 2660665 h 4504080"/>
              <a:gd name="connsiteX93" fmla="*/ 0 w 11199600"/>
              <a:gd name="connsiteY93" fmla="*/ 2495530 h 4504080"/>
              <a:gd name="connsiteX94" fmla="*/ 0 w 11199600"/>
              <a:gd name="connsiteY94" fmla="*/ 2450523 h 4504080"/>
              <a:gd name="connsiteX95" fmla="*/ 0 w 11199600"/>
              <a:gd name="connsiteY95" fmla="*/ 2246376 h 4504080"/>
              <a:gd name="connsiteX96" fmla="*/ 0 w 11199600"/>
              <a:gd name="connsiteY96" fmla="*/ 2221290 h 4504080"/>
              <a:gd name="connsiteX97" fmla="*/ 0 w 11199600"/>
              <a:gd name="connsiteY97" fmla="*/ 1984894 h 4504080"/>
              <a:gd name="connsiteX98" fmla="*/ 0 w 11199600"/>
              <a:gd name="connsiteY98" fmla="*/ 1976471 h 4504080"/>
              <a:gd name="connsiteX99" fmla="*/ 0 w 11199600"/>
              <a:gd name="connsiteY99" fmla="*/ 1972136 h 4504080"/>
              <a:gd name="connsiteX100" fmla="*/ 0 w 11199600"/>
              <a:gd name="connsiteY100" fmla="*/ 1906316 h 4504080"/>
              <a:gd name="connsiteX101" fmla="*/ 0 w 11199600"/>
              <a:gd name="connsiteY101" fmla="*/ 1866658 h 4504080"/>
              <a:gd name="connsiteX102" fmla="*/ 0 w 11199600"/>
              <a:gd name="connsiteY102" fmla="*/ 1702231 h 4504080"/>
              <a:gd name="connsiteX103" fmla="*/ 0 w 11199600"/>
              <a:gd name="connsiteY103" fmla="*/ 1684984 h 4504080"/>
              <a:gd name="connsiteX104" fmla="*/ 0 w 11199600"/>
              <a:gd name="connsiteY104" fmla="*/ 1626118 h 4504080"/>
              <a:gd name="connsiteX105" fmla="*/ 0 w 11199600"/>
              <a:gd name="connsiteY105" fmla="*/ 1592418 h 4504080"/>
              <a:gd name="connsiteX106" fmla="*/ 0 w 11199600"/>
              <a:gd name="connsiteY106" fmla="*/ 1529519 h 4504080"/>
              <a:gd name="connsiteX107" fmla="*/ 0 w 11199600"/>
              <a:gd name="connsiteY107" fmla="*/ 1255278 h 4504080"/>
              <a:gd name="connsiteX108" fmla="*/ 0 w 11199600"/>
              <a:gd name="connsiteY108" fmla="*/ 1168307 h 4504080"/>
              <a:gd name="connsiteX109" fmla="*/ 0 w 11199600"/>
              <a:gd name="connsiteY109" fmla="*/ 894067 h 4504080"/>
              <a:gd name="connsiteX110" fmla="*/ 0 w 11199600"/>
              <a:gd name="connsiteY110" fmla="*/ 782195 h 4504080"/>
              <a:gd name="connsiteX111" fmla="*/ 0 w 11199600"/>
              <a:gd name="connsiteY111" fmla="*/ 507955 h 4504080"/>
              <a:gd name="connsiteX112" fmla="*/ 0 w 11199600"/>
              <a:gd name="connsiteY112" fmla="*/ 370350 h 4504080"/>
              <a:gd name="connsiteX113" fmla="*/ 0 w 11199600"/>
              <a:gd name="connsiteY113" fmla="*/ 96110 h 4504080"/>
              <a:gd name="connsiteX114" fmla="*/ 95997 w 11199600"/>
              <a:gd name="connsiteY114" fmla="*/ 0 h 45040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</a:cxnLst>
            <a:rect l="l" t="t" r="r" b="b"/>
            <a:pathLst>
              <a:path w="11199600" h="4504080">
                <a:moveTo>
                  <a:pt x="95997" y="0"/>
                </a:moveTo>
                <a:lnTo>
                  <a:pt x="11103603" y="0"/>
                </a:lnTo>
                <a:cubicBezTo>
                  <a:pt x="11199600" y="0"/>
                  <a:pt x="11199600" y="96110"/>
                  <a:pt x="11199600" y="96110"/>
                </a:cubicBezTo>
                <a:cubicBezTo>
                  <a:pt x="11199600" y="96110"/>
                  <a:pt x="11199600" y="96110"/>
                  <a:pt x="11199600" y="335165"/>
                </a:cubicBezTo>
                <a:lnTo>
                  <a:pt x="11199600" y="370350"/>
                </a:lnTo>
                <a:cubicBezTo>
                  <a:pt x="11199600" y="370350"/>
                  <a:pt x="11199600" y="370350"/>
                  <a:pt x="11199600" y="379204"/>
                </a:cubicBezTo>
                <a:lnTo>
                  <a:pt x="11199600" y="400048"/>
                </a:lnTo>
                <a:lnTo>
                  <a:pt x="11199600" y="400232"/>
                </a:lnTo>
                <a:cubicBezTo>
                  <a:pt x="11199600" y="415173"/>
                  <a:pt x="11199600" y="437585"/>
                  <a:pt x="11199600" y="471202"/>
                </a:cubicBezTo>
                <a:lnTo>
                  <a:pt x="11199600" y="475721"/>
                </a:lnTo>
                <a:lnTo>
                  <a:pt x="11199600" y="508692"/>
                </a:lnTo>
                <a:cubicBezTo>
                  <a:pt x="11199600" y="522527"/>
                  <a:pt x="11199600" y="537744"/>
                  <a:pt x="11199600" y="554484"/>
                </a:cubicBezTo>
                <a:lnTo>
                  <a:pt x="11199600" y="563015"/>
                </a:lnTo>
                <a:lnTo>
                  <a:pt x="11199600" y="609405"/>
                </a:lnTo>
                <a:lnTo>
                  <a:pt x="11199600" y="662759"/>
                </a:lnTo>
                <a:lnTo>
                  <a:pt x="11199600" y="674288"/>
                </a:lnTo>
                <a:cubicBezTo>
                  <a:pt x="11199600" y="697668"/>
                  <a:pt x="11199600" y="722846"/>
                  <a:pt x="11199600" y="749961"/>
                </a:cubicBezTo>
                <a:lnTo>
                  <a:pt x="11199600" y="775785"/>
                </a:lnTo>
                <a:lnTo>
                  <a:pt x="11199600" y="837255"/>
                </a:lnTo>
                <a:lnTo>
                  <a:pt x="11199600" y="902921"/>
                </a:lnTo>
                <a:lnTo>
                  <a:pt x="11199600" y="936999"/>
                </a:lnTo>
                <a:lnTo>
                  <a:pt x="11199600" y="1044999"/>
                </a:lnTo>
                <a:lnTo>
                  <a:pt x="11199600" y="1050025"/>
                </a:lnTo>
                <a:cubicBezTo>
                  <a:pt x="11199600" y="1090006"/>
                  <a:pt x="11199600" y="1132338"/>
                  <a:pt x="11199600" y="1177161"/>
                </a:cubicBezTo>
                <a:lnTo>
                  <a:pt x="11199600" y="1202847"/>
                </a:lnTo>
                <a:lnTo>
                  <a:pt x="11199600" y="1319239"/>
                </a:lnTo>
                <a:lnTo>
                  <a:pt x="11199600" y="1377296"/>
                </a:lnTo>
                <a:lnTo>
                  <a:pt x="11199600" y="1477087"/>
                </a:lnTo>
                <a:lnTo>
                  <a:pt x="11199600" y="1569177"/>
                </a:lnTo>
                <a:lnTo>
                  <a:pt x="11199600" y="1626118"/>
                </a:lnTo>
                <a:lnTo>
                  <a:pt x="11199600" y="1651536"/>
                </a:lnTo>
                <a:lnTo>
                  <a:pt x="11199600" y="1762133"/>
                </a:lnTo>
                <a:lnTo>
                  <a:pt x="11199600" y="1779318"/>
                </a:lnTo>
                <a:lnTo>
                  <a:pt x="11199600" y="1787219"/>
                </a:lnTo>
                <a:lnTo>
                  <a:pt x="11199600" y="1843417"/>
                </a:lnTo>
                <a:lnTo>
                  <a:pt x="11199600" y="1984894"/>
                </a:lnTo>
                <a:lnTo>
                  <a:pt x="11199600" y="2032038"/>
                </a:lnTo>
                <a:lnTo>
                  <a:pt x="11199600" y="2036373"/>
                </a:lnTo>
                <a:cubicBezTo>
                  <a:pt x="11199600" y="2122837"/>
                  <a:pt x="11199600" y="2212759"/>
                  <a:pt x="11199600" y="2306279"/>
                </a:cubicBezTo>
                <a:lnTo>
                  <a:pt x="11199600" y="2323525"/>
                </a:lnTo>
                <a:lnTo>
                  <a:pt x="11199600" y="2597765"/>
                </a:lnTo>
                <a:lnTo>
                  <a:pt x="11199600" y="2637423"/>
                </a:lnTo>
                <a:lnTo>
                  <a:pt x="11199600" y="2911664"/>
                </a:lnTo>
                <a:lnTo>
                  <a:pt x="11199600" y="2974563"/>
                </a:lnTo>
                <a:lnTo>
                  <a:pt x="11199600" y="3248803"/>
                </a:lnTo>
                <a:lnTo>
                  <a:pt x="11199600" y="3335774"/>
                </a:lnTo>
                <a:lnTo>
                  <a:pt x="11199600" y="3610014"/>
                </a:lnTo>
                <a:lnTo>
                  <a:pt x="11199600" y="3721887"/>
                </a:lnTo>
                <a:lnTo>
                  <a:pt x="11199600" y="3996127"/>
                </a:lnTo>
                <a:lnTo>
                  <a:pt x="11199600" y="4133731"/>
                </a:lnTo>
                <a:lnTo>
                  <a:pt x="11199600" y="4407971"/>
                </a:lnTo>
                <a:cubicBezTo>
                  <a:pt x="11199600" y="4480054"/>
                  <a:pt x="11145602" y="4498074"/>
                  <a:pt x="11118603" y="4502580"/>
                </a:cubicBezTo>
                <a:lnTo>
                  <a:pt x="11103613" y="4504080"/>
                </a:lnTo>
                <a:lnTo>
                  <a:pt x="95989" y="4504080"/>
                </a:lnTo>
                <a:lnTo>
                  <a:pt x="64311" y="4499952"/>
                </a:lnTo>
                <a:cubicBezTo>
                  <a:pt x="0" y="4481555"/>
                  <a:pt x="0" y="4407971"/>
                  <a:pt x="0" y="4407971"/>
                </a:cubicBezTo>
                <a:lnTo>
                  <a:pt x="0" y="4404236"/>
                </a:lnTo>
                <a:lnTo>
                  <a:pt x="0" y="4395365"/>
                </a:lnTo>
                <a:lnTo>
                  <a:pt x="0" y="4378089"/>
                </a:lnTo>
                <a:lnTo>
                  <a:pt x="0" y="4349608"/>
                </a:lnTo>
                <a:lnTo>
                  <a:pt x="0" y="4307120"/>
                </a:lnTo>
                <a:lnTo>
                  <a:pt x="0" y="4247823"/>
                </a:lnTo>
                <a:lnTo>
                  <a:pt x="0" y="4168916"/>
                </a:lnTo>
                <a:lnTo>
                  <a:pt x="0" y="4133731"/>
                </a:lnTo>
                <a:lnTo>
                  <a:pt x="0" y="4132625"/>
                </a:lnTo>
                <a:lnTo>
                  <a:pt x="0" y="4124877"/>
                </a:lnTo>
                <a:lnTo>
                  <a:pt x="0" y="4104034"/>
                </a:lnTo>
                <a:lnTo>
                  <a:pt x="0" y="4103849"/>
                </a:lnTo>
                <a:lnTo>
                  <a:pt x="0" y="4062900"/>
                </a:lnTo>
                <a:lnTo>
                  <a:pt x="0" y="4032880"/>
                </a:lnTo>
                <a:lnTo>
                  <a:pt x="0" y="4028361"/>
                </a:lnTo>
                <a:lnTo>
                  <a:pt x="0" y="3995389"/>
                </a:lnTo>
                <a:lnTo>
                  <a:pt x="0" y="3949598"/>
                </a:lnTo>
                <a:lnTo>
                  <a:pt x="0" y="3941067"/>
                </a:lnTo>
                <a:lnTo>
                  <a:pt x="0" y="3894676"/>
                </a:lnTo>
                <a:lnTo>
                  <a:pt x="0" y="3841322"/>
                </a:lnTo>
                <a:lnTo>
                  <a:pt x="0" y="3829794"/>
                </a:lnTo>
                <a:lnTo>
                  <a:pt x="0" y="3754121"/>
                </a:lnTo>
                <a:lnTo>
                  <a:pt x="0" y="3728297"/>
                </a:lnTo>
                <a:lnTo>
                  <a:pt x="0" y="3666827"/>
                </a:lnTo>
                <a:lnTo>
                  <a:pt x="0" y="3601160"/>
                </a:lnTo>
                <a:lnTo>
                  <a:pt x="0" y="3567082"/>
                </a:lnTo>
                <a:lnTo>
                  <a:pt x="0" y="3459083"/>
                </a:lnTo>
                <a:lnTo>
                  <a:pt x="0" y="3454057"/>
                </a:lnTo>
                <a:lnTo>
                  <a:pt x="0" y="3326920"/>
                </a:lnTo>
                <a:lnTo>
                  <a:pt x="0" y="3301235"/>
                </a:lnTo>
                <a:lnTo>
                  <a:pt x="0" y="3184843"/>
                </a:lnTo>
                <a:lnTo>
                  <a:pt x="0" y="3126785"/>
                </a:lnTo>
                <a:lnTo>
                  <a:pt x="0" y="3026995"/>
                </a:lnTo>
                <a:lnTo>
                  <a:pt x="0" y="2934905"/>
                </a:lnTo>
                <a:lnTo>
                  <a:pt x="0" y="2852545"/>
                </a:lnTo>
                <a:lnTo>
                  <a:pt x="0" y="2724763"/>
                </a:lnTo>
                <a:lnTo>
                  <a:pt x="0" y="2660665"/>
                </a:lnTo>
                <a:lnTo>
                  <a:pt x="0" y="2495530"/>
                </a:lnTo>
                <a:lnTo>
                  <a:pt x="0" y="2450523"/>
                </a:lnTo>
                <a:lnTo>
                  <a:pt x="0" y="2246376"/>
                </a:lnTo>
                <a:lnTo>
                  <a:pt x="0" y="2221290"/>
                </a:lnTo>
                <a:lnTo>
                  <a:pt x="0" y="1984894"/>
                </a:lnTo>
                <a:lnTo>
                  <a:pt x="0" y="1976471"/>
                </a:lnTo>
                <a:lnTo>
                  <a:pt x="0" y="1972136"/>
                </a:lnTo>
                <a:lnTo>
                  <a:pt x="0" y="1906316"/>
                </a:lnTo>
                <a:lnTo>
                  <a:pt x="0" y="1866658"/>
                </a:lnTo>
                <a:lnTo>
                  <a:pt x="0" y="1702231"/>
                </a:lnTo>
                <a:lnTo>
                  <a:pt x="0" y="1684984"/>
                </a:lnTo>
                <a:lnTo>
                  <a:pt x="0" y="1626118"/>
                </a:lnTo>
                <a:lnTo>
                  <a:pt x="0" y="1592418"/>
                </a:lnTo>
                <a:lnTo>
                  <a:pt x="0" y="1529519"/>
                </a:lnTo>
                <a:lnTo>
                  <a:pt x="0" y="1255278"/>
                </a:lnTo>
                <a:lnTo>
                  <a:pt x="0" y="1168307"/>
                </a:lnTo>
                <a:lnTo>
                  <a:pt x="0" y="894067"/>
                </a:lnTo>
                <a:lnTo>
                  <a:pt x="0" y="782195"/>
                </a:lnTo>
                <a:lnTo>
                  <a:pt x="0" y="507955"/>
                </a:lnTo>
                <a:lnTo>
                  <a:pt x="0" y="370350"/>
                </a:lnTo>
                <a:lnTo>
                  <a:pt x="0" y="96110"/>
                </a:lnTo>
                <a:cubicBezTo>
                  <a:pt x="0" y="0"/>
                  <a:pt x="95997" y="0"/>
                  <a:pt x="95997" y="0"/>
                </a:cubicBezTo>
                <a:close/>
              </a:path>
            </a:pathLst>
          </a:custGeom>
          <a:solidFill>
            <a:schemeClr val="bg1">
              <a:lumMod val="95000"/>
              <a:alpha val="10000"/>
            </a:schemeClr>
          </a:solidFill>
        </p:spPr>
        <p:txBody>
          <a:bodyPr wrap="square" lIns="3240000" tIns="36000" rIns="36000" bIns="36000" anchor="ctr" anchorCtr="0">
            <a:noAutofit/>
          </a:bodyPr>
          <a:lstStyle>
            <a:lvl1pPr algn="ctr">
              <a:defRPr sz="1400" b="0"/>
            </a:lvl1pPr>
          </a:lstStyle>
          <a:p>
            <a:r>
              <a:rPr lang="nl-NL" smtClean="0"/>
              <a:t>Klik op het pictogram als u een afbeelding wilt toevoegen</a:t>
            </a:r>
            <a:endParaRPr lang="en-GB" dirty="0"/>
          </a:p>
        </p:txBody>
      </p:sp>
      <p:sp>
        <p:nvSpPr>
          <p:cNvPr id="6" name="Title Placeholder 1"/>
          <p:cNvSpPr>
            <a:spLocks noGrp="1"/>
          </p:cNvSpPr>
          <p:nvPr>
            <p:ph type="title" hasCustomPrompt="1"/>
          </p:nvPr>
        </p:nvSpPr>
        <p:spPr bwMode="gray">
          <a:xfrm>
            <a:off x="681038" y="257725"/>
            <a:ext cx="8985697" cy="117981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lnSpc>
                <a:spcPts val="4600"/>
              </a:lnSpc>
              <a:defRPr sz="4600"/>
            </a:lvl1pPr>
          </a:lstStyle>
          <a:p>
            <a:r>
              <a:rPr lang="en-US" noProof="0" smtClean="0"/>
              <a:t>Click to edit </a:t>
            </a:r>
            <a:br>
              <a:rPr lang="en-US" noProof="0" smtClean="0"/>
            </a:br>
            <a:r>
              <a:rPr lang="en-US" noProof="0" smtClean="0"/>
              <a:t>Master title style</a:t>
            </a:r>
            <a:endParaRPr lang="en-GB" noProof="0" dirty="0"/>
          </a:p>
        </p:txBody>
      </p:sp>
      <p:grpSp>
        <p:nvGrpSpPr>
          <p:cNvPr id="8" name="Group 7"/>
          <p:cNvGrpSpPr/>
          <p:nvPr userDrawn="1"/>
        </p:nvGrpSpPr>
        <p:grpSpPr bwMode="gray">
          <a:xfrm>
            <a:off x="-1653580" y="0"/>
            <a:ext cx="1521000" cy="4689612"/>
            <a:chOff x="-2581275" y="595116"/>
            <a:chExt cx="1872000" cy="4689612"/>
          </a:xfrm>
        </p:grpSpPr>
        <p:sp>
          <p:nvSpPr>
            <p:cNvPr id="9" name="Rectangle 104"/>
            <p:cNvSpPr>
              <a:spLocks noChangeArrowheads="1"/>
            </p:cNvSpPr>
            <p:nvPr/>
          </p:nvSpPr>
          <p:spPr bwMode="gray">
            <a:xfrm>
              <a:off x="-2581275" y="4276728"/>
              <a:ext cx="1872000" cy="100800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10" name="Rectangle 104"/>
            <p:cNvSpPr>
              <a:spLocks noChangeArrowheads="1"/>
            </p:cNvSpPr>
            <p:nvPr userDrawn="1"/>
          </p:nvSpPr>
          <p:spPr bwMode="gray">
            <a:xfrm>
              <a:off x="-2581275" y="595116"/>
              <a:ext cx="1872000" cy="3672087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11" name="Rectangle 105"/>
            <p:cNvSpPr>
              <a:spLocks noChangeArrowheads="1"/>
            </p:cNvSpPr>
            <p:nvPr userDrawn="1"/>
          </p:nvSpPr>
          <p:spPr bwMode="gray">
            <a:xfrm>
              <a:off x="-2449513" y="1136650"/>
              <a:ext cx="215900" cy="215900"/>
            </a:xfrm>
            <a:prstGeom prst="rect">
              <a:avLst/>
            </a:prstGeom>
            <a:solidFill>
              <a:srgbClr val="FF6200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12" name="Rectangle 106"/>
            <p:cNvSpPr>
              <a:spLocks noChangeArrowheads="1"/>
            </p:cNvSpPr>
            <p:nvPr userDrawn="1"/>
          </p:nvSpPr>
          <p:spPr bwMode="gray">
            <a:xfrm>
              <a:off x="-2159000" y="1146175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Orang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55, 98, 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13" name="Rectangle 107"/>
            <p:cNvSpPr>
              <a:spLocks noChangeArrowheads="1"/>
            </p:cNvSpPr>
            <p:nvPr userDrawn="1"/>
          </p:nvSpPr>
          <p:spPr bwMode="gray">
            <a:xfrm>
              <a:off x="-2449513" y="1571626"/>
              <a:ext cx="215900" cy="215900"/>
            </a:xfrm>
            <a:prstGeom prst="rect">
              <a:avLst/>
            </a:prstGeom>
            <a:solidFill>
              <a:srgbClr val="A8A8A8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14" name="Rectangle 108"/>
            <p:cNvSpPr>
              <a:spLocks noChangeArrowheads="1"/>
            </p:cNvSpPr>
            <p:nvPr userDrawn="1"/>
          </p:nvSpPr>
          <p:spPr bwMode="gray">
            <a:xfrm>
              <a:off x="-2159000" y="15970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ght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68, 168, 16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15" name="Rectangle 109"/>
            <p:cNvSpPr>
              <a:spLocks noChangeArrowheads="1"/>
            </p:cNvSpPr>
            <p:nvPr userDrawn="1"/>
          </p:nvSpPr>
          <p:spPr bwMode="gray">
            <a:xfrm>
              <a:off x="-2449513" y="2058988"/>
              <a:ext cx="215900" cy="215900"/>
            </a:xfrm>
            <a:prstGeom prst="rect">
              <a:avLst/>
            </a:prstGeom>
            <a:solidFill>
              <a:srgbClr val="52519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16" name="Rectangle 110"/>
            <p:cNvSpPr>
              <a:spLocks noChangeArrowheads="1"/>
            </p:cNvSpPr>
            <p:nvPr userDrawn="1"/>
          </p:nvSpPr>
          <p:spPr bwMode="gray">
            <a:xfrm>
              <a:off x="-2159000" y="2068513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Indigo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82, 81, 153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17" name="Rectangle 111"/>
            <p:cNvSpPr>
              <a:spLocks noChangeArrowheads="1"/>
            </p:cNvSpPr>
            <p:nvPr userDrawn="1"/>
          </p:nvSpPr>
          <p:spPr bwMode="gray">
            <a:xfrm>
              <a:off x="-2449513" y="2527301"/>
              <a:ext cx="215900" cy="215900"/>
            </a:xfrm>
            <a:prstGeom prst="rect">
              <a:avLst/>
            </a:prstGeom>
            <a:solidFill>
              <a:srgbClr val="60A6DA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18" name="Rectangle 112"/>
            <p:cNvSpPr>
              <a:spLocks noChangeArrowheads="1"/>
            </p:cNvSpPr>
            <p:nvPr userDrawn="1"/>
          </p:nvSpPr>
          <p:spPr bwMode="gray">
            <a:xfrm>
              <a:off x="-2159000" y="25368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Sk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96, 166, 2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19" name="Rectangle 113"/>
            <p:cNvSpPr>
              <a:spLocks noChangeArrowheads="1"/>
            </p:cNvSpPr>
            <p:nvPr userDrawn="1"/>
          </p:nvSpPr>
          <p:spPr bwMode="gray">
            <a:xfrm>
              <a:off x="-2449513" y="762000"/>
              <a:ext cx="1692000" cy="165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90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200" b="1" smtClean="0">
                  <a:solidFill>
                    <a:srgbClr val="333333"/>
                  </a:solidFill>
                </a:rPr>
                <a:t>Colour Guidelines</a:t>
              </a:r>
              <a:endParaRPr lang="en-GB" altLang="en-US" sz="1200" b="1">
                <a:solidFill>
                  <a:srgbClr val="333333"/>
                </a:solidFill>
              </a:endParaRPr>
            </a:p>
          </p:txBody>
        </p:sp>
        <p:sp>
          <p:nvSpPr>
            <p:cNvPr id="20" name="Rectangle 107"/>
            <p:cNvSpPr>
              <a:spLocks noChangeArrowheads="1"/>
            </p:cNvSpPr>
            <p:nvPr/>
          </p:nvSpPr>
          <p:spPr bwMode="gray">
            <a:xfrm>
              <a:off x="-2449513" y="2962277"/>
              <a:ext cx="215900" cy="215900"/>
            </a:xfrm>
            <a:prstGeom prst="rect">
              <a:avLst/>
            </a:prstGeom>
            <a:solidFill>
              <a:srgbClr val="AB006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21" name="Rectangle 108"/>
            <p:cNvSpPr>
              <a:spLocks noChangeArrowheads="1"/>
            </p:cNvSpPr>
            <p:nvPr/>
          </p:nvSpPr>
          <p:spPr bwMode="gray">
            <a:xfrm>
              <a:off x="-2159000" y="29876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Fuchsia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71, 0, 102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22" name="Rectangle 109"/>
            <p:cNvSpPr>
              <a:spLocks noChangeArrowheads="1"/>
            </p:cNvSpPr>
            <p:nvPr/>
          </p:nvSpPr>
          <p:spPr bwMode="gray">
            <a:xfrm>
              <a:off x="-2449513" y="3449639"/>
              <a:ext cx="215900" cy="215900"/>
            </a:xfrm>
            <a:prstGeom prst="rect">
              <a:avLst/>
            </a:prstGeom>
            <a:solidFill>
              <a:srgbClr val="D0D93C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23" name="Rectangle 110"/>
            <p:cNvSpPr>
              <a:spLocks noChangeArrowheads="1"/>
            </p:cNvSpPr>
            <p:nvPr/>
          </p:nvSpPr>
          <p:spPr bwMode="gray">
            <a:xfrm>
              <a:off x="-2159000" y="3459164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m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08, 217, 6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24" name="Rectangle 111"/>
            <p:cNvSpPr>
              <a:spLocks noChangeArrowheads="1"/>
            </p:cNvSpPr>
            <p:nvPr/>
          </p:nvSpPr>
          <p:spPr bwMode="gray">
            <a:xfrm>
              <a:off x="-2449513" y="3917952"/>
              <a:ext cx="215900" cy="215900"/>
            </a:xfrm>
            <a:prstGeom prst="rect">
              <a:avLst/>
            </a:prstGeom>
            <a:solidFill>
              <a:srgbClr val="01964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25" name="Rectangle 112"/>
            <p:cNvSpPr>
              <a:spLocks noChangeArrowheads="1"/>
            </p:cNvSpPr>
            <p:nvPr/>
          </p:nvSpPr>
          <p:spPr bwMode="gray">
            <a:xfrm>
              <a:off x="-2159000" y="39274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eaf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2, 150, 8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26" name="Rectangle 109"/>
            <p:cNvSpPr>
              <a:spLocks noChangeArrowheads="1"/>
            </p:cNvSpPr>
            <p:nvPr/>
          </p:nvSpPr>
          <p:spPr bwMode="gray">
            <a:xfrm>
              <a:off x="-2449513" y="4405314"/>
              <a:ext cx="215900" cy="215900"/>
            </a:xfrm>
            <a:prstGeom prst="rect">
              <a:avLst/>
            </a:prstGeom>
            <a:solidFill>
              <a:srgbClr val="76767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27" name="Rectangle 110"/>
            <p:cNvSpPr>
              <a:spLocks noChangeArrowheads="1"/>
            </p:cNvSpPr>
            <p:nvPr/>
          </p:nvSpPr>
          <p:spPr bwMode="gray">
            <a:xfrm>
              <a:off x="-2159000" y="4414839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Mid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18, 118, 1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28" name="Rectangle 111"/>
            <p:cNvSpPr>
              <a:spLocks noChangeArrowheads="1"/>
            </p:cNvSpPr>
            <p:nvPr/>
          </p:nvSpPr>
          <p:spPr bwMode="gray">
            <a:xfrm>
              <a:off x="-2449513" y="4873627"/>
              <a:ext cx="215900" cy="215900"/>
            </a:xfrm>
            <a:prstGeom prst="rect">
              <a:avLst/>
            </a:prstGeom>
            <a:solidFill>
              <a:srgbClr val="333333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29" name="Rectangle 112"/>
            <p:cNvSpPr>
              <a:spLocks noChangeArrowheads="1"/>
            </p:cNvSpPr>
            <p:nvPr/>
          </p:nvSpPr>
          <p:spPr bwMode="gray">
            <a:xfrm>
              <a:off x="-2159000" y="4883152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Text Colour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1, 51, 5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</p:grpSp>
      <p:pic>
        <p:nvPicPr>
          <p:cNvPr id="30" name="Picture 29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-1466554" y="4402733"/>
            <a:ext cx="125761" cy="138908"/>
          </a:xfrm>
          <a:prstGeom prst="rect">
            <a:avLst/>
          </a:prstGeom>
        </p:spPr>
      </p:pic>
      <p:pic>
        <p:nvPicPr>
          <p:cNvPr id="33" name="Picture 32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8712789" y="6358072"/>
            <a:ext cx="961391" cy="2946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48675170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1" pos="302" userDrawn="1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oud van twe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 bwMode="gray">
          <a:xfrm>
            <a:off x="5099251" y="1278384"/>
            <a:ext cx="4110234" cy="4921200"/>
          </a:xfrm>
        </p:spPr>
        <p:txBody>
          <a:bodyPr>
            <a:noAutofit/>
          </a:bodyPr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9" name="Text Placeholder 2"/>
          <p:cNvSpPr>
            <a:spLocks noGrp="1"/>
          </p:cNvSpPr>
          <p:nvPr>
            <p:ph idx="1"/>
          </p:nvPr>
        </p:nvSpPr>
        <p:spPr bwMode="gray">
          <a:xfrm>
            <a:off x="687030" y="1278384"/>
            <a:ext cx="4109625" cy="49212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‹#›</a:t>
            </a:fld>
            <a:endParaRPr lang="en-GB" noProof="0" dirty="0"/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687031" y="280736"/>
            <a:ext cx="8522455" cy="854075"/>
          </a:xfrm>
        </p:spPr>
        <p:txBody>
          <a:bodyPr/>
          <a:lstStyle/>
          <a:p>
            <a:r>
              <a:rPr lang="nl-NL" smtClean="0"/>
              <a:t>Klik om de stijl te bewerke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78896134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1" pos="3720" userDrawn="1">
          <p15:clr>
            <a:srgbClr val="FBAE40"/>
          </p15:clr>
        </p15:guide>
        <p15:guide id="2" pos="3948" userDrawn="1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with 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 bwMode="gray">
          <a:xfrm>
            <a:off x="5099251" y="1795636"/>
            <a:ext cx="4110234" cy="4403948"/>
          </a:xfrm>
        </p:spPr>
        <p:txBody>
          <a:bodyPr>
            <a:noAutofit/>
          </a:bodyPr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9" name="Text Placeholder 2"/>
          <p:cNvSpPr>
            <a:spLocks noGrp="1"/>
          </p:cNvSpPr>
          <p:nvPr>
            <p:ph idx="1"/>
          </p:nvPr>
        </p:nvSpPr>
        <p:spPr bwMode="gray">
          <a:xfrm>
            <a:off x="687030" y="1795636"/>
            <a:ext cx="4109625" cy="440394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‹#›</a:t>
            </a:fld>
            <a:endParaRPr lang="en-GB" noProof="0" dirty="0"/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687031" y="280736"/>
            <a:ext cx="8522455" cy="854075"/>
          </a:xfrm>
        </p:spPr>
        <p:txBody>
          <a:bodyPr/>
          <a:lstStyle/>
          <a:p>
            <a:r>
              <a:rPr lang="nl-NL" smtClean="0"/>
              <a:t>Klik om de stijl te bewerken</a:t>
            </a:r>
            <a:endParaRPr lang="en-GB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2" hasCustomPrompt="1"/>
          </p:nvPr>
        </p:nvSpPr>
        <p:spPr>
          <a:xfrm>
            <a:off x="687029" y="1277985"/>
            <a:ext cx="4111189" cy="436017"/>
          </a:xfrm>
        </p:spPr>
        <p:txBody>
          <a:bodyPr>
            <a:noAutofit/>
          </a:bodyPr>
          <a:lstStyle>
            <a:lvl1pPr>
              <a:lnSpc>
                <a:spcPts val="1700"/>
              </a:lnSpc>
              <a:defRPr sz="15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US" smtClean="0"/>
              <a:t>Click to edit title</a:t>
            </a:r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5098297" y="1277985"/>
            <a:ext cx="4111189" cy="436017"/>
          </a:xfrm>
        </p:spPr>
        <p:txBody>
          <a:bodyPr>
            <a:noAutofit/>
          </a:bodyPr>
          <a:lstStyle>
            <a:lvl1pPr>
              <a:lnSpc>
                <a:spcPts val="1700"/>
              </a:lnSpc>
              <a:defRPr sz="15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US" smtClean="0"/>
              <a:t>Click to edit title</a:t>
            </a:r>
          </a:p>
        </p:txBody>
      </p:sp>
    </p:spTree>
    <p:extLst>
      <p:ext uri="{BB962C8B-B14F-4D97-AF65-F5344CB8AC3E}">
        <p14:creationId xmlns:p14="http://schemas.microsoft.com/office/powerpoint/2010/main" val="1161238992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1" pos="3720">
          <p15:clr>
            <a:srgbClr val="FBAE40"/>
          </p15:clr>
        </p15:guide>
        <p15:guide id="2" pos="3948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with titl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 bwMode="gray">
          <a:xfrm>
            <a:off x="5099251" y="1278000"/>
            <a:ext cx="4110234" cy="4929584"/>
          </a:xfrm>
        </p:spPr>
        <p:txBody>
          <a:bodyPr>
            <a:noAutofit/>
          </a:bodyPr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9" name="Text Placeholder 2"/>
          <p:cNvSpPr>
            <a:spLocks noGrp="1"/>
          </p:cNvSpPr>
          <p:nvPr>
            <p:ph idx="1"/>
          </p:nvPr>
        </p:nvSpPr>
        <p:spPr bwMode="gray">
          <a:xfrm>
            <a:off x="687030" y="1795636"/>
            <a:ext cx="4109625" cy="440394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‹#›</a:t>
            </a:fld>
            <a:endParaRPr lang="en-GB" noProof="0" dirty="0"/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687031" y="280736"/>
            <a:ext cx="8522455" cy="854075"/>
          </a:xfrm>
        </p:spPr>
        <p:txBody>
          <a:bodyPr/>
          <a:lstStyle/>
          <a:p>
            <a:r>
              <a:rPr lang="nl-NL" smtClean="0"/>
              <a:t>Klik om de stijl te bewerken</a:t>
            </a:r>
            <a:endParaRPr lang="en-GB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2" hasCustomPrompt="1"/>
          </p:nvPr>
        </p:nvSpPr>
        <p:spPr>
          <a:xfrm>
            <a:off x="687029" y="1277985"/>
            <a:ext cx="4111189" cy="436017"/>
          </a:xfrm>
        </p:spPr>
        <p:txBody>
          <a:bodyPr>
            <a:noAutofit/>
          </a:bodyPr>
          <a:lstStyle>
            <a:lvl1pPr>
              <a:lnSpc>
                <a:spcPts val="1700"/>
              </a:lnSpc>
              <a:defRPr sz="15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US" smtClean="0"/>
              <a:t>Click to edit title</a:t>
            </a:r>
          </a:p>
        </p:txBody>
      </p:sp>
    </p:spTree>
    <p:extLst>
      <p:ext uri="{BB962C8B-B14F-4D97-AF65-F5344CB8AC3E}">
        <p14:creationId xmlns:p14="http://schemas.microsoft.com/office/powerpoint/2010/main" val="959066176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1" pos="3720">
          <p15:clr>
            <a:srgbClr val="FBAE40"/>
          </p15:clr>
        </p15:guide>
        <p15:guide id="2" pos="3948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2"/>
          <p:cNvSpPr>
            <a:spLocks noGrp="1"/>
          </p:cNvSpPr>
          <p:nvPr>
            <p:ph idx="1"/>
          </p:nvPr>
        </p:nvSpPr>
        <p:spPr bwMode="gray">
          <a:xfrm>
            <a:off x="687031" y="1278387"/>
            <a:ext cx="8522455" cy="492239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2pPr marL="268288" indent="-268288">
              <a:buClr>
                <a:schemeClr val="accent1"/>
              </a:buClr>
              <a:buFont typeface="ING Me" pitchFamily="2" charset="0"/>
              <a:buChar char="•"/>
              <a:defRPr/>
            </a:lvl2pPr>
            <a:lvl3pPr marL="536575" indent="-266700">
              <a:buClr>
                <a:schemeClr val="accent2"/>
              </a:buClr>
              <a:defRPr/>
            </a:lvl3pPr>
            <a:lvl4pPr marL="808038" indent="-260350">
              <a:buClr>
                <a:schemeClr val="accent3"/>
              </a:buClr>
              <a:defRPr/>
            </a:lvl4pPr>
            <a:lvl5pPr marL="1071563" indent="-252413">
              <a:buClr>
                <a:schemeClr val="accent4"/>
              </a:buClr>
              <a:defRPr/>
            </a:lvl5pPr>
          </a:lstStyle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‹#›</a:t>
            </a:fld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36603819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with titl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 bwMode="gray">
          <a:xfrm>
            <a:off x="5099251" y="1795636"/>
            <a:ext cx="4110234" cy="4403948"/>
          </a:xfrm>
        </p:spPr>
        <p:txBody>
          <a:bodyPr>
            <a:noAutofit/>
          </a:bodyPr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9" name="Text Placeholder 2"/>
          <p:cNvSpPr>
            <a:spLocks noGrp="1"/>
          </p:cNvSpPr>
          <p:nvPr>
            <p:ph idx="1"/>
          </p:nvPr>
        </p:nvSpPr>
        <p:spPr bwMode="gray">
          <a:xfrm>
            <a:off x="687030" y="1278000"/>
            <a:ext cx="4109625" cy="492958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‹#›</a:t>
            </a:fld>
            <a:endParaRPr lang="en-GB" noProof="0" dirty="0"/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687031" y="280736"/>
            <a:ext cx="8522455" cy="854075"/>
          </a:xfrm>
        </p:spPr>
        <p:txBody>
          <a:bodyPr/>
          <a:lstStyle/>
          <a:p>
            <a:r>
              <a:rPr lang="nl-NL" smtClean="0"/>
              <a:t>Klik om de stijl te bewerken</a:t>
            </a:r>
            <a:endParaRPr lang="en-GB"/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5098297" y="1277985"/>
            <a:ext cx="4111189" cy="436017"/>
          </a:xfrm>
        </p:spPr>
        <p:txBody>
          <a:bodyPr>
            <a:noAutofit/>
          </a:bodyPr>
          <a:lstStyle>
            <a:lvl1pPr>
              <a:lnSpc>
                <a:spcPts val="1700"/>
              </a:lnSpc>
              <a:defRPr sz="15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US" smtClean="0"/>
              <a:t>Click to edit title</a:t>
            </a:r>
          </a:p>
        </p:txBody>
      </p:sp>
    </p:spTree>
    <p:extLst>
      <p:ext uri="{BB962C8B-B14F-4D97-AF65-F5344CB8AC3E}">
        <p14:creationId xmlns:p14="http://schemas.microsoft.com/office/powerpoint/2010/main" val="886394254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1" pos="3720">
          <p15:clr>
            <a:srgbClr val="FBAE40"/>
          </p15:clr>
        </p15:guide>
        <p15:guide id="2" pos="3948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Slide Number Placeholder 11"/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‹#›</a:t>
            </a:fld>
            <a:endParaRPr lang="en-GB" noProof="0" dirty="0"/>
          </a:p>
        </p:txBody>
      </p:sp>
      <p:sp>
        <p:nvSpPr>
          <p:cNvPr id="23" name="Content Placeholder 3"/>
          <p:cNvSpPr>
            <a:spLocks noGrp="1"/>
          </p:cNvSpPr>
          <p:nvPr>
            <p:ph sz="half" idx="2"/>
          </p:nvPr>
        </p:nvSpPr>
        <p:spPr bwMode="gray">
          <a:xfrm>
            <a:off x="5099859" y="1278003"/>
            <a:ext cx="4109625" cy="2330177"/>
          </a:xfrm>
        </p:spPr>
        <p:txBody>
          <a:bodyPr>
            <a:noAutofit/>
          </a:bodyPr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24" name="Text Placeholder 2"/>
          <p:cNvSpPr>
            <a:spLocks noGrp="1"/>
          </p:cNvSpPr>
          <p:nvPr>
            <p:ph idx="28"/>
          </p:nvPr>
        </p:nvSpPr>
        <p:spPr bwMode="gray">
          <a:xfrm>
            <a:off x="687030" y="1278003"/>
            <a:ext cx="4109625" cy="233017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25" name="Content Placeholder 3"/>
          <p:cNvSpPr>
            <a:spLocks noGrp="1"/>
          </p:cNvSpPr>
          <p:nvPr>
            <p:ph sz="half" idx="29"/>
          </p:nvPr>
        </p:nvSpPr>
        <p:spPr bwMode="gray">
          <a:xfrm>
            <a:off x="5099859" y="3877594"/>
            <a:ext cx="4109625" cy="2330177"/>
          </a:xfrm>
        </p:spPr>
        <p:txBody>
          <a:bodyPr>
            <a:noAutofit/>
          </a:bodyPr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26" name="Text Placeholder 2"/>
          <p:cNvSpPr>
            <a:spLocks noGrp="1"/>
          </p:cNvSpPr>
          <p:nvPr>
            <p:ph idx="30"/>
          </p:nvPr>
        </p:nvSpPr>
        <p:spPr bwMode="gray">
          <a:xfrm>
            <a:off x="687030" y="3877594"/>
            <a:ext cx="4109625" cy="233017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687031" y="280736"/>
            <a:ext cx="8522455" cy="854075"/>
          </a:xfrm>
        </p:spPr>
        <p:txBody>
          <a:bodyPr/>
          <a:lstStyle/>
          <a:p>
            <a:r>
              <a:rPr lang="nl-NL" smtClean="0"/>
              <a:t>Klik om de stijl te bewerke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08732469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1" pos="3720" userDrawn="1">
          <p15:clr>
            <a:srgbClr val="FBAE40"/>
          </p15:clr>
        </p15:guide>
        <p15:guide id="0" pos="3948" userDrawn="1">
          <p15:clr>
            <a:srgbClr val="FBAE40"/>
          </p15:clr>
        </p15:guide>
        <p15:guide id="2" orient="horz" pos="2274" userDrawn="1">
          <p15:clr>
            <a:srgbClr val="FBAE40"/>
          </p15:clr>
        </p15:guide>
        <p15:guide id="3" orient="horz" pos="2442" userDrawn="1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 Split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688113" y="1278384"/>
            <a:ext cx="2652975" cy="2329200"/>
          </a:xfrm>
        </p:spPr>
        <p:txBody>
          <a:bodyPr/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7" name="Content Placeholder 2"/>
          <p:cNvSpPr>
            <a:spLocks noGrp="1"/>
          </p:cNvSpPr>
          <p:nvPr>
            <p:ph idx="13"/>
          </p:nvPr>
        </p:nvSpPr>
        <p:spPr bwMode="gray">
          <a:xfrm>
            <a:off x="3622311" y="1278384"/>
            <a:ext cx="2652975" cy="2329200"/>
          </a:xfrm>
        </p:spPr>
        <p:txBody>
          <a:bodyPr/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8" name="Content Placeholder 2"/>
          <p:cNvSpPr>
            <a:spLocks noGrp="1"/>
          </p:cNvSpPr>
          <p:nvPr>
            <p:ph idx="14"/>
          </p:nvPr>
        </p:nvSpPr>
        <p:spPr bwMode="gray">
          <a:xfrm>
            <a:off x="6556510" y="1278384"/>
            <a:ext cx="2652975" cy="2329200"/>
          </a:xfrm>
        </p:spPr>
        <p:txBody>
          <a:bodyPr/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13" name="Content Placeholder 2"/>
          <p:cNvSpPr>
            <a:spLocks noGrp="1"/>
          </p:cNvSpPr>
          <p:nvPr>
            <p:ph idx="15"/>
          </p:nvPr>
        </p:nvSpPr>
        <p:spPr bwMode="gray">
          <a:xfrm>
            <a:off x="688114" y="3884250"/>
            <a:ext cx="2652975" cy="2329200"/>
          </a:xfrm>
        </p:spPr>
        <p:txBody>
          <a:bodyPr/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</p:txBody>
      </p:sp>
      <p:sp>
        <p:nvSpPr>
          <p:cNvPr id="14" name="Content Placeholder 2"/>
          <p:cNvSpPr>
            <a:spLocks noGrp="1"/>
          </p:cNvSpPr>
          <p:nvPr>
            <p:ph idx="16"/>
          </p:nvPr>
        </p:nvSpPr>
        <p:spPr bwMode="gray">
          <a:xfrm>
            <a:off x="3622312" y="3884250"/>
            <a:ext cx="2652975" cy="2329200"/>
          </a:xfrm>
        </p:spPr>
        <p:txBody>
          <a:bodyPr/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</p:txBody>
      </p:sp>
      <p:sp>
        <p:nvSpPr>
          <p:cNvPr id="15" name="Content Placeholder 2"/>
          <p:cNvSpPr>
            <a:spLocks noGrp="1"/>
          </p:cNvSpPr>
          <p:nvPr>
            <p:ph idx="17"/>
          </p:nvPr>
        </p:nvSpPr>
        <p:spPr bwMode="gray">
          <a:xfrm>
            <a:off x="6556510" y="3884250"/>
            <a:ext cx="2652975" cy="2329200"/>
          </a:xfrm>
        </p:spPr>
        <p:txBody>
          <a:bodyPr/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‹#›</a:t>
            </a:fld>
            <a:endParaRPr lang="en-GB" noProof="0" dirty="0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687031" y="280736"/>
            <a:ext cx="8522455" cy="854075"/>
          </a:xfrm>
        </p:spPr>
        <p:txBody>
          <a:bodyPr/>
          <a:lstStyle/>
          <a:p>
            <a:r>
              <a:rPr lang="nl-NL" smtClean="0"/>
              <a:t>Klik om de stijl te bewerke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06252193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1" pos="2591" userDrawn="1">
          <p15:clr>
            <a:srgbClr val="FBAE40"/>
          </p15:clr>
        </p15:guide>
        <p15:guide id="2" pos="2808" userDrawn="1">
          <p15:clr>
            <a:srgbClr val="FBAE40"/>
          </p15:clr>
        </p15:guide>
        <p15:guide id="3" pos="4866" userDrawn="1">
          <p15:clr>
            <a:srgbClr val="FBAE40"/>
          </p15:clr>
        </p15:guide>
        <p15:guide id="4" pos="5082" userDrawn="1">
          <p15:clr>
            <a:srgbClr val="FBAE40"/>
          </p15:clr>
        </p15:guide>
        <p15:guide id="5" orient="horz" pos="2274" userDrawn="1">
          <p15:clr>
            <a:srgbClr val="FBAE40"/>
          </p15:clr>
        </p15:guide>
        <p15:guide id="6" orient="horz" pos="2442" userDrawn="1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 Split graph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688113" y="1795637"/>
            <a:ext cx="2652975" cy="2696988"/>
          </a:xfrm>
        </p:spPr>
        <p:txBody>
          <a:bodyPr/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7" name="Content Placeholder 2"/>
          <p:cNvSpPr>
            <a:spLocks noGrp="1"/>
          </p:cNvSpPr>
          <p:nvPr>
            <p:ph idx="13"/>
          </p:nvPr>
        </p:nvSpPr>
        <p:spPr bwMode="gray">
          <a:xfrm>
            <a:off x="3622311" y="1795637"/>
            <a:ext cx="2652975" cy="2696988"/>
          </a:xfrm>
        </p:spPr>
        <p:txBody>
          <a:bodyPr/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8" name="Content Placeholder 2"/>
          <p:cNvSpPr>
            <a:spLocks noGrp="1"/>
          </p:cNvSpPr>
          <p:nvPr>
            <p:ph idx="14"/>
          </p:nvPr>
        </p:nvSpPr>
        <p:spPr bwMode="gray">
          <a:xfrm>
            <a:off x="6556510" y="1795637"/>
            <a:ext cx="2652975" cy="2696988"/>
          </a:xfrm>
        </p:spPr>
        <p:txBody>
          <a:bodyPr/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13" name="Content Placeholder 2"/>
          <p:cNvSpPr>
            <a:spLocks noGrp="1"/>
          </p:cNvSpPr>
          <p:nvPr>
            <p:ph idx="15"/>
          </p:nvPr>
        </p:nvSpPr>
        <p:spPr bwMode="gray">
          <a:xfrm>
            <a:off x="688114" y="4760734"/>
            <a:ext cx="2652975" cy="1440042"/>
          </a:xfrm>
        </p:spPr>
        <p:txBody>
          <a:bodyPr/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</p:txBody>
      </p:sp>
      <p:sp>
        <p:nvSpPr>
          <p:cNvPr id="14" name="Content Placeholder 2"/>
          <p:cNvSpPr>
            <a:spLocks noGrp="1"/>
          </p:cNvSpPr>
          <p:nvPr>
            <p:ph idx="16"/>
          </p:nvPr>
        </p:nvSpPr>
        <p:spPr bwMode="gray">
          <a:xfrm>
            <a:off x="3622312" y="4760734"/>
            <a:ext cx="2652975" cy="1440042"/>
          </a:xfrm>
        </p:spPr>
        <p:txBody>
          <a:bodyPr/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</p:txBody>
      </p:sp>
      <p:sp>
        <p:nvSpPr>
          <p:cNvPr id="15" name="Content Placeholder 2"/>
          <p:cNvSpPr>
            <a:spLocks noGrp="1"/>
          </p:cNvSpPr>
          <p:nvPr>
            <p:ph idx="17"/>
          </p:nvPr>
        </p:nvSpPr>
        <p:spPr bwMode="gray">
          <a:xfrm>
            <a:off x="6556510" y="4760734"/>
            <a:ext cx="2652975" cy="1440042"/>
          </a:xfrm>
        </p:spPr>
        <p:txBody>
          <a:bodyPr/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‹#›</a:t>
            </a:fld>
            <a:endParaRPr lang="en-GB" noProof="0" dirty="0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687031" y="280736"/>
            <a:ext cx="8522455" cy="854075"/>
          </a:xfrm>
        </p:spPr>
        <p:txBody>
          <a:bodyPr/>
          <a:lstStyle/>
          <a:p>
            <a:r>
              <a:rPr lang="nl-NL" smtClean="0"/>
              <a:t>Klik om de stijl te bewerken</a:t>
            </a:r>
            <a:endParaRPr lang="en-GB"/>
          </a:p>
        </p:txBody>
      </p:sp>
      <p:sp>
        <p:nvSpPr>
          <p:cNvPr id="10" name="Text Placeholder 10"/>
          <p:cNvSpPr>
            <a:spLocks noGrp="1"/>
          </p:cNvSpPr>
          <p:nvPr>
            <p:ph type="body" sz="quarter" idx="12" hasCustomPrompt="1"/>
          </p:nvPr>
        </p:nvSpPr>
        <p:spPr>
          <a:xfrm>
            <a:off x="687029" y="1277985"/>
            <a:ext cx="2652975" cy="436017"/>
          </a:xfrm>
        </p:spPr>
        <p:txBody>
          <a:bodyPr>
            <a:noAutofit/>
          </a:bodyPr>
          <a:lstStyle>
            <a:lvl1pPr>
              <a:lnSpc>
                <a:spcPts val="1700"/>
              </a:lnSpc>
              <a:defRPr sz="15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 noProof="0" dirty="0" smtClean="0"/>
              <a:t>Click to edit title</a:t>
            </a:r>
          </a:p>
        </p:txBody>
      </p:sp>
      <p:sp>
        <p:nvSpPr>
          <p:cNvPr id="16" name="Text Placeholder 10"/>
          <p:cNvSpPr>
            <a:spLocks noGrp="1"/>
          </p:cNvSpPr>
          <p:nvPr>
            <p:ph type="body" sz="quarter" idx="20" hasCustomPrompt="1"/>
          </p:nvPr>
        </p:nvSpPr>
        <p:spPr>
          <a:xfrm>
            <a:off x="3622311" y="1277985"/>
            <a:ext cx="2652975" cy="436017"/>
          </a:xfrm>
        </p:spPr>
        <p:txBody>
          <a:bodyPr/>
          <a:lstStyle>
            <a:lvl1pPr>
              <a:lnSpc>
                <a:spcPts val="1700"/>
              </a:lnSpc>
              <a:defRPr sz="15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 noProof="0" dirty="0" smtClean="0"/>
              <a:t>Click to edit title</a:t>
            </a:r>
            <a:endParaRPr lang="en-GB" noProof="0" dirty="0"/>
          </a:p>
        </p:txBody>
      </p:sp>
      <p:sp>
        <p:nvSpPr>
          <p:cNvPr id="17" name="Text Placeholder 10"/>
          <p:cNvSpPr>
            <a:spLocks noGrp="1"/>
          </p:cNvSpPr>
          <p:nvPr>
            <p:ph type="body" sz="quarter" idx="21" hasCustomPrompt="1"/>
          </p:nvPr>
        </p:nvSpPr>
        <p:spPr>
          <a:xfrm>
            <a:off x="6556510" y="1277985"/>
            <a:ext cx="2652975" cy="436017"/>
          </a:xfrm>
        </p:spPr>
        <p:txBody>
          <a:bodyPr/>
          <a:lstStyle>
            <a:lvl1pPr>
              <a:lnSpc>
                <a:spcPts val="1700"/>
              </a:lnSpc>
              <a:defRPr sz="15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 noProof="0" dirty="0" smtClean="0"/>
              <a:t>Click to edit titl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17969887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2" pos="2808">
          <p15:clr>
            <a:srgbClr val="FBAE40"/>
          </p15:clr>
        </p15:guide>
        <p15:guide id="3" pos="4866">
          <p15:clr>
            <a:srgbClr val="FBAE40"/>
          </p15:clr>
        </p15:guide>
        <p15:guide id="4" pos="5082">
          <p15:clr>
            <a:srgbClr val="FBAE40"/>
          </p15:clr>
        </p15:guide>
        <p15:guide id="5" orient="horz" pos="2830" userDrawn="1">
          <p15:clr>
            <a:srgbClr val="FBAE40"/>
          </p15:clr>
        </p15:guide>
        <p15:guide id="6" orient="horz" pos="2998" userDrawn="1">
          <p15:clr>
            <a:srgbClr val="FBAE40"/>
          </p15:clr>
        </p15:guide>
        <p15:guide id="7" pos="2592" userDrawn="1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Split Content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687030" y="1279981"/>
            <a:ext cx="4109625" cy="324000"/>
          </a:xfrm>
        </p:spPr>
        <p:txBody>
          <a:bodyPr>
            <a:noAutofit/>
          </a:bodyPr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6" name="Content Placeholder 2"/>
          <p:cNvSpPr>
            <a:spLocks noGrp="1"/>
          </p:cNvSpPr>
          <p:nvPr>
            <p:ph idx="13" hasCustomPrompt="1"/>
          </p:nvPr>
        </p:nvSpPr>
        <p:spPr bwMode="gray">
          <a:xfrm>
            <a:off x="687030" y="1754561"/>
            <a:ext cx="4109625" cy="1854000"/>
          </a:xfrm>
        </p:spPr>
        <p:txBody>
          <a:bodyPr/>
          <a:lstStyle>
            <a:lvl3pPr>
              <a:lnSpc>
                <a:spcPts val="2200"/>
              </a:lnSpc>
              <a:defRPr sz="20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idx="20" hasCustomPrompt="1"/>
          </p:nvPr>
        </p:nvSpPr>
        <p:spPr bwMode="gray">
          <a:xfrm>
            <a:off x="687030" y="3877590"/>
            <a:ext cx="4109625" cy="324000"/>
          </a:xfrm>
        </p:spPr>
        <p:txBody>
          <a:bodyPr>
            <a:noAutofit/>
          </a:bodyPr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8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687030" y="4346775"/>
            <a:ext cx="4109625" cy="1854000"/>
          </a:xfrm>
        </p:spPr>
        <p:txBody>
          <a:bodyPr/>
          <a:lstStyle>
            <a:lvl3pPr>
              <a:lnSpc>
                <a:spcPts val="2200"/>
              </a:lnSpc>
              <a:defRPr sz="20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cxnSp>
        <p:nvCxnSpPr>
          <p:cNvPr id="9" name="Straight Connector 8"/>
          <p:cNvCxnSpPr/>
          <p:nvPr userDrawn="1"/>
        </p:nvCxnSpPr>
        <p:spPr bwMode="gray">
          <a:xfrm>
            <a:off x="687030" y="1682898"/>
            <a:ext cx="4109625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/>
          <p:cNvCxnSpPr/>
          <p:nvPr userDrawn="1"/>
        </p:nvCxnSpPr>
        <p:spPr bwMode="gray">
          <a:xfrm>
            <a:off x="687030" y="4278810"/>
            <a:ext cx="4109625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5099859" y="1279981"/>
            <a:ext cx="4109625" cy="324000"/>
          </a:xfrm>
        </p:spPr>
        <p:txBody>
          <a:bodyPr>
            <a:noAutofit/>
          </a:bodyPr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16" name="Content Placeholder 2"/>
          <p:cNvSpPr>
            <a:spLocks noGrp="1"/>
          </p:cNvSpPr>
          <p:nvPr>
            <p:ph idx="23" hasCustomPrompt="1"/>
          </p:nvPr>
        </p:nvSpPr>
        <p:spPr bwMode="gray">
          <a:xfrm>
            <a:off x="5099859" y="1754561"/>
            <a:ext cx="4109625" cy="1854000"/>
          </a:xfrm>
        </p:spPr>
        <p:txBody>
          <a:bodyPr/>
          <a:lstStyle>
            <a:lvl3pPr>
              <a:lnSpc>
                <a:spcPts val="2200"/>
              </a:lnSpc>
              <a:defRPr sz="20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sp>
        <p:nvSpPr>
          <p:cNvPr id="17" name="Content Placeholder 2"/>
          <p:cNvSpPr>
            <a:spLocks noGrp="1"/>
          </p:cNvSpPr>
          <p:nvPr>
            <p:ph idx="24" hasCustomPrompt="1"/>
          </p:nvPr>
        </p:nvSpPr>
        <p:spPr bwMode="gray">
          <a:xfrm>
            <a:off x="5099859" y="3877590"/>
            <a:ext cx="4109625" cy="324000"/>
          </a:xfrm>
        </p:spPr>
        <p:txBody>
          <a:bodyPr>
            <a:noAutofit/>
          </a:bodyPr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18" name="Content Placeholder 2"/>
          <p:cNvSpPr>
            <a:spLocks noGrp="1"/>
          </p:cNvSpPr>
          <p:nvPr>
            <p:ph idx="25" hasCustomPrompt="1"/>
          </p:nvPr>
        </p:nvSpPr>
        <p:spPr bwMode="gray">
          <a:xfrm>
            <a:off x="5099859" y="4346775"/>
            <a:ext cx="4109625" cy="1854000"/>
          </a:xfrm>
        </p:spPr>
        <p:txBody>
          <a:bodyPr/>
          <a:lstStyle>
            <a:lvl3pPr>
              <a:lnSpc>
                <a:spcPts val="2200"/>
              </a:lnSpc>
              <a:defRPr sz="20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cxnSp>
        <p:nvCxnSpPr>
          <p:cNvPr id="19" name="Straight Connector 18"/>
          <p:cNvCxnSpPr/>
          <p:nvPr userDrawn="1"/>
        </p:nvCxnSpPr>
        <p:spPr bwMode="gray">
          <a:xfrm>
            <a:off x="5099859" y="1682898"/>
            <a:ext cx="4109625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/>
          <p:cNvCxnSpPr/>
          <p:nvPr userDrawn="1"/>
        </p:nvCxnSpPr>
        <p:spPr bwMode="gray">
          <a:xfrm>
            <a:off x="5099859" y="4278810"/>
            <a:ext cx="4109625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Slide Number Placeholder 11"/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‹#›</a:t>
            </a:fld>
            <a:endParaRPr lang="en-GB" noProof="0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687031" y="280736"/>
            <a:ext cx="8522455" cy="854075"/>
          </a:xfrm>
        </p:spPr>
        <p:txBody>
          <a:bodyPr/>
          <a:lstStyle/>
          <a:p>
            <a:r>
              <a:rPr lang="nl-NL" smtClean="0"/>
              <a:t>Klik om de stijl te bewerke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73586443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2" pos="3720" userDrawn="1">
          <p15:clr>
            <a:srgbClr val="FBAE40"/>
          </p15:clr>
        </p15:guide>
        <p15:guide id="3" pos="3953" userDrawn="1">
          <p15:clr>
            <a:srgbClr val="FBAE40"/>
          </p15:clr>
        </p15:guide>
        <p15:guide id="4" orient="horz" pos="2274" userDrawn="1">
          <p15:clr>
            <a:srgbClr val="FBAE40"/>
          </p15:clr>
        </p15:guide>
        <p15:guide id="5" orient="horz" pos="2442" userDrawn="1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 Split Title &amp;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687031" y="280736"/>
            <a:ext cx="8522455" cy="854075"/>
          </a:xfrm>
        </p:spPr>
        <p:txBody>
          <a:bodyPr/>
          <a:lstStyle/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  <p:sp>
        <p:nvSpPr>
          <p:cNvPr id="5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687030" y="1278384"/>
            <a:ext cx="2652975" cy="324000"/>
          </a:xfrm>
        </p:spPr>
        <p:txBody>
          <a:bodyPr/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en-GB" noProof="0" dirty="0" smtClean="0"/>
              <a:t>Click to edit title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idx="13" hasCustomPrompt="1"/>
          </p:nvPr>
        </p:nvSpPr>
        <p:spPr bwMode="gray">
          <a:xfrm>
            <a:off x="687030" y="1757281"/>
            <a:ext cx="2652975" cy="1850305"/>
          </a:xfrm>
        </p:spPr>
        <p:txBody>
          <a:bodyPr/>
          <a:lstStyle>
            <a:lvl3pPr>
              <a:lnSpc>
                <a:spcPts val="2100"/>
              </a:lnSpc>
              <a:defRPr sz="18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idx="20" hasCustomPrompt="1"/>
          </p:nvPr>
        </p:nvSpPr>
        <p:spPr bwMode="gray">
          <a:xfrm>
            <a:off x="687030" y="3878568"/>
            <a:ext cx="2652975" cy="324000"/>
          </a:xfrm>
        </p:spPr>
        <p:txBody>
          <a:bodyPr/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8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687030" y="4346776"/>
            <a:ext cx="2652975" cy="1850400"/>
          </a:xfrm>
        </p:spPr>
        <p:txBody>
          <a:bodyPr/>
          <a:lstStyle>
            <a:lvl3pPr>
              <a:lnSpc>
                <a:spcPts val="2100"/>
              </a:lnSpc>
              <a:defRPr sz="18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cxnSp>
        <p:nvCxnSpPr>
          <p:cNvPr id="9" name="Straight Connector 8"/>
          <p:cNvCxnSpPr/>
          <p:nvPr userDrawn="1"/>
        </p:nvCxnSpPr>
        <p:spPr bwMode="gray">
          <a:xfrm>
            <a:off x="687030" y="1685616"/>
            <a:ext cx="2652975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/>
          <p:cNvCxnSpPr/>
          <p:nvPr userDrawn="1"/>
        </p:nvCxnSpPr>
        <p:spPr bwMode="gray">
          <a:xfrm>
            <a:off x="687030" y="4278810"/>
            <a:ext cx="2652975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6556510" y="1278384"/>
            <a:ext cx="2652975" cy="324000"/>
          </a:xfrm>
        </p:spPr>
        <p:txBody>
          <a:bodyPr/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41" name="Content Placeholder 2"/>
          <p:cNvSpPr>
            <a:spLocks noGrp="1"/>
          </p:cNvSpPr>
          <p:nvPr>
            <p:ph idx="23" hasCustomPrompt="1"/>
          </p:nvPr>
        </p:nvSpPr>
        <p:spPr bwMode="gray">
          <a:xfrm>
            <a:off x="6556510" y="1757281"/>
            <a:ext cx="2652975" cy="1850305"/>
          </a:xfrm>
        </p:spPr>
        <p:txBody>
          <a:bodyPr/>
          <a:lstStyle>
            <a:lvl3pPr>
              <a:lnSpc>
                <a:spcPts val="2100"/>
              </a:lnSpc>
              <a:defRPr sz="18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sp>
        <p:nvSpPr>
          <p:cNvPr id="42" name="Content Placeholder 2"/>
          <p:cNvSpPr>
            <a:spLocks noGrp="1"/>
          </p:cNvSpPr>
          <p:nvPr>
            <p:ph idx="24" hasCustomPrompt="1"/>
          </p:nvPr>
        </p:nvSpPr>
        <p:spPr bwMode="gray">
          <a:xfrm>
            <a:off x="6556510" y="3878568"/>
            <a:ext cx="2652975" cy="324000"/>
          </a:xfrm>
        </p:spPr>
        <p:txBody>
          <a:bodyPr/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43" name="Content Placeholder 2"/>
          <p:cNvSpPr>
            <a:spLocks noGrp="1"/>
          </p:cNvSpPr>
          <p:nvPr>
            <p:ph idx="25" hasCustomPrompt="1"/>
          </p:nvPr>
        </p:nvSpPr>
        <p:spPr bwMode="gray">
          <a:xfrm>
            <a:off x="6556510" y="4346776"/>
            <a:ext cx="2652975" cy="1850400"/>
          </a:xfrm>
        </p:spPr>
        <p:txBody>
          <a:bodyPr/>
          <a:lstStyle>
            <a:lvl3pPr>
              <a:lnSpc>
                <a:spcPts val="2100"/>
              </a:lnSpc>
              <a:defRPr sz="18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cxnSp>
        <p:nvCxnSpPr>
          <p:cNvPr id="44" name="Straight Connector 43"/>
          <p:cNvCxnSpPr/>
          <p:nvPr userDrawn="1"/>
        </p:nvCxnSpPr>
        <p:spPr bwMode="gray">
          <a:xfrm>
            <a:off x="6556510" y="1685616"/>
            <a:ext cx="2652975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Straight Connector 44"/>
          <p:cNvCxnSpPr/>
          <p:nvPr userDrawn="1"/>
        </p:nvCxnSpPr>
        <p:spPr bwMode="gray">
          <a:xfrm>
            <a:off x="6556510" y="4278810"/>
            <a:ext cx="2652975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Content Placeholder 2"/>
          <p:cNvSpPr>
            <a:spLocks noGrp="1"/>
          </p:cNvSpPr>
          <p:nvPr>
            <p:ph idx="26" hasCustomPrompt="1"/>
          </p:nvPr>
        </p:nvSpPr>
        <p:spPr bwMode="gray">
          <a:xfrm>
            <a:off x="3621769" y="1278384"/>
            <a:ext cx="2652975" cy="324000"/>
          </a:xfrm>
        </p:spPr>
        <p:txBody>
          <a:bodyPr/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47" name="Content Placeholder 2"/>
          <p:cNvSpPr>
            <a:spLocks noGrp="1"/>
          </p:cNvSpPr>
          <p:nvPr>
            <p:ph idx="27" hasCustomPrompt="1"/>
          </p:nvPr>
        </p:nvSpPr>
        <p:spPr bwMode="gray">
          <a:xfrm>
            <a:off x="3621769" y="1757281"/>
            <a:ext cx="2652975" cy="1850305"/>
          </a:xfrm>
        </p:spPr>
        <p:txBody>
          <a:bodyPr/>
          <a:lstStyle>
            <a:lvl3pPr>
              <a:lnSpc>
                <a:spcPts val="2100"/>
              </a:lnSpc>
              <a:defRPr sz="18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sp>
        <p:nvSpPr>
          <p:cNvPr id="48" name="Content Placeholder 2"/>
          <p:cNvSpPr>
            <a:spLocks noGrp="1"/>
          </p:cNvSpPr>
          <p:nvPr>
            <p:ph idx="28" hasCustomPrompt="1"/>
          </p:nvPr>
        </p:nvSpPr>
        <p:spPr bwMode="gray">
          <a:xfrm>
            <a:off x="3621769" y="3878568"/>
            <a:ext cx="2652975" cy="324000"/>
          </a:xfrm>
        </p:spPr>
        <p:txBody>
          <a:bodyPr/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49" name="Content Placeholder 2"/>
          <p:cNvSpPr>
            <a:spLocks noGrp="1"/>
          </p:cNvSpPr>
          <p:nvPr>
            <p:ph idx="29" hasCustomPrompt="1"/>
          </p:nvPr>
        </p:nvSpPr>
        <p:spPr bwMode="gray">
          <a:xfrm>
            <a:off x="3621769" y="4346776"/>
            <a:ext cx="2652975" cy="1850400"/>
          </a:xfrm>
        </p:spPr>
        <p:txBody>
          <a:bodyPr/>
          <a:lstStyle>
            <a:lvl3pPr>
              <a:lnSpc>
                <a:spcPts val="2100"/>
              </a:lnSpc>
              <a:defRPr sz="18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cxnSp>
        <p:nvCxnSpPr>
          <p:cNvPr id="50" name="Straight Connector 49"/>
          <p:cNvCxnSpPr/>
          <p:nvPr userDrawn="1"/>
        </p:nvCxnSpPr>
        <p:spPr bwMode="gray">
          <a:xfrm>
            <a:off x="3621769" y="1685616"/>
            <a:ext cx="2652975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Straight Connector 50"/>
          <p:cNvCxnSpPr/>
          <p:nvPr userDrawn="1"/>
        </p:nvCxnSpPr>
        <p:spPr bwMode="gray">
          <a:xfrm>
            <a:off x="3621769" y="4278810"/>
            <a:ext cx="2652975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Slide Number Placeholder 12"/>
          <p:cNvSpPr>
            <a:spLocks noGrp="1"/>
          </p:cNvSpPr>
          <p:nvPr>
            <p:ph type="sldNum" sz="quarter" idx="31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‹#›</a:t>
            </a:fld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990928557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2" pos="2592" userDrawn="1">
          <p15:clr>
            <a:srgbClr val="FBAE40"/>
          </p15:clr>
        </p15:guide>
        <p15:guide id="3" pos="5082" userDrawn="1">
          <p15:clr>
            <a:srgbClr val="FBAE40"/>
          </p15:clr>
        </p15:guide>
        <p15:guide id="4" pos="2803" userDrawn="1">
          <p15:clr>
            <a:srgbClr val="FBAE40"/>
          </p15:clr>
        </p15:guide>
        <p15:guide id="5" pos="4866" userDrawn="1">
          <p15:clr>
            <a:srgbClr val="FBAE40"/>
          </p15:clr>
        </p15:guide>
        <p15:guide id="6" orient="horz" pos="2274" userDrawn="1">
          <p15:clr>
            <a:srgbClr val="FBAE40"/>
          </p15:clr>
        </p15:guide>
        <p15:guide id="7" orient="horz" pos="2442" userDrawn="1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 Split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687031" y="280736"/>
            <a:ext cx="8522455" cy="854075"/>
          </a:xfrm>
        </p:spPr>
        <p:txBody>
          <a:bodyPr/>
          <a:lstStyle/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  <p:sp>
        <p:nvSpPr>
          <p:cNvPr id="5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687030" y="1278384"/>
            <a:ext cx="2076750" cy="324000"/>
          </a:xfrm>
        </p:spPr>
        <p:txBody>
          <a:bodyPr/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6" name="Content Placeholder 2"/>
          <p:cNvSpPr>
            <a:spLocks noGrp="1"/>
          </p:cNvSpPr>
          <p:nvPr>
            <p:ph idx="13" hasCustomPrompt="1"/>
          </p:nvPr>
        </p:nvSpPr>
        <p:spPr bwMode="gray">
          <a:xfrm>
            <a:off x="687030" y="1757279"/>
            <a:ext cx="2076750" cy="1850400"/>
          </a:xfrm>
        </p:spPr>
        <p:txBody>
          <a:bodyPr/>
          <a:lstStyle>
            <a:lvl3pPr>
              <a:lnSpc>
                <a:spcPts val="2100"/>
              </a:lnSpc>
              <a:defRPr sz="18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idx="20" hasCustomPrompt="1"/>
          </p:nvPr>
        </p:nvSpPr>
        <p:spPr bwMode="gray">
          <a:xfrm>
            <a:off x="687030" y="3878568"/>
            <a:ext cx="2076750" cy="324000"/>
          </a:xfrm>
        </p:spPr>
        <p:txBody>
          <a:bodyPr/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8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687030" y="4346776"/>
            <a:ext cx="2076750" cy="1850400"/>
          </a:xfrm>
        </p:spPr>
        <p:txBody>
          <a:bodyPr/>
          <a:lstStyle>
            <a:lvl3pPr>
              <a:lnSpc>
                <a:spcPts val="2100"/>
              </a:lnSpc>
              <a:defRPr sz="18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cxnSp>
        <p:nvCxnSpPr>
          <p:cNvPr id="9" name="Straight Connector 8"/>
          <p:cNvCxnSpPr/>
          <p:nvPr userDrawn="1"/>
        </p:nvCxnSpPr>
        <p:spPr bwMode="gray">
          <a:xfrm>
            <a:off x="687030" y="1685616"/>
            <a:ext cx="2076750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/>
          <p:cNvCxnSpPr/>
          <p:nvPr userDrawn="1"/>
        </p:nvCxnSpPr>
        <p:spPr bwMode="gray">
          <a:xfrm>
            <a:off x="687030" y="4278810"/>
            <a:ext cx="2076750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2835598" y="1278384"/>
            <a:ext cx="2076750" cy="324000"/>
          </a:xfrm>
        </p:spPr>
        <p:txBody>
          <a:bodyPr/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52" name="Content Placeholder 2"/>
          <p:cNvSpPr>
            <a:spLocks noGrp="1"/>
          </p:cNvSpPr>
          <p:nvPr>
            <p:ph idx="23" hasCustomPrompt="1"/>
          </p:nvPr>
        </p:nvSpPr>
        <p:spPr bwMode="gray">
          <a:xfrm>
            <a:off x="2835598" y="1757279"/>
            <a:ext cx="2076750" cy="1850400"/>
          </a:xfrm>
        </p:spPr>
        <p:txBody>
          <a:bodyPr/>
          <a:lstStyle>
            <a:lvl3pPr>
              <a:lnSpc>
                <a:spcPts val="2100"/>
              </a:lnSpc>
              <a:defRPr sz="18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sp>
        <p:nvSpPr>
          <p:cNvPr id="53" name="Content Placeholder 2"/>
          <p:cNvSpPr>
            <a:spLocks noGrp="1"/>
          </p:cNvSpPr>
          <p:nvPr>
            <p:ph idx="24" hasCustomPrompt="1"/>
          </p:nvPr>
        </p:nvSpPr>
        <p:spPr bwMode="gray">
          <a:xfrm>
            <a:off x="2835598" y="3878568"/>
            <a:ext cx="2076750" cy="324000"/>
          </a:xfrm>
        </p:spPr>
        <p:txBody>
          <a:bodyPr/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54" name="Content Placeholder 2"/>
          <p:cNvSpPr>
            <a:spLocks noGrp="1"/>
          </p:cNvSpPr>
          <p:nvPr>
            <p:ph idx="25" hasCustomPrompt="1"/>
          </p:nvPr>
        </p:nvSpPr>
        <p:spPr bwMode="gray">
          <a:xfrm>
            <a:off x="2835598" y="4346776"/>
            <a:ext cx="2076750" cy="1850400"/>
          </a:xfrm>
        </p:spPr>
        <p:txBody>
          <a:bodyPr/>
          <a:lstStyle>
            <a:lvl3pPr>
              <a:lnSpc>
                <a:spcPts val="2100"/>
              </a:lnSpc>
              <a:defRPr sz="18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cxnSp>
        <p:nvCxnSpPr>
          <p:cNvPr id="55" name="Straight Connector 54"/>
          <p:cNvCxnSpPr/>
          <p:nvPr userDrawn="1"/>
        </p:nvCxnSpPr>
        <p:spPr bwMode="gray">
          <a:xfrm>
            <a:off x="2835598" y="1685616"/>
            <a:ext cx="2076750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Straight Connector 55"/>
          <p:cNvCxnSpPr/>
          <p:nvPr userDrawn="1"/>
        </p:nvCxnSpPr>
        <p:spPr bwMode="gray">
          <a:xfrm>
            <a:off x="2835598" y="4278810"/>
            <a:ext cx="2076750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Content Placeholder 2"/>
          <p:cNvSpPr>
            <a:spLocks noGrp="1"/>
          </p:cNvSpPr>
          <p:nvPr>
            <p:ph idx="26" hasCustomPrompt="1"/>
          </p:nvPr>
        </p:nvSpPr>
        <p:spPr bwMode="gray">
          <a:xfrm>
            <a:off x="4984166" y="1278384"/>
            <a:ext cx="2076750" cy="324000"/>
          </a:xfrm>
        </p:spPr>
        <p:txBody>
          <a:bodyPr/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58" name="Content Placeholder 2"/>
          <p:cNvSpPr>
            <a:spLocks noGrp="1"/>
          </p:cNvSpPr>
          <p:nvPr>
            <p:ph idx="27" hasCustomPrompt="1"/>
          </p:nvPr>
        </p:nvSpPr>
        <p:spPr bwMode="gray">
          <a:xfrm>
            <a:off x="4984166" y="1757279"/>
            <a:ext cx="2076750" cy="1850400"/>
          </a:xfrm>
        </p:spPr>
        <p:txBody>
          <a:bodyPr/>
          <a:lstStyle>
            <a:lvl3pPr>
              <a:lnSpc>
                <a:spcPts val="2100"/>
              </a:lnSpc>
              <a:defRPr sz="18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sp>
        <p:nvSpPr>
          <p:cNvPr id="59" name="Content Placeholder 2"/>
          <p:cNvSpPr>
            <a:spLocks noGrp="1"/>
          </p:cNvSpPr>
          <p:nvPr>
            <p:ph idx="28" hasCustomPrompt="1"/>
          </p:nvPr>
        </p:nvSpPr>
        <p:spPr bwMode="gray">
          <a:xfrm>
            <a:off x="4984166" y="3878568"/>
            <a:ext cx="2076750" cy="324000"/>
          </a:xfrm>
        </p:spPr>
        <p:txBody>
          <a:bodyPr/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60" name="Content Placeholder 2"/>
          <p:cNvSpPr>
            <a:spLocks noGrp="1"/>
          </p:cNvSpPr>
          <p:nvPr>
            <p:ph idx="29" hasCustomPrompt="1"/>
          </p:nvPr>
        </p:nvSpPr>
        <p:spPr bwMode="gray">
          <a:xfrm>
            <a:off x="4984166" y="4346776"/>
            <a:ext cx="2076750" cy="1850400"/>
          </a:xfrm>
        </p:spPr>
        <p:txBody>
          <a:bodyPr/>
          <a:lstStyle>
            <a:lvl3pPr>
              <a:lnSpc>
                <a:spcPts val="2100"/>
              </a:lnSpc>
              <a:defRPr sz="18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cxnSp>
        <p:nvCxnSpPr>
          <p:cNvPr id="61" name="Straight Connector 60"/>
          <p:cNvCxnSpPr/>
          <p:nvPr userDrawn="1"/>
        </p:nvCxnSpPr>
        <p:spPr bwMode="gray">
          <a:xfrm>
            <a:off x="4984166" y="1685616"/>
            <a:ext cx="2076750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Straight Connector 61"/>
          <p:cNvCxnSpPr/>
          <p:nvPr userDrawn="1"/>
        </p:nvCxnSpPr>
        <p:spPr bwMode="gray">
          <a:xfrm>
            <a:off x="4984166" y="4278810"/>
            <a:ext cx="2076750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" name="Content Placeholder 2"/>
          <p:cNvSpPr>
            <a:spLocks noGrp="1"/>
          </p:cNvSpPr>
          <p:nvPr>
            <p:ph idx="30" hasCustomPrompt="1"/>
          </p:nvPr>
        </p:nvSpPr>
        <p:spPr bwMode="gray">
          <a:xfrm>
            <a:off x="7132734" y="1278384"/>
            <a:ext cx="2076750" cy="324000"/>
          </a:xfrm>
        </p:spPr>
        <p:txBody>
          <a:bodyPr/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64" name="Content Placeholder 2"/>
          <p:cNvSpPr>
            <a:spLocks noGrp="1"/>
          </p:cNvSpPr>
          <p:nvPr>
            <p:ph idx="31" hasCustomPrompt="1"/>
          </p:nvPr>
        </p:nvSpPr>
        <p:spPr bwMode="gray">
          <a:xfrm>
            <a:off x="7132734" y="1757279"/>
            <a:ext cx="2076750" cy="1850400"/>
          </a:xfrm>
        </p:spPr>
        <p:txBody>
          <a:bodyPr/>
          <a:lstStyle>
            <a:lvl3pPr>
              <a:lnSpc>
                <a:spcPts val="2100"/>
              </a:lnSpc>
              <a:defRPr sz="18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sp>
        <p:nvSpPr>
          <p:cNvPr id="65" name="Content Placeholder 2"/>
          <p:cNvSpPr>
            <a:spLocks noGrp="1"/>
          </p:cNvSpPr>
          <p:nvPr>
            <p:ph idx="32" hasCustomPrompt="1"/>
          </p:nvPr>
        </p:nvSpPr>
        <p:spPr bwMode="gray">
          <a:xfrm>
            <a:off x="7132734" y="3878568"/>
            <a:ext cx="2076750" cy="324000"/>
          </a:xfrm>
        </p:spPr>
        <p:txBody>
          <a:bodyPr/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66" name="Content Placeholder 2"/>
          <p:cNvSpPr>
            <a:spLocks noGrp="1"/>
          </p:cNvSpPr>
          <p:nvPr>
            <p:ph idx="33" hasCustomPrompt="1"/>
          </p:nvPr>
        </p:nvSpPr>
        <p:spPr bwMode="gray">
          <a:xfrm>
            <a:off x="7132734" y="4346776"/>
            <a:ext cx="2076750" cy="1850400"/>
          </a:xfrm>
        </p:spPr>
        <p:txBody>
          <a:bodyPr/>
          <a:lstStyle>
            <a:lvl3pPr>
              <a:lnSpc>
                <a:spcPts val="2100"/>
              </a:lnSpc>
              <a:defRPr sz="18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cxnSp>
        <p:nvCxnSpPr>
          <p:cNvPr id="67" name="Straight Connector 66"/>
          <p:cNvCxnSpPr/>
          <p:nvPr userDrawn="1"/>
        </p:nvCxnSpPr>
        <p:spPr bwMode="gray">
          <a:xfrm>
            <a:off x="7132734" y="1685616"/>
            <a:ext cx="2076750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Straight Connector 67"/>
          <p:cNvCxnSpPr/>
          <p:nvPr userDrawn="1"/>
        </p:nvCxnSpPr>
        <p:spPr bwMode="gray">
          <a:xfrm>
            <a:off x="7132734" y="4278810"/>
            <a:ext cx="2076750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Slide Number Placeholder 11"/>
          <p:cNvSpPr>
            <a:spLocks noGrp="1"/>
          </p:cNvSpPr>
          <p:nvPr>
            <p:ph type="sldNum" sz="quarter" idx="35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‹#›</a:t>
            </a:fld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043098956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2" pos="2149" userDrawn="1">
          <p15:clr>
            <a:srgbClr val="FBAE40"/>
          </p15:clr>
        </p15:guide>
        <p15:guide id="4" pos="5480" userDrawn="1">
          <p15:clr>
            <a:srgbClr val="FBAE40"/>
          </p15:clr>
        </p15:guide>
        <p15:guide id="5" pos="3864" userDrawn="1">
          <p15:clr>
            <a:srgbClr val="FBAE40"/>
          </p15:clr>
        </p15:guide>
        <p15:guide id="6" pos="2196" userDrawn="1">
          <p15:clr>
            <a:srgbClr val="FBAE40"/>
          </p15:clr>
        </p15:guide>
        <p15:guide id="7" pos="3809" userDrawn="1">
          <p15:clr>
            <a:srgbClr val="FBAE40"/>
          </p15:clr>
        </p15:guide>
        <p15:guide id="8" pos="5528" userDrawn="1">
          <p15:clr>
            <a:srgbClr val="FBAE40"/>
          </p15:clr>
        </p15:guide>
        <p15:guide id="9" orient="horz" pos="2274" userDrawn="1">
          <p15:clr>
            <a:srgbClr val="FBAE40"/>
          </p15:clr>
        </p15:guide>
        <p15:guide id="10" orient="horz" pos="2442" userDrawn="1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Pictur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3694867" y="1270000"/>
            <a:ext cx="5514620" cy="4978400"/>
          </a:xfrm>
        </p:spPr>
        <p:txBody>
          <a:bodyPr/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12" name="Picture Placeholder 11"/>
          <p:cNvSpPr>
            <a:spLocks noGrp="1"/>
          </p:cNvSpPr>
          <p:nvPr>
            <p:ph type="pic" sz="quarter" idx="16"/>
          </p:nvPr>
        </p:nvSpPr>
        <p:spPr bwMode="gray">
          <a:xfrm>
            <a:off x="563663" y="280732"/>
            <a:ext cx="2797671" cy="5920066"/>
          </a:xfrm>
          <a:custGeom>
            <a:avLst/>
            <a:gdLst>
              <a:gd name="connsiteX0" fmla="*/ 95997 w 3443287"/>
              <a:gd name="connsiteY0" fmla="*/ 0 h 5920066"/>
              <a:gd name="connsiteX1" fmla="*/ 3443287 w 3443287"/>
              <a:gd name="connsiteY1" fmla="*/ 0 h 5920066"/>
              <a:gd name="connsiteX2" fmla="*/ 3443287 w 3443287"/>
              <a:gd name="connsiteY2" fmla="*/ 5920066 h 5920066"/>
              <a:gd name="connsiteX3" fmla="*/ 95989 w 3443287"/>
              <a:gd name="connsiteY3" fmla="*/ 5920066 h 5920066"/>
              <a:gd name="connsiteX4" fmla="*/ 64311 w 3443287"/>
              <a:gd name="connsiteY4" fmla="*/ 5915938 h 5920066"/>
              <a:gd name="connsiteX5" fmla="*/ 0 w 3443287"/>
              <a:gd name="connsiteY5" fmla="*/ 5823957 h 5920066"/>
              <a:gd name="connsiteX6" fmla="*/ 0 w 3443287"/>
              <a:gd name="connsiteY6" fmla="*/ 5820222 h 5920066"/>
              <a:gd name="connsiteX7" fmla="*/ 0 w 3443287"/>
              <a:gd name="connsiteY7" fmla="*/ 5811351 h 5920066"/>
              <a:gd name="connsiteX8" fmla="*/ 0 w 3443287"/>
              <a:gd name="connsiteY8" fmla="*/ 5794075 h 5920066"/>
              <a:gd name="connsiteX9" fmla="*/ 0 w 3443287"/>
              <a:gd name="connsiteY9" fmla="*/ 5765594 h 5920066"/>
              <a:gd name="connsiteX10" fmla="*/ 0 w 3443287"/>
              <a:gd name="connsiteY10" fmla="*/ 5723106 h 5920066"/>
              <a:gd name="connsiteX11" fmla="*/ 0 w 3443287"/>
              <a:gd name="connsiteY11" fmla="*/ 5663809 h 5920066"/>
              <a:gd name="connsiteX12" fmla="*/ 0 w 3443287"/>
              <a:gd name="connsiteY12" fmla="*/ 5584902 h 5920066"/>
              <a:gd name="connsiteX13" fmla="*/ 0 w 3443287"/>
              <a:gd name="connsiteY13" fmla="*/ 5549717 h 5920066"/>
              <a:gd name="connsiteX14" fmla="*/ 0 w 3443287"/>
              <a:gd name="connsiteY14" fmla="*/ 5548611 h 5920066"/>
              <a:gd name="connsiteX15" fmla="*/ 0 w 3443287"/>
              <a:gd name="connsiteY15" fmla="*/ 5540863 h 5920066"/>
              <a:gd name="connsiteX16" fmla="*/ 0 w 3443287"/>
              <a:gd name="connsiteY16" fmla="*/ 5520020 h 5920066"/>
              <a:gd name="connsiteX17" fmla="*/ 0 w 3443287"/>
              <a:gd name="connsiteY17" fmla="*/ 5519835 h 5920066"/>
              <a:gd name="connsiteX18" fmla="*/ 0 w 3443287"/>
              <a:gd name="connsiteY18" fmla="*/ 5478886 h 5920066"/>
              <a:gd name="connsiteX19" fmla="*/ 0 w 3443287"/>
              <a:gd name="connsiteY19" fmla="*/ 5448866 h 5920066"/>
              <a:gd name="connsiteX20" fmla="*/ 0 w 3443287"/>
              <a:gd name="connsiteY20" fmla="*/ 5444347 h 5920066"/>
              <a:gd name="connsiteX21" fmla="*/ 0 w 3443287"/>
              <a:gd name="connsiteY21" fmla="*/ 5411375 h 5920066"/>
              <a:gd name="connsiteX22" fmla="*/ 0 w 3443287"/>
              <a:gd name="connsiteY22" fmla="*/ 5365584 h 5920066"/>
              <a:gd name="connsiteX23" fmla="*/ 0 w 3443287"/>
              <a:gd name="connsiteY23" fmla="*/ 5357053 h 5920066"/>
              <a:gd name="connsiteX24" fmla="*/ 0 w 3443287"/>
              <a:gd name="connsiteY24" fmla="*/ 5310662 h 5920066"/>
              <a:gd name="connsiteX25" fmla="*/ 0 w 3443287"/>
              <a:gd name="connsiteY25" fmla="*/ 5257308 h 5920066"/>
              <a:gd name="connsiteX26" fmla="*/ 0 w 3443287"/>
              <a:gd name="connsiteY26" fmla="*/ 5245780 h 5920066"/>
              <a:gd name="connsiteX27" fmla="*/ 0 w 3443287"/>
              <a:gd name="connsiteY27" fmla="*/ 5170107 h 5920066"/>
              <a:gd name="connsiteX28" fmla="*/ 0 w 3443287"/>
              <a:gd name="connsiteY28" fmla="*/ 5144283 h 5920066"/>
              <a:gd name="connsiteX29" fmla="*/ 0 w 3443287"/>
              <a:gd name="connsiteY29" fmla="*/ 5082813 h 5920066"/>
              <a:gd name="connsiteX30" fmla="*/ 0 w 3443287"/>
              <a:gd name="connsiteY30" fmla="*/ 5017146 h 5920066"/>
              <a:gd name="connsiteX31" fmla="*/ 0 w 3443287"/>
              <a:gd name="connsiteY31" fmla="*/ 4983068 h 5920066"/>
              <a:gd name="connsiteX32" fmla="*/ 0 w 3443287"/>
              <a:gd name="connsiteY32" fmla="*/ 4903543 h 5920066"/>
              <a:gd name="connsiteX33" fmla="*/ 0 w 3443287"/>
              <a:gd name="connsiteY33" fmla="*/ 4899808 h 5920066"/>
              <a:gd name="connsiteX34" fmla="*/ 0 w 3443287"/>
              <a:gd name="connsiteY34" fmla="*/ 4890937 h 5920066"/>
              <a:gd name="connsiteX35" fmla="*/ 0 w 3443287"/>
              <a:gd name="connsiteY35" fmla="*/ 4875069 h 5920066"/>
              <a:gd name="connsiteX36" fmla="*/ 0 w 3443287"/>
              <a:gd name="connsiteY36" fmla="*/ 4873661 h 5920066"/>
              <a:gd name="connsiteX37" fmla="*/ 0 w 3443287"/>
              <a:gd name="connsiteY37" fmla="*/ 4870043 h 5920066"/>
              <a:gd name="connsiteX38" fmla="*/ 0 w 3443287"/>
              <a:gd name="connsiteY38" fmla="*/ 4845180 h 5920066"/>
              <a:gd name="connsiteX39" fmla="*/ 0 w 3443287"/>
              <a:gd name="connsiteY39" fmla="*/ 4802692 h 5920066"/>
              <a:gd name="connsiteX40" fmla="*/ 0 w 3443287"/>
              <a:gd name="connsiteY40" fmla="*/ 4743395 h 5920066"/>
              <a:gd name="connsiteX41" fmla="*/ 0 w 3443287"/>
              <a:gd name="connsiteY41" fmla="*/ 4742906 h 5920066"/>
              <a:gd name="connsiteX42" fmla="*/ 0 w 3443287"/>
              <a:gd name="connsiteY42" fmla="*/ 4717221 h 5920066"/>
              <a:gd name="connsiteX43" fmla="*/ 0 w 3443287"/>
              <a:gd name="connsiteY43" fmla="*/ 4664488 h 5920066"/>
              <a:gd name="connsiteX44" fmla="*/ 0 w 3443287"/>
              <a:gd name="connsiteY44" fmla="*/ 4629303 h 5920066"/>
              <a:gd name="connsiteX45" fmla="*/ 0 w 3443287"/>
              <a:gd name="connsiteY45" fmla="*/ 4628197 h 5920066"/>
              <a:gd name="connsiteX46" fmla="*/ 0 w 3443287"/>
              <a:gd name="connsiteY46" fmla="*/ 4620449 h 5920066"/>
              <a:gd name="connsiteX47" fmla="*/ 0 w 3443287"/>
              <a:gd name="connsiteY47" fmla="*/ 4600829 h 5920066"/>
              <a:gd name="connsiteX48" fmla="*/ 0 w 3443287"/>
              <a:gd name="connsiteY48" fmla="*/ 4599606 h 5920066"/>
              <a:gd name="connsiteX49" fmla="*/ 0 w 3443287"/>
              <a:gd name="connsiteY49" fmla="*/ 4599421 h 5920066"/>
              <a:gd name="connsiteX50" fmla="*/ 0 w 3443287"/>
              <a:gd name="connsiteY50" fmla="*/ 4558472 h 5920066"/>
              <a:gd name="connsiteX51" fmla="*/ 0 w 3443287"/>
              <a:gd name="connsiteY51" fmla="*/ 4542771 h 5920066"/>
              <a:gd name="connsiteX52" fmla="*/ 0 w 3443287"/>
              <a:gd name="connsiteY52" fmla="*/ 4528452 h 5920066"/>
              <a:gd name="connsiteX53" fmla="*/ 0 w 3443287"/>
              <a:gd name="connsiteY53" fmla="*/ 4523933 h 5920066"/>
              <a:gd name="connsiteX54" fmla="*/ 0 w 3443287"/>
              <a:gd name="connsiteY54" fmla="*/ 4490961 h 5920066"/>
              <a:gd name="connsiteX55" fmla="*/ 0 w 3443287"/>
              <a:gd name="connsiteY55" fmla="*/ 4445170 h 5920066"/>
              <a:gd name="connsiteX56" fmla="*/ 0 w 3443287"/>
              <a:gd name="connsiteY56" fmla="*/ 4442981 h 5920066"/>
              <a:gd name="connsiteX57" fmla="*/ 0 w 3443287"/>
              <a:gd name="connsiteY57" fmla="*/ 4436639 h 5920066"/>
              <a:gd name="connsiteX58" fmla="*/ 0 w 3443287"/>
              <a:gd name="connsiteY58" fmla="*/ 4390248 h 5920066"/>
              <a:gd name="connsiteX59" fmla="*/ 0 w 3443287"/>
              <a:gd name="connsiteY59" fmla="*/ 4350891 h 5920066"/>
              <a:gd name="connsiteX60" fmla="*/ 0 w 3443287"/>
              <a:gd name="connsiteY60" fmla="*/ 4336894 h 5920066"/>
              <a:gd name="connsiteX61" fmla="*/ 0 w 3443287"/>
              <a:gd name="connsiteY61" fmla="*/ 4325366 h 5920066"/>
              <a:gd name="connsiteX62" fmla="*/ 0 w 3443287"/>
              <a:gd name="connsiteY62" fmla="*/ 4268531 h 5920066"/>
              <a:gd name="connsiteX63" fmla="*/ 0 w 3443287"/>
              <a:gd name="connsiteY63" fmla="*/ 4249693 h 5920066"/>
              <a:gd name="connsiteX64" fmla="*/ 0 w 3443287"/>
              <a:gd name="connsiteY64" fmla="*/ 4223869 h 5920066"/>
              <a:gd name="connsiteX65" fmla="*/ 0 w 3443287"/>
              <a:gd name="connsiteY65" fmla="*/ 4162399 h 5920066"/>
              <a:gd name="connsiteX66" fmla="*/ 0 w 3443287"/>
              <a:gd name="connsiteY66" fmla="*/ 4140749 h 5920066"/>
              <a:gd name="connsiteX67" fmla="*/ 0 w 3443287"/>
              <a:gd name="connsiteY67" fmla="*/ 4096732 h 5920066"/>
              <a:gd name="connsiteX68" fmla="*/ 0 w 3443287"/>
              <a:gd name="connsiteY68" fmla="*/ 4076651 h 5920066"/>
              <a:gd name="connsiteX69" fmla="*/ 0 w 3443287"/>
              <a:gd name="connsiteY69" fmla="*/ 4062654 h 5920066"/>
              <a:gd name="connsiteX70" fmla="*/ 0 w 3443287"/>
              <a:gd name="connsiteY70" fmla="*/ 3954655 h 5920066"/>
              <a:gd name="connsiteX71" fmla="*/ 0 w 3443287"/>
              <a:gd name="connsiteY71" fmla="*/ 3949629 h 5920066"/>
              <a:gd name="connsiteX72" fmla="*/ 0 w 3443287"/>
              <a:gd name="connsiteY72" fmla="*/ 3911516 h 5920066"/>
              <a:gd name="connsiteX73" fmla="*/ 0 w 3443287"/>
              <a:gd name="connsiteY73" fmla="*/ 3866509 h 5920066"/>
              <a:gd name="connsiteX74" fmla="*/ 0 w 3443287"/>
              <a:gd name="connsiteY74" fmla="*/ 3822492 h 5920066"/>
              <a:gd name="connsiteX75" fmla="*/ 0 w 3443287"/>
              <a:gd name="connsiteY75" fmla="*/ 3796807 h 5920066"/>
              <a:gd name="connsiteX76" fmla="*/ 0 w 3443287"/>
              <a:gd name="connsiteY76" fmla="*/ 3680415 h 5920066"/>
              <a:gd name="connsiteX77" fmla="*/ 0 w 3443287"/>
              <a:gd name="connsiteY77" fmla="*/ 3662362 h 5920066"/>
              <a:gd name="connsiteX78" fmla="*/ 0 w 3443287"/>
              <a:gd name="connsiteY78" fmla="*/ 3637276 h 5920066"/>
              <a:gd name="connsiteX79" fmla="*/ 0 w 3443287"/>
              <a:gd name="connsiteY79" fmla="*/ 3622357 h 5920066"/>
              <a:gd name="connsiteX80" fmla="*/ 0 w 3443287"/>
              <a:gd name="connsiteY80" fmla="*/ 3522567 h 5920066"/>
              <a:gd name="connsiteX81" fmla="*/ 0 w 3443287"/>
              <a:gd name="connsiteY81" fmla="*/ 3430477 h 5920066"/>
              <a:gd name="connsiteX82" fmla="*/ 0 w 3443287"/>
              <a:gd name="connsiteY82" fmla="*/ 3392457 h 5920066"/>
              <a:gd name="connsiteX83" fmla="*/ 0 w 3443287"/>
              <a:gd name="connsiteY83" fmla="*/ 3388122 h 5920066"/>
              <a:gd name="connsiteX84" fmla="*/ 0 w 3443287"/>
              <a:gd name="connsiteY84" fmla="*/ 3348117 h 5920066"/>
              <a:gd name="connsiteX85" fmla="*/ 0 w 3443287"/>
              <a:gd name="connsiteY85" fmla="*/ 3220335 h 5920066"/>
              <a:gd name="connsiteX86" fmla="*/ 0 w 3443287"/>
              <a:gd name="connsiteY86" fmla="*/ 3156237 h 5920066"/>
              <a:gd name="connsiteX87" fmla="*/ 0 w 3443287"/>
              <a:gd name="connsiteY87" fmla="*/ 3118217 h 5920066"/>
              <a:gd name="connsiteX88" fmla="*/ 0 w 3443287"/>
              <a:gd name="connsiteY88" fmla="*/ 3100970 h 5920066"/>
              <a:gd name="connsiteX89" fmla="*/ 0 w 3443287"/>
              <a:gd name="connsiteY89" fmla="*/ 2991102 h 5920066"/>
              <a:gd name="connsiteX90" fmla="*/ 0 w 3443287"/>
              <a:gd name="connsiteY90" fmla="*/ 2946095 h 5920066"/>
              <a:gd name="connsiteX91" fmla="*/ 0 w 3443287"/>
              <a:gd name="connsiteY91" fmla="*/ 2826730 h 5920066"/>
              <a:gd name="connsiteX92" fmla="*/ 0 w 3443287"/>
              <a:gd name="connsiteY92" fmla="*/ 2787072 h 5920066"/>
              <a:gd name="connsiteX93" fmla="*/ 0 w 3443287"/>
              <a:gd name="connsiteY93" fmla="*/ 2741948 h 5920066"/>
              <a:gd name="connsiteX94" fmla="*/ 0 w 3443287"/>
              <a:gd name="connsiteY94" fmla="*/ 2716862 h 5920066"/>
              <a:gd name="connsiteX95" fmla="*/ 0 w 3443287"/>
              <a:gd name="connsiteY95" fmla="*/ 2512832 h 5920066"/>
              <a:gd name="connsiteX96" fmla="*/ 0 w 3443287"/>
              <a:gd name="connsiteY96" fmla="*/ 2472043 h 5920066"/>
              <a:gd name="connsiteX97" fmla="*/ 0 w 3443287"/>
              <a:gd name="connsiteY97" fmla="*/ 2467708 h 5920066"/>
              <a:gd name="connsiteX98" fmla="*/ 0 w 3443287"/>
              <a:gd name="connsiteY98" fmla="*/ 2449933 h 5920066"/>
              <a:gd name="connsiteX99" fmla="*/ 0 w 3443287"/>
              <a:gd name="connsiteY99" fmla="*/ 2197803 h 5920066"/>
              <a:gd name="connsiteX100" fmla="*/ 0 w 3443287"/>
              <a:gd name="connsiteY100" fmla="*/ 2180556 h 5920066"/>
              <a:gd name="connsiteX101" fmla="*/ 0 w 3443287"/>
              <a:gd name="connsiteY101" fmla="*/ 2175692 h 5920066"/>
              <a:gd name="connsiteX102" fmla="*/ 0 w 3443287"/>
              <a:gd name="connsiteY102" fmla="*/ 2088721 h 5920066"/>
              <a:gd name="connsiteX103" fmla="*/ 0 w 3443287"/>
              <a:gd name="connsiteY103" fmla="*/ 1906316 h 5920066"/>
              <a:gd name="connsiteX104" fmla="*/ 0 w 3443287"/>
              <a:gd name="connsiteY104" fmla="*/ 1866658 h 5920066"/>
              <a:gd name="connsiteX105" fmla="*/ 0 w 3443287"/>
              <a:gd name="connsiteY105" fmla="*/ 1814481 h 5920066"/>
              <a:gd name="connsiteX106" fmla="*/ 0 w 3443287"/>
              <a:gd name="connsiteY106" fmla="*/ 1702609 h 5920066"/>
              <a:gd name="connsiteX107" fmla="*/ 0 w 3443287"/>
              <a:gd name="connsiteY107" fmla="*/ 1592418 h 5920066"/>
              <a:gd name="connsiteX108" fmla="*/ 0 w 3443287"/>
              <a:gd name="connsiteY108" fmla="*/ 1529519 h 5920066"/>
              <a:gd name="connsiteX109" fmla="*/ 0 w 3443287"/>
              <a:gd name="connsiteY109" fmla="*/ 1428369 h 5920066"/>
              <a:gd name="connsiteX110" fmla="*/ 0 w 3443287"/>
              <a:gd name="connsiteY110" fmla="*/ 1290764 h 5920066"/>
              <a:gd name="connsiteX111" fmla="*/ 0 w 3443287"/>
              <a:gd name="connsiteY111" fmla="*/ 1255278 h 5920066"/>
              <a:gd name="connsiteX112" fmla="*/ 0 w 3443287"/>
              <a:gd name="connsiteY112" fmla="*/ 1168307 h 5920066"/>
              <a:gd name="connsiteX113" fmla="*/ 0 w 3443287"/>
              <a:gd name="connsiteY113" fmla="*/ 1016524 h 5920066"/>
              <a:gd name="connsiteX114" fmla="*/ 0 w 3443287"/>
              <a:gd name="connsiteY114" fmla="*/ 894067 h 5920066"/>
              <a:gd name="connsiteX115" fmla="*/ 0 w 3443287"/>
              <a:gd name="connsiteY115" fmla="*/ 782195 h 5920066"/>
              <a:gd name="connsiteX116" fmla="*/ 0 w 3443287"/>
              <a:gd name="connsiteY116" fmla="*/ 507955 h 5920066"/>
              <a:gd name="connsiteX117" fmla="*/ 0 w 3443287"/>
              <a:gd name="connsiteY117" fmla="*/ 370350 h 5920066"/>
              <a:gd name="connsiteX118" fmla="*/ 0 w 3443287"/>
              <a:gd name="connsiteY118" fmla="*/ 96110 h 5920066"/>
              <a:gd name="connsiteX119" fmla="*/ 95997 w 3443287"/>
              <a:gd name="connsiteY119" fmla="*/ 0 h 59200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</a:cxnLst>
            <a:rect l="l" t="t" r="r" b="b"/>
            <a:pathLst>
              <a:path w="3443287" h="5920066">
                <a:moveTo>
                  <a:pt x="95997" y="0"/>
                </a:moveTo>
                <a:lnTo>
                  <a:pt x="3443287" y="0"/>
                </a:lnTo>
                <a:lnTo>
                  <a:pt x="3443287" y="5920066"/>
                </a:lnTo>
                <a:lnTo>
                  <a:pt x="95989" y="5920066"/>
                </a:lnTo>
                <a:lnTo>
                  <a:pt x="64311" y="5915938"/>
                </a:lnTo>
                <a:cubicBezTo>
                  <a:pt x="0" y="5897541"/>
                  <a:pt x="0" y="5823957"/>
                  <a:pt x="0" y="5823957"/>
                </a:cubicBezTo>
                <a:lnTo>
                  <a:pt x="0" y="5820222"/>
                </a:lnTo>
                <a:lnTo>
                  <a:pt x="0" y="5811351"/>
                </a:lnTo>
                <a:lnTo>
                  <a:pt x="0" y="5794075"/>
                </a:lnTo>
                <a:lnTo>
                  <a:pt x="0" y="5765594"/>
                </a:lnTo>
                <a:lnTo>
                  <a:pt x="0" y="5723106"/>
                </a:lnTo>
                <a:lnTo>
                  <a:pt x="0" y="5663809"/>
                </a:lnTo>
                <a:lnTo>
                  <a:pt x="0" y="5584902"/>
                </a:lnTo>
                <a:lnTo>
                  <a:pt x="0" y="5549717"/>
                </a:lnTo>
                <a:lnTo>
                  <a:pt x="0" y="5548611"/>
                </a:lnTo>
                <a:lnTo>
                  <a:pt x="0" y="5540863"/>
                </a:lnTo>
                <a:lnTo>
                  <a:pt x="0" y="5520020"/>
                </a:lnTo>
                <a:lnTo>
                  <a:pt x="0" y="5519835"/>
                </a:lnTo>
                <a:lnTo>
                  <a:pt x="0" y="5478886"/>
                </a:lnTo>
                <a:lnTo>
                  <a:pt x="0" y="5448866"/>
                </a:lnTo>
                <a:lnTo>
                  <a:pt x="0" y="5444347"/>
                </a:lnTo>
                <a:lnTo>
                  <a:pt x="0" y="5411375"/>
                </a:lnTo>
                <a:lnTo>
                  <a:pt x="0" y="5365584"/>
                </a:lnTo>
                <a:lnTo>
                  <a:pt x="0" y="5357053"/>
                </a:lnTo>
                <a:lnTo>
                  <a:pt x="0" y="5310662"/>
                </a:lnTo>
                <a:lnTo>
                  <a:pt x="0" y="5257308"/>
                </a:lnTo>
                <a:lnTo>
                  <a:pt x="0" y="5245780"/>
                </a:lnTo>
                <a:lnTo>
                  <a:pt x="0" y="5170107"/>
                </a:lnTo>
                <a:lnTo>
                  <a:pt x="0" y="5144283"/>
                </a:lnTo>
                <a:lnTo>
                  <a:pt x="0" y="5082813"/>
                </a:lnTo>
                <a:lnTo>
                  <a:pt x="0" y="5017146"/>
                </a:lnTo>
                <a:lnTo>
                  <a:pt x="0" y="4983068"/>
                </a:lnTo>
                <a:lnTo>
                  <a:pt x="0" y="4903543"/>
                </a:lnTo>
                <a:lnTo>
                  <a:pt x="0" y="4899808"/>
                </a:lnTo>
                <a:lnTo>
                  <a:pt x="0" y="4890937"/>
                </a:lnTo>
                <a:lnTo>
                  <a:pt x="0" y="4875069"/>
                </a:lnTo>
                <a:lnTo>
                  <a:pt x="0" y="4873661"/>
                </a:lnTo>
                <a:lnTo>
                  <a:pt x="0" y="4870043"/>
                </a:lnTo>
                <a:lnTo>
                  <a:pt x="0" y="4845180"/>
                </a:lnTo>
                <a:lnTo>
                  <a:pt x="0" y="4802692"/>
                </a:lnTo>
                <a:lnTo>
                  <a:pt x="0" y="4743395"/>
                </a:lnTo>
                <a:lnTo>
                  <a:pt x="0" y="4742906"/>
                </a:lnTo>
                <a:lnTo>
                  <a:pt x="0" y="4717221"/>
                </a:lnTo>
                <a:lnTo>
                  <a:pt x="0" y="4664488"/>
                </a:lnTo>
                <a:lnTo>
                  <a:pt x="0" y="4629303"/>
                </a:lnTo>
                <a:lnTo>
                  <a:pt x="0" y="4628197"/>
                </a:lnTo>
                <a:lnTo>
                  <a:pt x="0" y="4620449"/>
                </a:lnTo>
                <a:lnTo>
                  <a:pt x="0" y="4600829"/>
                </a:lnTo>
                <a:lnTo>
                  <a:pt x="0" y="4599606"/>
                </a:lnTo>
                <a:lnTo>
                  <a:pt x="0" y="4599421"/>
                </a:lnTo>
                <a:lnTo>
                  <a:pt x="0" y="4558472"/>
                </a:lnTo>
                <a:lnTo>
                  <a:pt x="0" y="4542771"/>
                </a:lnTo>
                <a:lnTo>
                  <a:pt x="0" y="4528452"/>
                </a:lnTo>
                <a:lnTo>
                  <a:pt x="0" y="4523933"/>
                </a:lnTo>
                <a:lnTo>
                  <a:pt x="0" y="4490961"/>
                </a:lnTo>
                <a:lnTo>
                  <a:pt x="0" y="4445170"/>
                </a:lnTo>
                <a:lnTo>
                  <a:pt x="0" y="4442981"/>
                </a:lnTo>
                <a:lnTo>
                  <a:pt x="0" y="4436639"/>
                </a:lnTo>
                <a:lnTo>
                  <a:pt x="0" y="4390248"/>
                </a:lnTo>
                <a:lnTo>
                  <a:pt x="0" y="4350891"/>
                </a:lnTo>
                <a:lnTo>
                  <a:pt x="0" y="4336894"/>
                </a:lnTo>
                <a:lnTo>
                  <a:pt x="0" y="4325366"/>
                </a:lnTo>
                <a:lnTo>
                  <a:pt x="0" y="4268531"/>
                </a:lnTo>
                <a:lnTo>
                  <a:pt x="0" y="4249693"/>
                </a:lnTo>
                <a:lnTo>
                  <a:pt x="0" y="4223869"/>
                </a:lnTo>
                <a:lnTo>
                  <a:pt x="0" y="4162399"/>
                </a:lnTo>
                <a:lnTo>
                  <a:pt x="0" y="4140749"/>
                </a:lnTo>
                <a:lnTo>
                  <a:pt x="0" y="4096732"/>
                </a:lnTo>
                <a:lnTo>
                  <a:pt x="0" y="4076651"/>
                </a:lnTo>
                <a:lnTo>
                  <a:pt x="0" y="4062654"/>
                </a:lnTo>
                <a:lnTo>
                  <a:pt x="0" y="3954655"/>
                </a:lnTo>
                <a:lnTo>
                  <a:pt x="0" y="3949629"/>
                </a:lnTo>
                <a:lnTo>
                  <a:pt x="0" y="3911516"/>
                </a:lnTo>
                <a:lnTo>
                  <a:pt x="0" y="3866509"/>
                </a:lnTo>
                <a:lnTo>
                  <a:pt x="0" y="3822492"/>
                </a:lnTo>
                <a:lnTo>
                  <a:pt x="0" y="3796807"/>
                </a:lnTo>
                <a:lnTo>
                  <a:pt x="0" y="3680415"/>
                </a:lnTo>
                <a:lnTo>
                  <a:pt x="0" y="3662362"/>
                </a:lnTo>
                <a:lnTo>
                  <a:pt x="0" y="3637276"/>
                </a:lnTo>
                <a:lnTo>
                  <a:pt x="0" y="3622357"/>
                </a:lnTo>
                <a:lnTo>
                  <a:pt x="0" y="3522567"/>
                </a:lnTo>
                <a:lnTo>
                  <a:pt x="0" y="3430477"/>
                </a:lnTo>
                <a:lnTo>
                  <a:pt x="0" y="3392457"/>
                </a:lnTo>
                <a:lnTo>
                  <a:pt x="0" y="3388122"/>
                </a:lnTo>
                <a:lnTo>
                  <a:pt x="0" y="3348117"/>
                </a:lnTo>
                <a:lnTo>
                  <a:pt x="0" y="3220335"/>
                </a:lnTo>
                <a:lnTo>
                  <a:pt x="0" y="3156237"/>
                </a:lnTo>
                <a:lnTo>
                  <a:pt x="0" y="3118217"/>
                </a:lnTo>
                <a:lnTo>
                  <a:pt x="0" y="3100970"/>
                </a:lnTo>
                <a:lnTo>
                  <a:pt x="0" y="2991102"/>
                </a:lnTo>
                <a:lnTo>
                  <a:pt x="0" y="2946095"/>
                </a:lnTo>
                <a:lnTo>
                  <a:pt x="0" y="2826730"/>
                </a:lnTo>
                <a:lnTo>
                  <a:pt x="0" y="2787072"/>
                </a:lnTo>
                <a:lnTo>
                  <a:pt x="0" y="2741948"/>
                </a:lnTo>
                <a:lnTo>
                  <a:pt x="0" y="2716862"/>
                </a:lnTo>
                <a:lnTo>
                  <a:pt x="0" y="2512832"/>
                </a:lnTo>
                <a:lnTo>
                  <a:pt x="0" y="2472043"/>
                </a:lnTo>
                <a:lnTo>
                  <a:pt x="0" y="2467708"/>
                </a:lnTo>
                <a:lnTo>
                  <a:pt x="0" y="2449933"/>
                </a:lnTo>
                <a:lnTo>
                  <a:pt x="0" y="2197803"/>
                </a:lnTo>
                <a:lnTo>
                  <a:pt x="0" y="2180556"/>
                </a:lnTo>
                <a:lnTo>
                  <a:pt x="0" y="2175692"/>
                </a:lnTo>
                <a:lnTo>
                  <a:pt x="0" y="2088721"/>
                </a:lnTo>
                <a:lnTo>
                  <a:pt x="0" y="1906316"/>
                </a:lnTo>
                <a:lnTo>
                  <a:pt x="0" y="1866658"/>
                </a:lnTo>
                <a:lnTo>
                  <a:pt x="0" y="1814481"/>
                </a:lnTo>
                <a:lnTo>
                  <a:pt x="0" y="1702609"/>
                </a:lnTo>
                <a:lnTo>
                  <a:pt x="0" y="1592418"/>
                </a:lnTo>
                <a:lnTo>
                  <a:pt x="0" y="1529519"/>
                </a:lnTo>
                <a:lnTo>
                  <a:pt x="0" y="1428369"/>
                </a:lnTo>
                <a:lnTo>
                  <a:pt x="0" y="1290764"/>
                </a:lnTo>
                <a:lnTo>
                  <a:pt x="0" y="1255278"/>
                </a:lnTo>
                <a:lnTo>
                  <a:pt x="0" y="1168307"/>
                </a:lnTo>
                <a:lnTo>
                  <a:pt x="0" y="1016524"/>
                </a:lnTo>
                <a:lnTo>
                  <a:pt x="0" y="894067"/>
                </a:lnTo>
                <a:lnTo>
                  <a:pt x="0" y="782195"/>
                </a:lnTo>
                <a:lnTo>
                  <a:pt x="0" y="507955"/>
                </a:lnTo>
                <a:lnTo>
                  <a:pt x="0" y="370350"/>
                </a:lnTo>
                <a:lnTo>
                  <a:pt x="0" y="96110"/>
                </a:lnTo>
                <a:cubicBezTo>
                  <a:pt x="0" y="0"/>
                  <a:pt x="95997" y="0"/>
                  <a:pt x="95997" y="0"/>
                </a:cubicBezTo>
                <a:close/>
              </a:path>
            </a:pathLst>
          </a:custGeom>
          <a:solidFill>
            <a:srgbClr val="EBEBEB">
              <a:alpha val="10000"/>
            </a:srgbClr>
          </a:solidFill>
        </p:spPr>
        <p:txBody>
          <a:bodyPr wrap="square" lIns="360000" tIns="360000">
            <a:noAutofit/>
          </a:bodyPr>
          <a:lstStyle>
            <a:lvl1pPr algn="ctr">
              <a:defRPr sz="1400" b="0"/>
            </a:lvl1pPr>
          </a:lstStyle>
          <a:p>
            <a:r>
              <a:rPr lang="nl-NL" noProof="0" smtClean="0"/>
              <a:t>Klik op het pictogram als u een afbeelding wilt toevoegen</a:t>
            </a:r>
            <a:endParaRPr lang="en-GB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94866" y="280736"/>
            <a:ext cx="5514619" cy="854075"/>
          </a:xfrm>
        </p:spPr>
        <p:txBody>
          <a:bodyPr/>
          <a:lstStyle/>
          <a:p>
            <a:r>
              <a:rPr lang="nl-NL" smtClean="0"/>
              <a:t>Klik om de stijl te bewerken</a:t>
            </a:r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‹#›</a:t>
            </a:fld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866622124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1" pos="2854" userDrawn="1">
          <p15:clr>
            <a:srgbClr val="FBAE40"/>
          </p15:clr>
        </p15:guide>
        <p15:guide id="2" pos="2610" userDrawn="1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Pictur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681038" y="1270000"/>
            <a:ext cx="5513625" cy="4978400"/>
          </a:xfrm>
        </p:spPr>
        <p:txBody>
          <a:bodyPr/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6"/>
          </p:nvPr>
        </p:nvSpPr>
        <p:spPr bwMode="gray">
          <a:xfrm>
            <a:off x="6869063" y="280732"/>
            <a:ext cx="2796853" cy="5920066"/>
          </a:xfrm>
          <a:custGeom>
            <a:avLst/>
            <a:gdLst>
              <a:gd name="connsiteX0" fmla="*/ 0 w 3442280"/>
              <a:gd name="connsiteY0" fmla="*/ 0 h 5920066"/>
              <a:gd name="connsiteX1" fmla="*/ 3346283 w 3442280"/>
              <a:gd name="connsiteY1" fmla="*/ 0 h 5920066"/>
              <a:gd name="connsiteX2" fmla="*/ 3442280 w 3442280"/>
              <a:gd name="connsiteY2" fmla="*/ 96110 h 5920066"/>
              <a:gd name="connsiteX3" fmla="*/ 3442280 w 3442280"/>
              <a:gd name="connsiteY3" fmla="*/ 335165 h 5920066"/>
              <a:gd name="connsiteX4" fmla="*/ 3442280 w 3442280"/>
              <a:gd name="connsiteY4" fmla="*/ 370350 h 5920066"/>
              <a:gd name="connsiteX5" fmla="*/ 3442280 w 3442280"/>
              <a:gd name="connsiteY5" fmla="*/ 379204 h 5920066"/>
              <a:gd name="connsiteX6" fmla="*/ 3442280 w 3442280"/>
              <a:gd name="connsiteY6" fmla="*/ 400048 h 5920066"/>
              <a:gd name="connsiteX7" fmla="*/ 3442280 w 3442280"/>
              <a:gd name="connsiteY7" fmla="*/ 400232 h 5920066"/>
              <a:gd name="connsiteX8" fmla="*/ 3442280 w 3442280"/>
              <a:gd name="connsiteY8" fmla="*/ 471202 h 5920066"/>
              <a:gd name="connsiteX9" fmla="*/ 3442280 w 3442280"/>
              <a:gd name="connsiteY9" fmla="*/ 475721 h 5920066"/>
              <a:gd name="connsiteX10" fmla="*/ 3442280 w 3442280"/>
              <a:gd name="connsiteY10" fmla="*/ 508692 h 5920066"/>
              <a:gd name="connsiteX11" fmla="*/ 3442280 w 3442280"/>
              <a:gd name="connsiteY11" fmla="*/ 554484 h 5920066"/>
              <a:gd name="connsiteX12" fmla="*/ 3442280 w 3442280"/>
              <a:gd name="connsiteY12" fmla="*/ 563015 h 5920066"/>
              <a:gd name="connsiteX13" fmla="*/ 3442280 w 3442280"/>
              <a:gd name="connsiteY13" fmla="*/ 609405 h 5920066"/>
              <a:gd name="connsiteX14" fmla="*/ 3442280 w 3442280"/>
              <a:gd name="connsiteY14" fmla="*/ 662759 h 5920066"/>
              <a:gd name="connsiteX15" fmla="*/ 3442280 w 3442280"/>
              <a:gd name="connsiteY15" fmla="*/ 674288 h 5920066"/>
              <a:gd name="connsiteX16" fmla="*/ 3442280 w 3442280"/>
              <a:gd name="connsiteY16" fmla="*/ 749961 h 5920066"/>
              <a:gd name="connsiteX17" fmla="*/ 3442280 w 3442280"/>
              <a:gd name="connsiteY17" fmla="*/ 775785 h 5920066"/>
              <a:gd name="connsiteX18" fmla="*/ 3442280 w 3442280"/>
              <a:gd name="connsiteY18" fmla="*/ 837255 h 5920066"/>
              <a:gd name="connsiteX19" fmla="*/ 3442280 w 3442280"/>
              <a:gd name="connsiteY19" fmla="*/ 902921 h 5920066"/>
              <a:gd name="connsiteX20" fmla="*/ 3442280 w 3442280"/>
              <a:gd name="connsiteY20" fmla="*/ 936999 h 5920066"/>
              <a:gd name="connsiteX21" fmla="*/ 3442280 w 3442280"/>
              <a:gd name="connsiteY21" fmla="*/ 1016524 h 5920066"/>
              <a:gd name="connsiteX22" fmla="*/ 3442280 w 3442280"/>
              <a:gd name="connsiteY22" fmla="*/ 1029131 h 5920066"/>
              <a:gd name="connsiteX23" fmla="*/ 3442280 w 3442280"/>
              <a:gd name="connsiteY23" fmla="*/ 1044999 h 5920066"/>
              <a:gd name="connsiteX24" fmla="*/ 3442280 w 3442280"/>
              <a:gd name="connsiteY24" fmla="*/ 1046406 h 5920066"/>
              <a:gd name="connsiteX25" fmla="*/ 3442280 w 3442280"/>
              <a:gd name="connsiteY25" fmla="*/ 1050025 h 5920066"/>
              <a:gd name="connsiteX26" fmla="*/ 3442280 w 3442280"/>
              <a:gd name="connsiteY26" fmla="*/ 1074887 h 5920066"/>
              <a:gd name="connsiteX27" fmla="*/ 3442280 w 3442280"/>
              <a:gd name="connsiteY27" fmla="*/ 1176672 h 5920066"/>
              <a:gd name="connsiteX28" fmla="*/ 3442280 w 3442280"/>
              <a:gd name="connsiteY28" fmla="*/ 1177161 h 5920066"/>
              <a:gd name="connsiteX29" fmla="*/ 3442280 w 3442280"/>
              <a:gd name="connsiteY29" fmla="*/ 1202847 h 5920066"/>
              <a:gd name="connsiteX30" fmla="*/ 3442280 w 3442280"/>
              <a:gd name="connsiteY30" fmla="*/ 1255579 h 5920066"/>
              <a:gd name="connsiteX31" fmla="*/ 3442280 w 3442280"/>
              <a:gd name="connsiteY31" fmla="*/ 1290764 h 5920066"/>
              <a:gd name="connsiteX32" fmla="*/ 3442280 w 3442280"/>
              <a:gd name="connsiteY32" fmla="*/ 1299618 h 5920066"/>
              <a:gd name="connsiteX33" fmla="*/ 3442280 w 3442280"/>
              <a:gd name="connsiteY33" fmla="*/ 1319239 h 5920066"/>
              <a:gd name="connsiteX34" fmla="*/ 3442280 w 3442280"/>
              <a:gd name="connsiteY34" fmla="*/ 1320462 h 5920066"/>
              <a:gd name="connsiteX35" fmla="*/ 3442280 w 3442280"/>
              <a:gd name="connsiteY35" fmla="*/ 1320646 h 5920066"/>
              <a:gd name="connsiteX36" fmla="*/ 3442280 w 3442280"/>
              <a:gd name="connsiteY36" fmla="*/ 1349128 h 5920066"/>
              <a:gd name="connsiteX37" fmla="*/ 3442280 w 3442280"/>
              <a:gd name="connsiteY37" fmla="*/ 1377296 h 5920066"/>
              <a:gd name="connsiteX38" fmla="*/ 3442280 w 3442280"/>
              <a:gd name="connsiteY38" fmla="*/ 1391616 h 5920066"/>
              <a:gd name="connsiteX39" fmla="*/ 3442280 w 3442280"/>
              <a:gd name="connsiteY39" fmla="*/ 1396135 h 5920066"/>
              <a:gd name="connsiteX40" fmla="*/ 3442280 w 3442280"/>
              <a:gd name="connsiteY40" fmla="*/ 1429106 h 5920066"/>
              <a:gd name="connsiteX41" fmla="*/ 3442280 w 3442280"/>
              <a:gd name="connsiteY41" fmla="*/ 1474898 h 5920066"/>
              <a:gd name="connsiteX42" fmla="*/ 3442280 w 3442280"/>
              <a:gd name="connsiteY42" fmla="*/ 1477087 h 5920066"/>
              <a:gd name="connsiteX43" fmla="*/ 3442280 w 3442280"/>
              <a:gd name="connsiteY43" fmla="*/ 1483429 h 5920066"/>
              <a:gd name="connsiteX44" fmla="*/ 3442280 w 3442280"/>
              <a:gd name="connsiteY44" fmla="*/ 1529819 h 5920066"/>
              <a:gd name="connsiteX45" fmla="*/ 3442280 w 3442280"/>
              <a:gd name="connsiteY45" fmla="*/ 1569177 h 5920066"/>
              <a:gd name="connsiteX46" fmla="*/ 3442280 w 3442280"/>
              <a:gd name="connsiteY46" fmla="*/ 1583173 h 5920066"/>
              <a:gd name="connsiteX47" fmla="*/ 3442280 w 3442280"/>
              <a:gd name="connsiteY47" fmla="*/ 1594702 h 5920066"/>
              <a:gd name="connsiteX48" fmla="*/ 3442280 w 3442280"/>
              <a:gd name="connsiteY48" fmla="*/ 1651536 h 5920066"/>
              <a:gd name="connsiteX49" fmla="*/ 3442280 w 3442280"/>
              <a:gd name="connsiteY49" fmla="*/ 1670375 h 5920066"/>
              <a:gd name="connsiteX50" fmla="*/ 3442280 w 3442280"/>
              <a:gd name="connsiteY50" fmla="*/ 1696199 h 5920066"/>
              <a:gd name="connsiteX51" fmla="*/ 3442280 w 3442280"/>
              <a:gd name="connsiteY51" fmla="*/ 1757669 h 5920066"/>
              <a:gd name="connsiteX52" fmla="*/ 3442280 w 3442280"/>
              <a:gd name="connsiteY52" fmla="*/ 1779318 h 5920066"/>
              <a:gd name="connsiteX53" fmla="*/ 3442280 w 3442280"/>
              <a:gd name="connsiteY53" fmla="*/ 1823335 h 5920066"/>
              <a:gd name="connsiteX54" fmla="*/ 3442280 w 3442280"/>
              <a:gd name="connsiteY54" fmla="*/ 1843417 h 5920066"/>
              <a:gd name="connsiteX55" fmla="*/ 3442280 w 3442280"/>
              <a:gd name="connsiteY55" fmla="*/ 1857413 h 5920066"/>
              <a:gd name="connsiteX56" fmla="*/ 3442280 w 3442280"/>
              <a:gd name="connsiteY56" fmla="*/ 1965413 h 5920066"/>
              <a:gd name="connsiteX57" fmla="*/ 3442280 w 3442280"/>
              <a:gd name="connsiteY57" fmla="*/ 1970439 h 5920066"/>
              <a:gd name="connsiteX58" fmla="*/ 3442280 w 3442280"/>
              <a:gd name="connsiteY58" fmla="*/ 2008551 h 5920066"/>
              <a:gd name="connsiteX59" fmla="*/ 3442280 w 3442280"/>
              <a:gd name="connsiteY59" fmla="*/ 2053558 h 5920066"/>
              <a:gd name="connsiteX60" fmla="*/ 3442280 w 3442280"/>
              <a:gd name="connsiteY60" fmla="*/ 2097575 h 5920066"/>
              <a:gd name="connsiteX61" fmla="*/ 3442280 w 3442280"/>
              <a:gd name="connsiteY61" fmla="*/ 2123261 h 5920066"/>
              <a:gd name="connsiteX62" fmla="*/ 3442280 w 3442280"/>
              <a:gd name="connsiteY62" fmla="*/ 2239653 h 5920066"/>
              <a:gd name="connsiteX63" fmla="*/ 3442280 w 3442280"/>
              <a:gd name="connsiteY63" fmla="*/ 2257705 h 5920066"/>
              <a:gd name="connsiteX64" fmla="*/ 3442280 w 3442280"/>
              <a:gd name="connsiteY64" fmla="*/ 2282791 h 5920066"/>
              <a:gd name="connsiteX65" fmla="*/ 3442280 w 3442280"/>
              <a:gd name="connsiteY65" fmla="*/ 2297710 h 5920066"/>
              <a:gd name="connsiteX66" fmla="*/ 3442280 w 3442280"/>
              <a:gd name="connsiteY66" fmla="*/ 2397501 h 5920066"/>
              <a:gd name="connsiteX67" fmla="*/ 3442280 w 3442280"/>
              <a:gd name="connsiteY67" fmla="*/ 2489591 h 5920066"/>
              <a:gd name="connsiteX68" fmla="*/ 3442280 w 3442280"/>
              <a:gd name="connsiteY68" fmla="*/ 2527610 h 5920066"/>
              <a:gd name="connsiteX69" fmla="*/ 3442280 w 3442280"/>
              <a:gd name="connsiteY69" fmla="*/ 2531945 h 5920066"/>
              <a:gd name="connsiteX70" fmla="*/ 3442280 w 3442280"/>
              <a:gd name="connsiteY70" fmla="*/ 2571950 h 5920066"/>
              <a:gd name="connsiteX71" fmla="*/ 3442280 w 3442280"/>
              <a:gd name="connsiteY71" fmla="*/ 2699732 h 5920066"/>
              <a:gd name="connsiteX72" fmla="*/ 3442280 w 3442280"/>
              <a:gd name="connsiteY72" fmla="*/ 2763831 h 5920066"/>
              <a:gd name="connsiteX73" fmla="*/ 3442280 w 3442280"/>
              <a:gd name="connsiteY73" fmla="*/ 2801851 h 5920066"/>
              <a:gd name="connsiteX74" fmla="*/ 3442280 w 3442280"/>
              <a:gd name="connsiteY74" fmla="*/ 2819097 h 5920066"/>
              <a:gd name="connsiteX75" fmla="*/ 3442280 w 3442280"/>
              <a:gd name="connsiteY75" fmla="*/ 2928965 h 5920066"/>
              <a:gd name="connsiteX76" fmla="*/ 3442280 w 3442280"/>
              <a:gd name="connsiteY76" fmla="*/ 2973972 h 5920066"/>
              <a:gd name="connsiteX77" fmla="*/ 3442280 w 3442280"/>
              <a:gd name="connsiteY77" fmla="*/ 3093337 h 5920066"/>
              <a:gd name="connsiteX78" fmla="*/ 3442280 w 3442280"/>
              <a:gd name="connsiteY78" fmla="*/ 3132995 h 5920066"/>
              <a:gd name="connsiteX79" fmla="*/ 3442280 w 3442280"/>
              <a:gd name="connsiteY79" fmla="*/ 3178119 h 5920066"/>
              <a:gd name="connsiteX80" fmla="*/ 3442280 w 3442280"/>
              <a:gd name="connsiteY80" fmla="*/ 3203205 h 5920066"/>
              <a:gd name="connsiteX81" fmla="*/ 3442280 w 3442280"/>
              <a:gd name="connsiteY81" fmla="*/ 3407236 h 5920066"/>
              <a:gd name="connsiteX82" fmla="*/ 3442280 w 3442280"/>
              <a:gd name="connsiteY82" fmla="*/ 3448024 h 5920066"/>
              <a:gd name="connsiteX83" fmla="*/ 3442280 w 3442280"/>
              <a:gd name="connsiteY83" fmla="*/ 3452359 h 5920066"/>
              <a:gd name="connsiteX84" fmla="*/ 3442280 w 3442280"/>
              <a:gd name="connsiteY84" fmla="*/ 3470135 h 5920066"/>
              <a:gd name="connsiteX85" fmla="*/ 3442280 w 3442280"/>
              <a:gd name="connsiteY85" fmla="*/ 3722265 h 5920066"/>
              <a:gd name="connsiteX86" fmla="*/ 3442280 w 3442280"/>
              <a:gd name="connsiteY86" fmla="*/ 3739511 h 5920066"/>
              <a:gd name="connsiteX87" fmla="*/ 3442280 w 3442280"/>
              <a:gd name="connsiteY87" fmla="*/ 3744375 h 5920066"/>
              <a:gd name="connsiteX88" fmla="*/ 3442280 w 3442280"/>
              <a:gd name="connsiteY88" fmla="*/ 3831346 h 5920066"/>
              <a:gd name="connsiteX89" fmla="*/ 3442280 w 3442280"/>
              <a:gd name="connsiteY89" fmla="*/ 4013751 h 5920066"/>
              <a:gd name="connsiteX90" fmla="*/ 3442280 w 3442280"/>
              <a:gd name="connsiteY90" fmla="*/ 4053409 h 5920066"/>
              <a:gd name="connsiteX91" fmla="*/ 3442280 w 3442280"/>
              <a:gd name="connsiteY91" fmla="*/ 4105586 h 5920066"/>
              <a:gd name="connsiteX92" fmla="*/ 3442280 w 3442280"/>
              <a:gd name="connsiteY92" fmla="*/ 4217459 h 5920066"/>
              <a:gd name="connsiteX93" fmla="*/ 3442280 w 3442280"/>
              <a:gd name="connsiteY93" fmla="*/ 4327650 h 5920066"/>
              <a:gd name="connsiteX94" fmla="*/ 3442280 w 3442280"/>
              <a:gd name="connsiteY94" fmla="*/ 4390549 h 5920066"/>
              <a:gd name="connsiteX95" fmla="*/ 3442280 w 3442280"/>
              <a:gd name="connsiteY95" fmla="*/ 4491699 h 5920066"/>
              <a:gd name="connsiteX96" fmla="*/ 3442280 w 3442280"/>
              <a:gd name="connsiteY96" fmla="*/ 4629303 h 5920066"/>
              <a:gd name="connsiteX97" fmla="*/ 3442280 w 3442280"/>
              <a:gd name="connsiteY97" fmla="*/ 4664789 h 5920066"/>
              <a:gd name="connsiteX98" fmla="*/ 3442280 w 3442280"/>
              <a:gd name="connsiteY98" fmla="*/ 4751760 h 5920066"/>
              <a:gd name="connsiteX99" fmla="*/ 3442280 w 3442280"/>
              <a:gd name="connsiteY99" fmla="*/ 4903543 h 5920066"/>
              <a:gd name="connsiteX100" fmla="*/ 3442280 w 3442280"/>
              <a:gd name="connsiteY100" fmla="*/ 5026000 h 5920066"/>
              <a:gd name="connsiteX101" fmla="*/ 3442280 w 3442280"/>
              <a:gd name="connsiteY101" fmla="*/ 5137873 h 5920066"/>
              <a:gd name="connsiteX102" fmla="*/ 3442280 w 3442280"/>
              <a:gd name="connsiteY102" fmla="*/ 5412113 h 5920066"/>
              <a:gd name="connsiteX103" fmla="*/ 3442280 w 3442280"/>
              <a:gd name="connsiteY103" fmla="*/ 5549717 h 5920066"/>
              <a:gd name="connsiteX104" fmla="*/ 3442280 w 3442280"/>
              <a:gd name="connsiteY104" fmla="*/ 5823957 h 5920066"/>
              <a:gd name="connsiteX105" fmla="*/ 3361283 w 3442280"/>
              <a:gd name="connsiteY105" fmla="*/ 5918566 h 5920066"/>
              <a:gd name="connsiteX106" fmla="*/ 3346294 w 3442280"/>
              <a:gd name="connsiteY106" fmla="*/ 5920066 h 5920066"/>
              <a:gd name="connsiteX107" fmla="*/ 0 w 3442280"/>
              <a:gd name="connsiteY107" fmla="*/ 5920066 h 59200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</a:cxnLst>
            <a:rect l="l" t="t" r="r" b="b"/>
            <a:pathLst>
              <a:path w="3442280" h="5920066">
                <a:moveTo>
                  <a:pt x="0" y="0"/>
                </a:moveTo>
                <a:lnTo>
                  <a:pt x="3346283" y="0"/>
                </a:lnTo>
                <a:cubicBezTo>
                  <a:pt x="3442280" y="0"/>
                  <a:pt x="3442280" y="96110"/>
                  <a:pt x="3442280" y="96110"/>
                </a:cubicBezTo>
                <a:cubicBezTo>
                  <a:pt x="3442280" y="96110"/>
                  <a:pt x="3442280" y="96110"/>
                  <a:pt x="3442280" y="335165"/>
                </a:cubicBezTo>
                <a:lnTo>
                  <a:pt x="3442280" y="370350"/>
                </a:lnTo>
                <a:cubicBezTo>
                  <a:pt x="3442280" y="370350"/>
                  <a:pt x="3442280" y="370350"/>
                  <a:pt x="3442280" y="379204"/>
                </a:cubicBezTo>
                <a:lnTo>
                  <a:pt x="3442280" y="400048"/>
                </a:lnTo>
                <a:lnTo>
                  <a:pt x="3442280" y="400232"/>
                </a:lnTo>
                <a:cubicBezTo>
                  <a:pt x="3442280" y="415173"/>
                  <a:pt x="3442280" y="437585"/>
                  <a:pt x="3442280" y="471202"/>
                </a:cubicBezTo>
                <a:lnTo>
                  <a:pt x="3442280" y="475721"/>
                </a:lnTo>
                <a:lnTo>
                  <a:pt x="3442280" y="508692"/>
                </a:lnTo>
                <a:cubicBezTo>
                  <a:pt x="3442280" y="522527"/>
                  <a:pt x="3442280" y="537744"/>
                  <a:pt x="3442280" y="554484"/>
                </a:cubicBezTo>
                <a:lnTo>
                  <a:pt x="3442280" y="563015"/>
                </a:lnTo>
                <a:lnTo>
                  <a:pt x="3442280" y="609405"/>
                </a:lnTo>
                <a:lnTo>
                  <a:pt x="3442280" y="662759"/>
                </a:lnTo>
                <a:lnTo>
                  <a:pt x="3442280" y="674288"/>
                </a:lnTo>
                <a:cubicBezTo>
                  <a:pt x="3442280" y="697668"/>
                  <a:pt x="3442280" y="722846"/>
                  <a:pt x="3442280" y="749961"/>
                </a:cubicBezTo>
                <a:lnTo>
                  <a:pt x="3442280" y="775785"/>
                </a:lnTo>
                <a:lnTo>
                  <a:pt x="3442280" y="837255"/>
                </a:lnTo>
                <a:lnTo>
                  <a:pt x="3442280" y="902921"/>
                </a:lnTo>
                <a:lnTo>
                  <a:pt x="3442280" y="936999"/>
                </a:lnTo>
                <a:lnTo>
                  <a:pt x="3442280" y="1016524"/>
                </a:lnTo>
                <a:cubicBezTo>
                  <a:pt x="3442280" y="1016524"/>
                  <a:pt x="3442280" y="1016524"/>
                  <a:pt x="3442280" y="1029131"/>
                </a:cubicBezTo>
                <a:lnTo>
                  <a:pt x="3442280" y="1044999"/>
                </a:lnTo>
                <a:lnTo>
                  <a:pt x="3442280" y="1046406"/>
                </a:lnTo>
                <a:lnTo>
                  <a:pt x="3442280" y="1050025"/>
                </a:lnTo>
                <a:lnTo>
                  <a:pt x="3442280" y="1074887"/>
                </a:lnTo>
                <a:cubicBezTo>
                  <a:pt x="3442280" y="1098232"/>
                  <a:pt x="3442280" y="1130916"/>
                  <a:pt x="3442280" y="1176672"/>
                </a:cubicBezTo>
                <a:lnTo>
                  <a:pt x="3442280" y="1177161"/>
                </a:lnTo>
                <a:lnTo>
                  <a:pt x="3442280" y="1202847"/>
                </a:lnTo>
                <a:lnTo>
                  <a:pt x="3442280" y="1255579"/>
                </a:lnTo>
                <a:lnTo>
                  <a:pt x="3442280" y="1290764"/>
                </a:lnTo>
                <a:cubicBezTo>
                  <a:pt x="3442280" y="1290764"/>
                  <a:pt x="3442280" y="1290764"/>
                  <a:pt x="3442280" y="1299618"/>
                </a:cubicBezTo>
                <a:lnTo>
                  <a:pt x="3442280" y="1319239"/>
                </a:lnTo>
                <a:lnTo>
                  <a:pt x="3442280" y="1320462"/>
                </a:lnTo>
                <a:lnTo>
                  <a:pt x="3442280" y="1320646"/>
                </a:lnTo>
                <a:cubicBezTo>
                  <a:pt x="3442280" y="1328117"/>
                  <a:pt x="3442280" y="1337455"/>
                  <a:pt x="3442280" y="1349128"/>
                </a:cubicBezTo>
                <a:lnTo>
                  <a:pt x="3442280" y="1377296"/>
                </a:lnTo>
                <a:lnTo>
                  <a:pt x="3442280" y="1391616"/>
                </a:lnTo>
                <a:lnTo>
                  <a:pt x="3442280" y="1396135"/>
                </a:lnTo>
                <a:lnTo>
                  <a:pt x="3442280" y="1429106"/>
                </a:lnTo>
                <a:cubicBezTo>
                  <a:pt x="3442280" y="1442941"/>
                  <a:pt x="3442280" y="1458158"/>
                  <a:pt x="3442280" y="1474898"/>
                </a:cubicBezTo>
                <a:lnTo>
                  <a:pt x="3442280" y="1477087"/>
                </a:lnTo>
                <a:lnTo>
                  <a:pt x="3442280" y="1483429"/>
                </a:lnTo>
                <a:lnTo>
                  <a:pt x="3442280" y="1529819"/>
                </a:lnTo>
                <a:lnTo>
                  <a:pt x="3442280" y="1569177"/>
                </a:lnTo>
                <a:lnTo>
                  <a:pt x="3442280" y="1583173"/>
                </a:lnTo>
                <a:lnTo>
                  <a:pt x="3442280" y="1594702"/>
                </a:lnTo>
                <a:lnTo>
                  <a:pt x="3442280" y="1651536"/>
                </a:lnTo>
                <a:lnTo>
                  <a:pt x="3442280" y="1670375"/>
                </a:lnTo>
                <a:lnTo>
                  <a:pt x="3442280" y="1696199"/>
                </a:lnTo>
                <a:lnTo>
                  <a:pt x="3442280" y="1757669"/>
                </a:lnTo>
                <a:lnTo>
                  <a:pt x="3442280" y="1779318"/>
                </a:lnTo>
                <a:lnTo>
                  <a:pt x="3442280" y="1823335"/>
                </a:lnTo>
                <a:lnTo>
                  <a:pt x="3442280" y="1843417"/>
                </a:lnTo>
                <a:lnTo>
                  <a:pt x="3442280" y="1857413"/>
                </a:lnTo>
                <a:lnTo>
                  <a:pt x="3442280" y="1965413"/>
                </a:lnTo>
                <a:lnTo>
                  <a:pt x="3442280" y="1970439"/>
                </a:lnTo>
                <a:lnTo>
                  <a:pt x="3442280" y="2008551"/>
                </a:lnTo>
                <a:lnTo>
                  <a:pt x="3442280" y="2053558"/>
                </a:lnTo>
                <a:lnTo>
                  <a:pt x="3442280" y="2097575"/>
                </a:lnTo>
                <a:lnTo>
                  <a:pt x="3442280" y="2123261"/>
                </a:lnTo>
                <a:lnTo>
                  <a:pt x="3442280" y="2239653"/>
                </a:lnTo>
                <a:lnTo>
                  <a:pt x="3442280" y="2257705"/>
                </a:lnTo>
                <a:lnTo>
                  <a:pt x="3442280" y="2282791"/>
                </a:lnTo>
                <a:lnTo>
                  <a:pt x="3442280" y="2297710"/>
                </a:lnTo>
                <a:lnTo>
                  <a:pt x="3442280" y="2397501"/>
                </a:lnTo>
                <a:lnTo>
                  <a:pt x="3442280" y="2489591"/>
                </a:lnTo>
                <a:lnTo>
                  <a:pt x="3442280" y="2527610"/>
                </a:lnTo>
                <a:lnTo>
                  <a:pt x="3442280" y="2531945"/>
                </a:lnTo>
                <a:lnTo>
                  <a:pt x="3442280" y="2571950"/>
                </a:lnTo>
                <a:lnTo>
                  <a:pt x="3442280" y="2699732"/>
                </a:lnTo>
                <a:lnTo>
                  <a:pt x="3442280" y="2763831"/>
                </a:lnTo>
                <a:lnTo>
                  <a:pt x="3442280" y="2801851"/>
                </a:lnTo>
                <a:lnTo>
                  <a:pt x="3442280" y="2819097"/>
                </a:lnTo>
                <a:lnTo>
                  <a:pt x="3442280" y="2928965"/>
                </a:lnTo>
                <a:lnTo>
                  <a:pt x="3442280" y="2973972"/>
                </a:lnTo>
                <a:lnTo>
                  <a:pt x="3442280" y="3093337"/>
                </a:lnTo>
                <a:lnTo>
                  <a:pt x="3442280" y="3132995"/>
                </a:lnTo>
                <a:lnTo>
                  <a:pt x="3442280" y="3178119"/>
                </a:lnTo>
                <a:lnTo>
                  <a:pt x="3442280" y="3203205"/>
                </a:lnTo>
                <a:lnTo>
                  <a:pt x="3442280" y="3407236"/>
                </a:lnTo>
                <a:lnTo>
                  <a:pt x="3442280" y="3448024"/>
                </a:lnTo>
                <a:lnTo>
                  <a:pt x="3442280" y="3452359"/>
                </a:lnTo>
                <a:lnTo>
                  <a:pt x="3442280" y="3470135"/>
                </a:lnTo>
                <a:lnTo>
                  <a:pt x="3442280" y="3722265"/>
                </a:lnTo>
                <a:lnTo>
                  <a:pt x="3442280" y="3739511"/>
                </a:lnTo>
                <a:lnTo>
                  <a:pt x="3442280" y="3744375"/>
                </a:lnTo>
                <a:lnTo>
                  <a:pt x="3442280" y="3831346"/>
                </a:lnTo>
                <a:lnTo>
                  <a:pt x="3442280" y="4013751"/>
                </a:lnTo>
                <a:lnTo>
                  <a:pt x="3442280" y="4053409"/>
                </a:lnTo>
                <a:lnTo>
                  <a:pt x="3442280" y="4105586"/>
                </a:lnTo>
                <a:lnTo>
                  <a:pt x="3442280" y="4217459"/>
                </a:lnTo>
                <a:lnTo>
                  <a:pt x="3442280" y="4327650"/>
                </a:lnTo>
                <a:lnTo>
                  <a:pt x="3442280" y="4390549"/>
                </a:lnTo>
                <a:lnTo>
                  <a:pt x="3442280" y="4491699"/>
                </a:lnTo>
                <a:lnTo>
                  <a:pt x="3442280" y="4629303"/>
                </a:lnTo>
                <a:lnTo>
                  <a:pt x="3442280" y="4664789"/>
                </a:lnTo>
                <a:lnTo>
                  <a:pt x="3442280" y="4751760"/>
                </a:lnTo>
                <a:lnTo>
                  <a:pt x="3442280" y="4903543"/>
                </a:lnTo>
                <a:lnTo>
                  <a:pt x="3442280" y="5026000"/>
                </a:lnTo>
                <a:lnTo>
                  <a:pt x="3442280" y="5137873"/>
                </a:lnTo>
                <a:lnTo>
                  <a:pt x="3442280" y="5412113"/>
                </a:lnTo>
                <a:lnTo>
                  <a:pt x="3442280" y="5549717"/>
                </a:lnTo>
                <a:lnTo>
                  <a:pt x="3442280" y="5823957"/>
                </a:lnTo>
                <a:cubicBezTo>
                  <a:pt x="3442280" y="5896040"/>
                  <a:pt x="3388282" y="5914060"/>
                  <a:pt x="3361283" y="5918566"/>
                </a:cubicBezTo>
                <a:lnTo>
                  <a:pt x="3346294" y="5920066"/>
                </a:lnTo>
                <a:lnTo>
                  <a:pt x="0" y="5920066"/>
                </a:lnTo>
                <a:close/>
              </a:path>
            </a:pathLst>
          </a:custGeom>
          <a:solidFill>
            <a:srgbClr val="EBEBEB">
              <a:alpha val="10000"/>
            </a:srgbClr>
          </a:solidFill>
        </p:spPr>
        <p:txBody>
          <a:bodyPr wrap="square" lIns="360000" tIns="360000">
            <a:noAutofit/>
          </a:bodyPr>
          <a:lstStyle>
            <a:lvl1pPr algn="ctr">
              <a:defRPr sz="1400" b="0"/>
            </a:lvl1pPr>
          </a:lstStyle>
          <a:p>
            <a:r>
              <a:rPr lang="nl-NL" noProof="0" smtClean="0"/>
              <a:t>Klik op het pictogram als u een afbeelding wilt toevoegen</a:t>
            </a:r>
            <a:endParaRPr lang="en-GB" noProof="0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‹#›</a:t>
            </a:fld>
            <a:endParaRPr lang="en-GB" noProof="0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687031" y="280736"/>
            <a:ext cx="5507633" cy="854075"/>
          </a:xfrm>
        </p:spPr>
        <p:txBody>
          <a:bodyPr/>
          <a:lstStyle/>
          <a:p>
            <a:r>
              <a:rPr lang="nl-NL" smtClean="0"/>
              <a:t>Klik om de stijl te bewerke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9400526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1" pos="4806" userDrawn="1">
          <p15:clr>
            <a:srgbClr val="FBAE40"/>
          </p15:clr>
        </p15:guide>
        <p15:guide id="2" pos="5322" userDrawn="1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‹#›</a:t>
            </a:fld>
            <a:endParaRPr lang="en-GB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smtClean="0"/>
              <a:t>Klik om de stijl te bewerken</a:t>
            </a:r>
            <a:endParaRPr lang="en-GB"/>
          </a:p>
        </p:txBody>
      </p:sp>
      <p:sp>
        <p:nvSpPr>
          <p:cNvPr id="14" name="Picture Placeholder 13"/>
          <p:cNvSpPr>
            <a:spLocks noGrp="1"/>
          </p:cNvSpPr>
          <p:nvPr>
            <p:ph type="pic" sz="quarter" idx="19"/>
          </p:nvPr>
        </p:nvSpPr>
        <p:spPr bwMode="gray">
          <a:xfrm>
            <a:off x="566241" y="1201147"/>
            <a:ext cx="9099675" cy="4999652"/>
          </a:xfrm>
          <a:custGeom>
            <a:avLst/>
            <a:gdLst>
              <a:gd name="connsiteX0" fmla="*/ 95997 w 11199600"/>
              <a:gd name="connsiteY0" fmla="*/ 0 h 4999652"/>
              <a:gd name="connsiteX1" fmla="*/ 11103603 w 11199600"/>
              <a:gd name="connsiteY1" fmla="*/ 0 h 4999652"/>
              <a:gd name="connsiteX2" fmla="*/ 11199600 w 11199600"/>
              <a:gd name="connsiteY2" fmla="*/ 96110 h 4999652"/>
              <a:gd name="connsiteX3" fmla="*/ 11199600 w 11199600"/>
              <a:gd name="connsiteY3" fmla="*/ 335165 h 4999652"/>
              <a:gd name="connsiteX4" fmla="*/ 11199600 w 11199600"/>
              <a:gd name="connsiteY4" fmla="*/ 370350 h 4999652"/>
              <a:gd name="connsiteX5" fmla="*/ 11199600 w 11199600"/>
              <a:gd name="connsiteY5" fmla="*/ 379204 h 4999652"/>
              <a:gd name="connsiteX6" fmla="*/ 11199600 w 11199600"/>
              <a:gd name="connsiteY6" fmla="*/ 400048 h 4999652"/>
              <a:gd name="connsiteX7" fmla="*/ 11199600 w 11199600"/>
              <a:gd name="connsiteY7" fmla="*/ 400232 h 4999652"/>
              <a:gd name="connsiteX8" fmla="*/ 11199600 w 11199600"/>
              <a:gd name="connsiteY8" fmla="*/ 471202 h 4999652"/>
              <a:gd name="connsiteX9" fmla="*/ 11199600 w 11199600"/>
              <a:gd name="connsiteY9" fmla="*/ 475721 h 4999652"/>
              <a:gd name="connsiteX10" fmla="*/ 11199600 w 11199600"/>
              <a:gd name="connsiteY10" fmla="*/ 508692 h 4999652"/>
              <a:gd name="connsiteX11" fmla="*/ 11199600 w 11199600"/>
              <a:gd name="connsiteY11" fmla="*/ 554484 h 4999652"/>
              <a:gd name="connsiteX12" fmla="*/ 11199600 w 11199600"/>
              <a:gd name="connsiteY12" fmla="*/ 563015 h 4999652"/>
              <a:gd name="connsiteX13" fmla="*/ 11199600 w 11199600"/>
              <a:gd name="connsiteY13" fmla="*/ 609405 h 4999652"/>
              <a:gd name="connsiteX14" fmla="*/ 11199600 w 11199600"/>
              <a:gd name="connsiteY14" fmla="*/ 662759 h 4999652"/>
              <a:gd name="connsiteX15" fmla="*/ 11199600 w 11199600"/>
              <a:gd name="connsiteY15" fmla="*/ 674288 h 4999652"/>
              <a:gd name="connsiteX16" fmla="*/ 11199600 w 11199600"/>
              <a:gd name="connsiteY16" fmla="*/ 749961 h 4999652"/>
              <a:gd name="connsiteX17" fmla="*/ 11199600 w 11199600"/>
              <a:gd name="connsiteY17" fmla="*/ 775785 h 4999652"/>
              <a:gd name="connsiteX18" fmla="*/ 11199600 w 11199600"/>
              <a:gd name="connsiteY18" fmla="*/ 837255 h 4999652"/>
              <a:gd name="connsiteX19" fmla="*/ 11199600 w 11199600"/>
              <a:gd name="connsiteY19" fmla="*/ 902921 h 4999652"/>
              <a:gd name="connsiteX20" fmla="*/ 11199600 w 11199600"/>
              <a:gd name="connsiteY20" fmla="*/ 936999 h 4999652"/>
              <a:gd name="connsiteX21" fmla="*/ 11199600 w 11199600"/>
              <a:gd name="connsiteY21" fmla="*/ 1016524 h 4999652"/>
              <a:gd name="connsiteX22" fmla="*/ 11199600 w 11199600"/>
              <a:gd name="connsiteY22" fmla="*/ 1029131 h 4999652"/>
              <a:gd name="connsiteX23" fmla="*/ 11199600 w 11199600"/>
              <a:gd name="connsiteY23" fmla="*/ 1044999 h 4999652"/>
              <a:gd name="connsiteX24" fmla="*/ 11199600 w 11199600"/>
              <a:gd name="connsiteY24" fmla="*/ 1046406 h 4999652"/>
              <a:gd name="connsiteX25" fmla="*/ 11199600 w 11199600"/>
              <a:gd name="connsiteY25" fmla="*/ 1050025 h 4999652"/>
              <a:gd name="connsiteX26" fmla="*/ 11199600 w 11199600"/>
              <a:gd name="connsiteY26" fmla="*/ 1074887 h 4999652"/>
              <a:gd name="connsiteX27" fmla="*/ 11199600 w 11199600"/>
              <a:gd name="connsiteY27" fmla="*/ 1176672 h 4999652"/>
              <a:gd name="connsiteX28" fmla="*/ 11199600 w 11199600"/>
              <a:gd name="connsiteY28" fmla="*/ 1177161 h 4999652"/>
              <a:gd name="connsiteX29" fmla="*/ 11199600 w 11199600"/>
              <a:gd name="connsiteY29" fmla="*/ 1202847 h 4999652"/>
              <a:gd name="connsiteX30" fmla="*/ 11199600 w 11199600"/>
              <a:gd name="connsiteY30" fmla="*/ 1208224 h 4999652"/>
              <a:gd name="connsiteX31" fmla="*/ 11199600 w 11199600"/>
              <a:gd name="connsiteY31" fmla="*/ 1255579 h 4999652"/>
              <a:gd name="connsiteX32" fmla="*/ 11199600 w 11199600"/>
              <a:gd name="connsiteY32" fmla="*/ 1290764 h 4999652"/>
              <a:gd name="connsiteX33" fmla="*/ 11199600 w 11199600"/>
              <a:gd name="connsiteY33" fmla="*/ 1299618 h 4999652"/>
              <a:gd name="connsiteX34" fmla="*/ 11199600 w 11199600"/>
              <a:gd name="connsiteY34" fmla="*/ 1319238 h 4999652"/>
              <a:gd name="connsiteX35" fmla="*/ 11199600 w 11199600"/>
              <a:gd name="connsiteY35" fmla="*/ 1319239 h 4999652"/>
              <a:gd name="connsiteX36" fmla="*/ 11199600 w 11199600"/>
              <a:gd name="connsiteY36" fmla="*/ 1320462 h 4999652"/>
              <a:gd name="connsiteX37" fmla="*/ 11199600 w 11199600"/>
              <a:gd name="connsiteY37" fmla="*/ 1320646 h 4999652"/>
              <a:gd name="connsiteX38" fmla="*/ 11199600 w 11199600"/>
              <a:gd name="connsiteY38" fmla="*/ 1337290 h 4999652"/>
              <a:gd name="connsiteX39" fmla="*/ 11199600 w 11199600"/>
              <a:gd name="connsiteY39" fmla="*/ 1349128 h 4999652"/>
              <a:gd name="connsiteX40" fmla="*/ 11199600 w 11199600"/>
              <a:gd name="connsiteY40" fmla="*/ 1362376 h 4999652"/>
              <a:gd name="connsiteX41" fmla="*/ 11199600 w 11199600"/>
              <a:gd name="connsiteY41" fmla="*/ 1377295 h 4999652"/>
              <a:gd name="connsiteX42" fmla="*/ 11199600 w 11199600"/>
              <a:gd name="connsiteY42" fmla="*/ 1377296 h 4999652"/>
              <a:gd name="connsiteX43" fmla="*/ 11199600 w 11199600"/>
              <a:gd name="connsiteY43" fmla="*/ 1391616 h 4999652"/>
              <a:gd name="connsiteX44" fmla="*/ 11199600 w 11199600"/>
              <a:gd name="connsiteY44" fmla="*/ 1396135 h 4999652"/>
              <a:gd name="connsiteX45" fmla="*/ 11199600 w 11199600"/>
              <a:gd name="connsiteY45" fmla="*/ 1429106 h 4999652"/>
              <a:gd name="connsiteX46" fmla="*/ 11199600 w 11199600"/>
              <a:gd name="connsiteY46" fmla="*/ 1474898 h 4999652"/>
              <a:gd name="connsiteX47" fmla="*/ 11199600 w 11199600"/>
              <a:gd name="connsiteY47" fmla="*/ 1477086 h 4999652"/>
              <a:gd name="connsiteX48" fmla="*/ 11199600 w 11199600"/>
              <a:gd name="connsiteY48" fmla="*/ 1477087 h 4999652"/>
              <a:gd name="connsiteX49" fmla="*/ 11199600 w 11199600"/>
              <a:gd name="connsiteY49" fmla="*/ 1483429 h 4999652"/>
              <a:gd name="connsiteX50" fmla="*/ 11199600 w 11199600"/>
              <a:gd name="connsiteY50" fmla="*/ 1529819 h 4999652"/>
              <a:gd name="connsiteX51" fmla="*/ 11199600 w 11199600"/>
              <a:gd name="connsiteY51" fmla="*/ 1569176 h 4999652"/>
              <a:gd name="connsiteX52" fmla="*/ 11199600 w 11199600"/>
              <a:gd name="connsiteY52" fmla="*/ 1569177 h 4999652"/>
              <a:gd name="connsiteX53" fmla="*/ 11199600 w 11199600"/>
              <a:gd name="connsiteY53" fmla="*/ 1583173 h 4999652"/>
              <a:gd name="connsiteX54" fmla="*/ 11199600 w 11199600"/>
              <a:gd name="connsiteY54" fmla="*/ 1594702 h 4999652"/>
              <a:gd name="connsiteX55" fmla="*/ 11199600 w 11199600"/>
              <a:gd name="connsiteY55" fmla="*/ 1607195 h 4999652"/>
              <a:gd name="connsiteX56" fmla="*/ 11199600 w 11199600"/>
              <a:gd name="connsiteY56" fmla="*/ 1611530 h 4999652"/>
              <a:gd name="connsiteX57" fmla="*/ 11199600 w 11199600"/>
              <a:gd name="connsiteY57" fmla="*/ 1651535 h 4999652"/>
              <a:gd name="connsiteX58" fmla="*/ 11199600 w 11199600"/>
              <a:gd name="connsiteY58" fmla="*/ 1651536 h 4999652"/>
              <a:gd name="connsiteX59" fmla="*/ 11199600 w 11199600"/>
              <a:gd name="connsiteY59" fmla="*/ 1670375 h 4999652"/>
              <a:gd name="connsiteX60" fmla="*/ 11199600 w 11199600"/>
              <a:gd name="connsiteY60" fmla="*/ 1696199 h 4999652"/>
              <a:gd name="connsiteX61" fmla="*/ 11199600 w 11199600"/>
              <a:gd name="connsiteY61" fmla="*/ 1757669 h 4999652"/>
              <a:gd name="connsiteX62" fmla="*/ 11199600 w 11199600"/>
              <a:gd name="connsiteY62" fmla="*/ 1779317 h 4999652"/>
              <a:gd name="connsiteX63" fmla="*/ 11199600 w 11199600"/>
              <a:gd name="connsiteY63" fmla="*/ 1779318 h 4999652"/>
              <a:gd name="connsiteX64" fmla="*/ 11199600 w 11199600"/>
              <a:gd name="connsiteY64" fmla="*/ 1823335 h 4999652"/>
              <a:gd name="connsiteX65" fmla="*/ 11199600 w 11199600"/>
              <a:gd name="connsiteY65" fmla="*/ 1843416 h 4999652"/>
              <a:gd name="connsiteX66" fmla="*/ 11199600 w 11199600"/>
              <a:gd name="connsiteY66" fmla="*/ 1843417 h 4999652"/>
              <a:gd name="connsiteX67" fmla="*/ 11199600 w 11199600"/>
              <a:gd name="connsiteY67" fmla="*/ 1857413 h 4999652"/>
              <a:gd name="connsiteX68" fmla="*/ 11199600 w 11199600"/>
              <a:gd name="connsiteY68" fmla="*/ 1881436 h 4999652"/>
              <a:gd name="connsiteX69" fmla="*/ 11199600 w 11199600"/>
              <a:gd name="connsiteY69" fmla="*/ 1898682 h 4999652"/>
              <a:gd name="connsiteX70" fmla="*/ 11199600 w 11199600"/>
              <a:gd name="connsiteY70" fmla="*/ 1965413 h 4999652"/>
              <a:gd name="connsiteX71" fmla="*/ 11199600 w 11199600"/>
              <a:gd name="connsiteY71" fmla="*/ 1970439 h 4999652"/>
              <a:gd name="connsiteX72" fmla="*/ 11199600 w 11199600"/>
              <a:gd name="connsiteY72" fmla="*/ 2008550 h 4999652"/>
              <a:gd name="connsiteX73" fmla="*/ 11199600 w 11199600"/>
              <a:gd name="connsiteY73" fmla="*/ 2008551 h 4999652"/>
              <a:gd name="connsiteX74" fmla="*/ 11199600 w 11199600"/>
              <a:gd name="connsiteY74" fmla="*/ 2053557 h 4999652"/>
              <a:gd name="connsiteX75" fmla="*/ 11199600 w 11199600"/>
              <a:gd name="connsiteY75" fmla="*/ 2053558 h 4999652"/>
              <a:gd name="connsiteX76" fmla="*/ 11199600 w 11199600"/>
              <a:gd name="connsiteY76" fmla="*/ 2097575 h 4999652"/>
              <a:gd name="connsiteX77" fmla="*/ 11199600 w 11199600"/>
              <a:gd name="connsiteY77" fmla="*/ 2123261 h 4999652"/>
              <a:gd name="connsiteX78" fmla="*/ 11199600 w 11199600"/>
              <a:gd name="connsiteY78" fmla="*/ 2172922 h 4999652"/>
              <a:gd name="connsiteX79" fmla="*/ 11199600 w 11199600"/>
              <a:gd name="connsiteY79" fmla="*/ 2212580 h 4999652"/>
              <a:gd name="connsiteX80" fmla="*/ 11199600 w 11199600"/>
              <a:gd name="connsiteY80" fmla="*/ 2239653 h 4999652"/>
              <a:gd name="connsiteX81" fmla="*/ 11199600 w 11199600"/>
              <a:gd name="connsiteY81" fmla="*/ 2257704 h 4999652"/>
              <a:gd name="connsiteX82" fmla="*/ 11199600 w 11199600"/>
              <a:gd name="connsiteY82" fmla="*/ 2257705 h 4999652"/>
              <a:gd name="connsiteX83" fmla="*/ 11199600 w 11199600"/>
              <a:gd name="connsiteY83" fmla="*/ 2282790 h 4999652"/>
              <a:gd name="connsiteX84" fmla="*/ 11199600 w 11199600"/>
              <a:gd name="connsiteY84" fmla="*/ 2282791 h 4999652"/>
              <a:gd name="connsiteX85" fmla="*/ 11199600 w 11199600"/>
              <a:gd name="connsiteY85" fmla="*/ 2297710 h 4999652"/>
              <a:gd name="connsiteX86" fmla="*/ 11199600 w 11199600"/>
              <a:gd name="connsiteY86" fmla="*/ 2397501 h 4999652"/>
              <a:gd name="connsiteX87" fmla="*/ 11199600 w 11199600"/>
              <a:gd name="connsiteY87" fmla="*/ 2486821 h 4999652"/>
              <a:gd name="connsiteX88" fmla="*/ 11199600 w 11199600"/>
              <a:gd name="connsiteY88" fmla="*/ 2489591 h 4999652"/>
              <a:gd name="connsiteX89" fmla="*/ 11199600 w 11199600"/>
              <a:gd name="connsiteY89" fmla="*/ 2527609 h 4999652"/>
              <a:gd name="connsiteX90" fmla="*/ 11199600 w 11199600"/>
              <a:gd name="connsiteY90" fmla="*/ 2527610 h 4999652"/>
              <a:gd name="connsiteX91" fmla="*/ 11199600 w 11199600"/>
              <a:gd name="connsiteY91" fmla="*/ 2531944 h 4999652"/>
              <a:gd name="connsiteX92" fmla="*/ 11199600 w 11199600"/>
              <a:gd name="connsiteY92" fmla="*/ 2531945 h 4999652"/>
              <a:gd name="connsiteX93" fmla="*/ 11199600 w 11199600"/>
              <a:gd name="connsiteY93" fmla="*/ 2549720 h 4999652"/>
              <a:gd name="connsiteX94" fmla="*/ 11199600 w 11199600"/>
              <a:gd name="connsiteY94" fmla="*/ 2571950 h 4999652"/>
              <a:gd name="connsiteX95" fmla="*/ 11199600 w 11199600"/>
              <a:gd name="connsiteY95" fmla="*/ 2699732 h 4999652"/>
              <a:gd name="connsiteX96" fmla="*/ 11199600 w 11199600"/>
              <a:gd name="connsiteY96" fmla="*/ 2763831 h 4999652"/>
              <a:gd name="connsiteX97" fmla="*/ 11199600 w 11199600"/>
              <a:gd name="connsiteY97" fmla="*/ 2790282 h 4999652"/>
              <a:gd name="connsiteX98" fmla="*/ 11199600 w 11199600"/>
              <a:gd name="connsiteY98" fmla="*/ 2801850 h 4999652"/>
              <a:gd name="connsiteX99" fmla="*/ 11199600 w 11199600"/>
              <a:gd name="connsiteY99" fmla="*/ 2819096 h 4999652"/>
              <a:gd name="connsiteX100" fmla="*/ 11199600 w 11199600"/>
              <a:gd name="connsiteY100" fmla="*/ 2823960 h 4999652"/>
              <a:gd name="connsiteX101" fmla="*/ 11199600 w 11199600"/>
              <a:gd name="connsiteY101" fmla="*/ 2910931 h 4999652"/>
              <a:gd name="connsiteX102" fmla="*/ 11199600 w 11199600"/>
              <a:gd name="connsiteY102" fmla="*/ 3093336 h 4999652"/>
              <a:gd name="connsiteX103" fmla="*/ 11199600 w 11199600"/>
              <a:gd name="connsiteY103" fmla="*/ 3132994 h 4999652"/>
              <a:gd name="connsiteX104" fmla="*/ 11199600 w 11199600"/>
              <a:gd name="connsiteY104" fmla="*/ 3185171 h 4999652"/>
              <a:gd name="connsiteX105" fmla="*/ 11199600 w 11199600"/>
              <a:gd name="connsiteY105" fmla="*/ 3297044 h 4999652"/>
              <a:gd name="connsiteX106" fmla="*/ 11199600 w 11199600"/>
              <a:gd name="connsiteY106" fmla="*/ 3407235 h 4999652"/>
              <a:gd name="connsiteX107" fmla="*/ 11199600 w 11199600"/>
              <a:gd name="connsiteY107" fmla="*/ 3470134 h 4999652"/>
              <a:gd name="connsiteX108" fmla="*/ 11199600 w 11199600"/>
              <a:gd name="connsiteY108" fmla="*/ 3571284 h 4999652"/>
              <a:gd name="connsiteX109" fmla="*/ 11199600 w 11199600"/>
              <a:gd name="connsiteY109" fmla="*/ 3708888 h 4999652"/>
              <a:gd name="connsiteX110" fmla="*/ 11199600 w 11199600"/>
              <a:gd name="connsiteY110" fmla="*/ 3744374 h 4999652"/>
              <a:gd name="connsiteX111" fmla="*/ 11199600 w 11199600"/>
              <a:gd name="connsiteY111" fmla="*/ 3831345 h 4999652"/>
              <a:gd name="connsiteX112" fmla="*/ 11199600 w 11199600"/>
              <a:gd name="connsiteY112" fmla="*/ 3983128 h 4999652"/>
              <a:gd name="connsiteX113" fmla="*/ 11199600 w 11199600"/>
              <a:gd name="connsiteY113" fmla="*/ 4105585 h 4999652"/>
              <a:gd name="connsiteX114" fmla="*/ 11199600 w 11199600"/>
              <a:gd name="connsiteY114" fmla="*/ 4217458 h 4999652"/>
              <a:gd name="connsiteX115" fmla="*/ 11199600 w 11199600"/>
              <a:gd name="connsiteY115" fmla="*/ 4491698 h 4999652"/>
              <a:gd name="connsiteX116" fmla="*/ 11199600 w 11199600"/>
              <a:gd name="connsiteY116" fmla="*/ 4629302 h 4999652"/>
              <a:gd name="connsiteX117" fmla="*/ 11199600 w 11199600"/>
              <a:gd name="connsiteY117" fmla="*/ 4903542 h 4999652"/>
              <a:gd name="connsiteX118" fmla="*/ 11103603 w 11199600"/>
              <a:gd name="connsiteY118" fmla="*/ 4999652 h 4999652"/>
              <a:gd name="connsiteX119" fmla="*/ 95997 w 11199600"/>
              <a:gd name="connsiteY119" fmla="*/ 4999652 h 4999652"/>
              <a:gd name="connsiteX120" fmla="*/ 0 w 11199600"/>
              <a:gd name="connsiteY120" fmla="*/ 4903542 h 4999652"/>
              <a:gd name="connsiteX121" fmla="*/ 0 w 11199600"/>
              <a:gd name="connsiteY121" fmla="*/ 4899807 h 4999652"/>
              <a:gd name="connsiteX122" fmla="*/ 0 w 11199600"/>
              <a:gd name="connsiteY122" fmla="*/ 4890936 h 4999652"/>
              <a:gd name="connsiteX123" fmla="*/ 0 w 11199600"/>
              <a:gd name="connsiteY123" fmla="*/ 4873660 h 4999652"/>
              <a:gd name="connsiteX124" fmla="*/ 0 w 11199600"/>
              <a:gd name="connsiteY124" fmla="*/ 4845179 h 4999652"/>
              <a:gd name="connsiteX125" fmla="*/ 0 w 11199600"/>
              <a:gd name="connsiteY125" fmla="*/ 4802691 h 4999652"/>
              <a:gd name="connsiteX126" fmla="*/ 0 w 11199600"/>
              <a:gd name="connsiteY126" fmla="*/ 4743394 h 4999652"/>
              <a:gd name="connsiteX127" fmla="*/ 0 w 11199600"/>
              <a:gd name="connsiteY127" fmla="*/ 4664487 h 4999652"/>
              <a:gd name="connsiteX128" fmla="*/ 0 w 11199600"/>
              <a:gd name="connsiteY128" fmla="*/ 4629302 h 4999652"/>
              <a:gd name="connsiteX129" fmla="*/ 0 w 11199600"/>
              <a:gd name="connsiteY129" fmla="*/ 4628196 h 4999652"/>
              <a:gd name="connsiteX130" fmla="*/ 0 w 11199600"/>
              <a:gd name="connsiteY130" fmla="*/ 4620448 h 4999652"/>
              <a:gd name="connsiteX131" fmla="*/ 0 w 11199600"/>
              <a:gd name="connsiteY131" fmla="*/ 4599605 h 4999652"/>
              <a:gd name="connsiteX132" fmla="*/ 0 w 11199600"/>
              <a:gd name="connsiteY132" fmla="*/ 4599420 h 4999652"/>
              <a:gd name="connsiteX133" fmla="*/ 0 w 11199600"/>
              <a:gd name="connsiteY133" fmla="*/ 4558471 h 4999652"/>
              <a:gd name="connsiteX134" fmla="*/ 0 w 11199600"/>
              <a:gd name="connsiteY134" fmla="*/ 4528451 h 4999652"/>
              <a:gd name="connsiteX135" fmla="*/ 0 w 11199600"/>
              <a:gd name="connsiteY135" fmla="*/ 4523932 h 4999652"/>
              <a:gd name="connsiteX136" fmla="*/ 0 w 11199600"/>
              <a:gd name="connsiteY136" fmla="*/ 4490960 h 4999652"/>
              <a:gd name="connsiteX137" fmla="*/ 0 w 11199600"/>
              <a:gd name="connsiteY137" fmla="*/ 4445169 h 4999652"/>
              <a:gd name="connsiteX138" fmla="*/ 0 w 11199600"/>
              <a:gd name="connsiteY138" fmla="*/ 4436638 h 4999652"/>
              <a:gd name="connsiteX139" fmla="*/ 0 w 11199600"/>
              <a:gd name="connsiteY139" fmla="*/ 4390247 h 4999652"/>
              <a:gd name="connsiteX140" fmla="*/ 0 w 11199600"/>
              <a:gd name="connsiteY140" fmla="*/ 4336893 h 4999652"/>
              <a:gd name="connsiteX141" fmla="*/ 0 w 11199600"/>
              <a:gd name="connsiteY141" fmla="*/ 4325365 h 4999652"/>
              <a:gd name="connsiteX142" fmla="*/ 0 w 11199600"/>
              <a:gd name="connsiteY142" fmla="*/ 4249692 h 4999652"/>
              <a:gd name="connsiteX143" fmla="*/ 0 w 11199600"/>
              <a:gd name="connsiteY143" fmla="*/ 4223868 h 4999652"/>
              <a:gd name="connsiteX144" fmla="*/ 0 w 11199600"/>
              <a:gd name="connsiteY144" fmla="*/ 4162398 h 4999652"/>
              <a:gd name="connsiteX145" fmla="*/ 0 w 11199600"/>
              <a:gd name="connsiteY145" fmla="*/ 4096731 h 4999652"/>
              <a:gd name="connsiteX146" fmla="*/ 0 w 11199600"/>
              <a:gd name="connsiteY146" fmla="*/ 4062653 h 4999652"/>
              <a:gd name="connsiteX147" fmla="*/ 0 w 11199600"/>
              <a:gd name="connsiteY147" fmla="*/ 3983128 h 4999652"/>
              <a:gd name="connsiteX148" fmla="*/ 0 w 11199600"/>
              <a:gd name="connsiteY148" fmla="*/ 3979393 h 4999652"/>
              <a:gd name="connsiteX149" fmla="*/ 0 w 11199600"/>
              <a:gd name="connsiteY149" fmla="*/ 3970522 h 4999652"/>
              <a:gd name="connsiteX150" fmla="*/ 0 w 11199600"/>
              <a:gd name="connsiteY150" fmla="*/ 3954654 h 4999652"/>
              <a:gd name="connsiteX151" fmla="*/ 0 w 11199600"/>
              <a:gd name="connsiteY151" fmla="*/ 3953246 h 4999652"/>
              <a:gd name="connsiteX152" fmla="*/ 0 w 11199600"/>
              <a:gd name="connsiteY152" fmla="*/ 3949628 h 4999652"/>
              <a:gd name="connsiteX153" fmla="*/ 0 w 11199600"/>
              <a:gd name="connsiteY153" fmla="*/ 3924765 h 4999652"/>
              <a:gd name="connsiteX154" fmla="*/ 0 w 11199600"/>
              <a:gd name="connsiteY154" fmla="*/ 3882277 h 4999652"/>
              <a:gd name="connsiteX155" fmla="*/ 0 w 11199600"/>
              <a:gd name="connsiteY155" fmla="*/ 3822980 h 4999652"/>
              <a:gd name="connsiteX156" fmla="*/ 0 w 11199600"/>
              <a:gd name="connsiteY156" fmla="*/ 3822491 h 4999652"/>
              <a:gd name="connsiteX157" fmla="*/ 0 w 11199600"/>
              <a:gd name="connsiteY157" fmla="*/ 3796806 h 4999652"/>
              <a:gd name="connsiteX158" fmla="*/ 0 w 11199600"/>
              <a:gd name="connsiteY158" fmla="*/ 3744073 h 4999652"/>
              <a:gd name="connsiteX159" fmla="*/ 0 w 11199600"/>
              <a:gd name="connsiteY159" fmla="*/ 3708888 h 4999652"/>
              <a:gd name="connsiteX160" fmla="*/ 0 w 11199600"/>
              <a:gd name="connsiteY160" fmla="*/ 3707782 h 4999652"/>
              <a:gd name="connsiteX161" fmla="*/ 0 w 11199600"/>
              <a:gd name="connsiteY161" fmla="*/ 3700034 h 4999652"/>
              <a:gd name="connsiteX162" fmla="*/ 0 w 11199600"/>
              <a:gd name="connsiteY162" fmla="*/ 3680414 h 4999652"/>
              <a:gd name="connsiteX163" fmla="*/ 0 w 11199600"/>
              <a:gd name="connsiteY163" fmla="*/ 3679191 h 4999652"/>
              <a:gd name="connsiteX164" fmla="*/ 0 w 11199600"/>
              <a:gd name="connsiteY164" fmla="*/ 3679006 h 4999652"/>
              <a:gd name="connsiteX165" fmla="*/ 0 w 11199600"/>
              <a:gd name="connsiteY165" fmla="*/ 3638057 h 4999652"/>
              <a:gd name="connsiteX166" fmla="*/ 0 w 11199600"/>
              <a:gd name="connsiteY166" fmla="*/ 3622356 h 4999652"/>
              <a:gd name="connsiteX167" fmla="*/ 0 w 11199600"/>
              <a:gd name="connsiteY167" fmla="*/ 3608037 h 4999652"/>
              <a:gd name="connsiteX168" fmla="*/ 0 w 11199600"/>
              <a:gd name="connsiteY168" fmla="*/ 3603518 h 4999652"/>
              <a:gd name="connsiteX169" fmla="*/ 0 w 11199600"/>
              <a:gd name="connsiteY169" fmla="*/ 3570546 h 4999652"/>
              <a:gd name="connsiteX170" fmla="*/ 0 w 11199600"/>
              <a:gd name="connsiteY170" fmla="*/ 3524755 h 4999652"/>
              <a:gd name="connsiteX171" fmla="*/ 0 w 11199600"/>
              <a:gd name="connsiteY171" fmla="*/ 3522566 h 4999652"/>
              <a:gd name="connsiteX172" fmla="*/ 0 w 11199600"/>
              <a:gd name="connsiteY172" fmla="*/ 3516224 h 4999652"/>
              <a:gd name="connsiteX173" fmla="*/ 0 w 11199600"/>
              <a:gd name="connsiteY173" fmla="*/ 3469833 h 4999652"/>
              <a:gd name="connsiteX174" fmla="*/ 0 w 11199600"/>
              <a:gd name="connsiteY174" fmla="*/ 3430476 h 4999652"/>
              <a:gd name="connsiteX175" fmla="*/ 0 w 11199600"/>
              <a:gd name="connsiteY175" fmla="*/ 3416479 h 4999652"/>
              <a:gd name="connsiteX176" fmla="*/ 0 w 11199600"/>
              <a:gd name="connsiteY176" fmla="*/ 3404951 h 4999652"/>
              <a:gd name="connsiteX177" fmla="*/ 0 w 11199600"/>
              <a:gd name="connsiteY177" fmla="*/ 3348116 h 4999652"/>
              <a:gd name="connsiteX178" fmla="*/ 0 w 11199600"/>
              <a:gd name="connsiteY178" fmla="*/ 3329278 h 4999652"/>
              <a:gd name="connsiteX179" fmla="*/ 0 w 11199600"/>
              <a:gd name="connsiteY179" fmla="*/ 3303454 h 4999652"/>
              <a:gd name="connsiteX180" fmla="*/ 0 w 11199600"/>
              <a:gd name="connsiteY180" fmla="*/ 3241984 h 4999652"/>
              <a:gd name="connsiteX181" fmla="*/ 0 w 11199600"/>
              <a:gd name="connsiteY181" fmla="*/ 3220334 h 4999652"/>
              <a:gd name="connsiteX182" fmla="*/ 0 w 11199600"/>
              <a:gd name="connsiteY182" fmla="*/ 3176317 h 4999652"/>
              <a:gd name="connsiteX183" fmla="*/ 0 w 11199600"/>
              <a:gd name="connsiteY183" fmla="*/ 3156236 h 4999652"/>
              <a:gd name="connsiteX184" fmla="*/ 0 w 11199600"/>
              <a:gd name="connsiteY184" fmla="*/ 3142239 h 4999652"/>
              <a:gd name="connsiteX185" fmla="*/ 0 w 11199600"/>
              <a:gd name="connsiteY185" fmla="*/ 3034240 h 4999652"/>
              <a:gd name="connsiteX186" fmla="*/ 0 w 11199600"/>
              <a:gd name="connsiteY186" fmla="*/ 3029214 h 4999652"/>
              <a:gd name="connsiteX187" fmla="*/ 0 w 11199600"/>
              <a:gd name="connsiteY187" fmla="*/ 2991101 h 4999652"/>
              <a:gd name="connsiteX188" fmla="*/ 0 w 11199600"/>
              <a:gd name="connsiteY188" fmla="*/ 2946094 h 4999652"/>
              <a:gd name="connsiteX189" fmla="*/ 0 w 11199600"/>
              <a:gd name="connsiteY189" fmla="*/ 2902077 h 4999652"/>
              <a:gd name="connsiteX190" fmla="*/ 0 w 11199600"/>
              <a:gd name="connsiteY190" fmla="*/ 2876392 h 4999652"/>
              <a:gd name="connsiteX191" fmla="*/ 0 w 11199600"/>
              <a:gd name="connsiteY191" fmla="*/ 2790282 h 4999652"/>
              <a:gd name="connsiteX192" fmla="*/ 0 w 11199600"/>
              <a:gd name="connsiteY192" fmla="*/ 2787072 h 4999652"/>
              <a:gd name="connsiteX193" fmla="*/ 0 w 11199600"/>
              <a:gd name="connsiteY193" fmla="*/ 2760000 h 4999652"/>
              <a:gd name="connsiteX194" fmla="*/ 0 w 11199600"/>
              <a:gd name="connsiteY194" fmla="*/ 2741948 h 4999652"/>
              <a:gd name="connsiteX195" fmla="*/ 0 w 11199600"/>
              <a:gd name="connsiteY195" fmla="*/ 2741947 h 4999652"/>
              <a:gd name="connsiteX196" fmla="*/ 0 w 11199600"/>
              <a:gd name="connsiteY196" fmla="*/ 2716862 h 4999652"/>
              <a:gd name="connsiteX197" fmla="*/ 0 w 11199600"/>
              <a:gd name="connsiteY197" fmla="*/ 2716861 h 4999652"/>
              <a:gd name="connsiteX198" fmla="*/ 0 w 11199600"/>
              <a:gd name="connsiteY198" fmla="*/ 2701942 h 4999652"/>
              <a:gd name="connsiteX199" fmla="*/ 0 w 11199600"/>
              <a:gd name="connsiteY199" fmla="*/ 2602152 h 4999652"/>
              <a:gd name="connsiteX200" fmla="*/ 0 w 11199600"/>
              <a:gd name="connsiteY200" fmla="*/ 2512832 h 4999652"/>
              <a:gd name="connsiteX201" fmla="*/ 0 w 11199600"/>
              <a:gd name="connsiteY201" fmla="*/ 2510062 h 4999652"/>
              <a:gd name="connsiteX202" fmla="*/ 0 w 11199600"/>
              <a:gd name="connsiteY202" fmla="*/ 2472043 h 4999652"/>
              <a:gd name="connsiteX203" fmla="*/ 0 w 11199600"/>
              <a:gd name="connsiteY203" fmla="*/ 2472042 h 4999652"/>
              <a:gd name="connsiteX204" fmla="*/ 0 w 11199600"/>
              <a:gd name="connsiteY204" fmla="*/ 2467708 h 4999652"/>
              <a:gd name="connsiteX205" fmla="*/ 0 w 11199600"/>
              <a:gd name="connsiteY205" fmla="*/ 2467707 h 4999652"/>
              <a:gd name="connsiteX206" fmla="*/ 0 w 11199600"/>
              <a:gd name="connsiteY206" fmla="*/ 2449933 h 4999652"/>
              <a:gd name="connsiteX207" fmla="*/ 0 w 11199600"/>
              <a:gd name="connsiteY207" fmla="*/ 2427702 h 4999652"/>
              <a:gd name="connsiteX208" fmla="*/ 0 w 11199600"/>
              <a:gd name="connsiteY208" fmla="*/ 2299920 h 4999652"/>
              <a:gd name="connsiteX209" fmla="*/ 0 w 11199600"/>
              <a:gd name="connsiteY209" fmla="*/ 2235822 h 4999652"/>
              <a:gd name="connsiteX210" fmla="*/ 0 w 11199600"/>
              <a:gd name="connsiteY210" fmla="*/ 2197803 h 4999652"/>
              <a:gd name="connsiteX211" fmla="*/ 0 w 11199600"/>
              <a:gd name="connsiteY211" fmla="*/ 2197802 h 4999652"/>
              <a:gd name="connsiteX212" fmla="*/ 0 w 11199600"/>
              <a:gd name="connsiteY212" fmla="*/ 2180556 h 4999652"/>
              <a:gd name="connsiteX213" fmla="*/ 0 w 11199600"/>
              <a:gd name="connsiteY213" fmla="*/ 2180555 h 4999652"/>
              <a:gd name="connsiteX214" fmla="*/ 0 w 11199600"/>
              <a:gd name="connsiteY214" fmla="*/ 2175692 h 4999652"/>
              <a:gd name="connsiteX215" fmla="*/ 0 w 11199600"/>
              <a:gd name="connsiteY215" fmla="*/ 2088721 h 4999652"/>
              <a:gd name="connsiteX216" fmla="*/ 0 w 11199600"/>
              <a:gd name="connsiteY216" fmla="*/ 2070687 h 4999652"/>
              <a:gd name="connsiteX217" fmla="*/ 0 w 11199600"/>
              <a:gd name="connsiteY217" fmla="*/ 2025680 h 4999652"/>
              <a:gd name="connsiteX218" fmla="*/ 0 w 11199600"/>
              <a:gd name="connsiteY218" fmla="*/ 1906316 h 4999652"/>
              <a:gd name="connsiteX219" fmla="*/ 0 w 11199600"/>
              <a:gd name="connsiteY219" fmla="*/ 1906315 h 4999652"/>
              <a:gd name="connsiteX220" fmla="*/ 0 w 11199600"/>
              <a:gd name="connsiteY220" fmla="*/ 1866658 h 4999652"/>
              <a:gd name="connsiteX221" fmla="*/ 0 w 11199600"/>
              <a:gd name="connsiteY221" fmla="*/ 1866657 h 4999652"/>
              <a:gd name="connsiteX222" fmla="*/ 0 w 11199600"/>
              <a:gd name="connsiteY222" fmla="*/ 1821533 h 4999652"/>
              <a:gd name="connsiteX223" fmla="*/ 0 w 11199600"/>
              <a:gd name="connsiteY223" fmla="*/ 1814481 h 4999652"/>
              <a:gd name="connsiteX224" fmla="*/ 0 w 11199600"/>
              <a:gd name="connsiteY224" fmla="*/ 1796447 h 4999652"/>
              <a:gd name="connsiteX225" fmla="*/ 0 w 11199600"/>
              <a:gd name="connsiteY225" fmla="*/ 1702609 h 4999652"/>
              <a:gd name="connsiteX226" fmla="*/ 0 w 11199600"/>
              <a:gd name="connsiteY226" fmla="*/ 1592418 h 4999652"/>
              <a:gd name="connsiteX227" fmla="*/ 0 w 11199600"/>
              <a:gd name="connsiteY227" fmla="*/ 1592417 h 4999652"/>
              <a:gd name="connsiteX228" fmla="*/ 0 w 11199600"/>
              <a:gd name="connsiteY228" fmla="*/ 1551628 h 4999652"/>
              <a:gd name="connsiteX229" fmla="*/ 0 w 11199600"/>
              <a:gd name="connsiteY229" fmla="*/ 1547293 h 4999652"/>
              <a:gd name="connsiteX230" fmla="*/ 0 w 11199600"/>
              <a:gd name="connsiteY230" fmla="*/ 1529519 h 4999652"/>
              <a:gd name="connsiteX231" fmla="*/ 0 w 11199600"/>
              <a:gd name="connsiteY231" fmla="*/ 1529518 h 4999652"/>
              <a:gd name="connsiteX232" fmla="*/ 0 w 11199600"/>
              <a:gd name="connsiteY232" fmla="*/ 1428369 h 4999652"/>
              <a:gd name="connsiteX233" fmla="*/ 0 w 11199600"/>
              <a:gd name="connsiteY233" fmla="*/ 1290764 h 4999652"/>
              <a:gd name="connsiteX234" fmla="*/ 0 w 11199600"/>
              <a:gd name="connsiteY234" fmla="*/ 1277388 h 4999652"/>
              <a:gd name="connsiteX235" fmla="*/ 0 w 11199600"/>
              <a:gd name="connsiteY235" fmla="*/ 1260141 h 4999652"/>
              <a:gd name="connsiteX236" fmla="*/ 0 w 11199600"/>
              <a:gd name="connsiteY236" fmla="*/ 1255278 h 4999652"/>
              <a:gd name="connsiteX237" fmla="*/ 0 w 11199600"/>
              <a:gd name="connsiteY237" fmla="*/ 1255277 h 4999652"/>
              <a:gd name="connsiteX238" fmla="*/ 0 w 11199600"/>
              <a:gd name="connsiteY238" fmla="*/ 1208224 h 4999652"/>
              <a:gd name="connsiteX239" fmla="*/ 0 w 11199600"/>
              <a:gd name="connsiteY239" fmla="*/ 1168307 h 4999652"/>
              <a:gd name="connsiteX240" fmla="*/ 0 w 11199600"/>
              <a:gd name="connsiteY240" fmla="*/ 1016524 h 4999652"/>
              <a:gd name="connsiteX241" fmla="*/ 0 w 11199600"/>
              <a:gd name="connsiteY241" fmla="*/ 894067 h 4999652"/>
              <a:gd name="connsiteX242" fmla="*/ 0 w 11199600"/>
              <a:gd name="connsiteY242" fmla="*/ 782195 h 4999652"/>
              <a:gd name="connsiteX243" fmla="*/ 0 w 11199600"/>
              <a:gd name="connsiteY243" fmla="*/ 507955 h 4999652"/>
              <a:gd name="connsiteX244" fmla="*/ 0 w 11199600"/>
              <a:gd name="connsiteY244" fmla="*/ 370350 h 4999652"/>
              <a:gd name="connsiteX245" fmla="*/ 0 w 11199600"/>
              <a:gd name="connsiteY245" fmla="*/ 96110 h 4999652"/>
              <a:gd name="connsiteX246" fmla="*/ 95997 w 11199600"/>
              <a:gd name="connsiteY246" fmla="*/ 0 h 49996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</a:cxnLst>
            <a:rect l="l" t="t" r="r" b="b"/>
            <a:pathLst>
              <a:path w="11199600" h="4999652">
                <a:moveTo>
                  <a:pt x="95997" y="0"/>
                </a:moveTo>
                <a:lnTo>
                  <a:pt x="11103603" y="0"/>
                </a:lnTo>
                <a:cubicBezTo>
                  <a:pt x="11199600" y="0"/>
                  <a:pt x="11199600" y="96110"/>
                  <a:pt x="11199600" y="96110"/>
                </a:cubicBezTo>
                <a:cubicBezTo>
                  <a:pt x="11199600" y="96110"/>
                  <a:pt x="11199600" y="96110"/>
                  <a:pt x="11199600" y="335165"/>
                </a:cubicBezTo>
                <a:lnTo>
                  <a:pt x="11199600" y="370350"/>
                </a:lnTo>
                <a:cubicBezTo>
                  <a:pt x="11199600" y="370350"/>
                  <a:pt x="11199600" y="370350"/>
                  <a:pt x="11199600" y="379204"/>
                </a:cubicBezTo>
                <a:lnTo>
                  <a:pt x="11199600" y="400048"/>
                </a:lnTo>
                <a:lnTo>
                  <a:pt x="11199600" y="400232"/>
                </a:lnTo>
                <a:cubicBezTo>
                  <a:pt x="11199600" y="415173"/>
                  <a:pt x="11199600" y="437585"/>
                  <a:pt x="11199600" y="471202"/>
                </a:cubicBezTo>
                <a:lnTo>
                  <a:pt x="11199600" y="475721"/>
                </a:lnTo>
                <a:lnTo>
                  <a:pt x="11199600" y="508692"/>
                </a:lnTo>
                <a:cubicBezTo>
                  <a:pt x="11199600" y="522527"/>
                  <a:pt x="11199600" y="537744"/>
                  <a:pt x="11199600" y="554484"/>
                </a:cubicBezTo>
                <a:lnTo>
                  <a:pt x="11199600" y="563015"/>
                </a:lnTo>
                <a:lnTo>
                  <a:pt x="11199600" y="609405"/>
                </a:lnTo>
                <a:lnTo>
                  <a:pt x="11199600" y="662759"/>
                </a:lnTo>
                <a:lnTo>
                  <a:pt x="11199600" y="674288"/>
                </a:lnTo>
                <a:cubicBezTo>
                  <a:pt x="11199600" y="697668"/>
                  <a:pt x="11199600" y="722846"/>
                  <a:pt x="11199600" y="749961"/>
                </a:cubicBezTo>
                <a:lnTo>
                  <a:pt x="11199600" y="775785"/>
                </a:lnTo>
                <a:lnTo>
                  <a:pt x="11199600" y="837255"/>
                </a:lnTo>
                <a:lnTo>
                  <a:pt x="11199600" y="902921"/>
                </a:lnTo>
                <a:lnTo>
                  <a:pt x="11199600" y="936999"/>
                </a:lnTo>
                <a:lnTo>
                  <a:pt x="11199600" y="1016524"/>
                </a:lnTo>
                <a:cubicBezTo>
                  <a:pt x="11199600" y="1016524"/>
                  <a:pt x="11199600" y="1016524"/>
                  <a:pt x="11199600" y="1029131"/>
                </a:cubicBezTo>
                <a:lnTo>
                  <a:pt x="11199600" y="1044999"/>
                </a:lnTo>
                <a:lnTo>
                  <a:pt x="11199600" y="1046406"/>
                </a:lnTo>
                <a:lnTo>
                  <a:pt x="11199600" y="1050025"/>
                </a:lnTo>
                <a:lnTo>
                  <a:pt x="11199600" y="1074887"/>
                </a:lnTo>
                <a:cubicBezTo>
                  <a:pt x="11199600" y="1098232"/>
                  <a:pt x="11199600" y="1130916"/>
                  <a:pt x="11199600" y="1176672"/>
                </a:cubicBezTo>
                <a:lnTo>
                  <a:pt x="11199600" y="1177161"/>
                </a:lnTo>
                <a:lnTo>
                  <a:pt x="11199600" y="1202847"/>
                </a:lnTo>
                <a:lnTo>
                  <a:pt x="11199600" y="1208224"/>
                </a:lnTo>
                <a:lnTo>
                  <a:pt x="11199600" y="1255579"/>
                </a:lnTo>
                <a:lnTo>
                  <a:pt x="11199600" y="1290764"/>
                </a:lnTo>
                <a:cubicBezTo>
                  <a:pt x="11199600" y="1290764"/>
                  <a:pt x="11199600" y="1290764"/>
                  <a:pt x="11199600" y="1299618"/>
                </a:cubicBezTo>
                <a:lnTo>
                  <a:pt x="11199600" y="1319238"/>
                </a:lnTo>
                <a:lnTo>
                  <a:pt x="11199600" y="1319239"/>
                </a:lnTo>
                <a:lnTo>
                  <a:pt x="11199600" y="1320462"/>
                </a:lnTo>
                <a:lnTo>
                  <a:pt x="11199600" y="1320646"/>
                </a:lnTo>
                <a:lnTo>
                  <a:pt x="11199600" y="1337290"/>
                </a:lnTo>
                <a:lnTo>
                  <a:pt x="11199600" y="1349128"/>
                </a:lnTo>
                <a:lnTo>
                  <a:pt x="11199600" y="1362376"/>
                </a:lnTo>
                <a:lnTo>
                  <a:pt x="11199600" y="1377295"/>
                </a:lnTo>
                <a:lnTo>
                  <a:pt x="11199600" y="1377296"/>
                </a:lnTo>
                <a:lnTo>
                  <a:pt x="11199600" y="1391616"/>
                </a:lnTo>
                <a:lnTo>
                  <a:pt x="11199600" y="1396135"/>
                </a:lnTo>
                <a:lnTo>
                  <a:pt x="11199600" y="1429106"/>
                </a:lnTo>
                <a:cubicBezTo>
                  <a:pt x="11199600" y="1442941"/>
                  <a:pt x="11199600" y="1458158"/>
                  <a:pt x="11199600" y="1474898"/>
                </a:cubicBezTo>
                <a:lnTo>
                  <a:pt x="11199600" y="1477086"/>
                </a:lnTo>
                <a:lnTo>
                  <a:pt x="11199600" y="1477087"/>
                </a:lnTo>
                <a:lnTo>
                  <a:pt x="11199600" y="1483429"/>
                </a:lnTo>
                <a:lnTo>
                  <a:pt x="11199600" y="1529819"/>
                </a:lnTo>
                <a:lnTo>
                  <a:pt x="11199600" y="1569176"/>
                </a:lnTo>
                <a:lnTo>
                  <a:pt x="11199600" y="1569177"/>
                </a:lnTo>
                <a:lnTo>
                  <a:pt x="11199600" y="1583173"/>
                </a:lnTo>
                <a:lnTo>
                  <a:pt x="11199600" y="1594702"/>
                </a:lnTo>
                <a:lnTo>
                  <a:pt x="11199600" y="1607195"/>
                </a:lnTo>
                <a:lnTo>
                  <a:pt x="11199600" y="1611530"/>
                </a:lnTo>
                <a:lnTo>
                  <a:pt x="11199600" y="1651535"/>
                </a:lnTo>
                <a:lnTo>
                  <a:pt x="11199600" y="1651536"/>
                </a:lnTo>
                <a:lnTo>
                  <a:pt x="11199600" y="1670375"/>
                </a:lnTo>
                <a:lnTo>
                  <a:pt x="11199600" y="1696199"/>
                </a:lnTo>
                <a:lnTo>
                  <a:pt x="11199600" y="1757669"/>
                </a:lnTo>
                <a:lnTo>
                  <a:pt x="11199600" y="1779317"/>
                </a:lnTo>
                <a:lnTo>
                  <a:pt x="11199600" y="1779318"/>
                </a:lnTo>
                <a:lnTo>
                  <a:pt x="11199600" y="1823335"/>
                </a:lnTo>
                <a:lnTo>
                  <a:pt x="11199600" y="1843416"/>
                </a:lnTo>
                <a:lnTo>
                  <a:pt x="11199600" y="1843417"/>
                </a:lnTo>
                <a:lnTo>
                  <a:pt x="11199600" y="1857413"/>
                </a:lnTo>
                <a:lnTo>
                  <a:pt x="11199600" y="1881436"/>
                </a:lnTo>
                <a:lnTo>
                  <a:pt x="11199600" y="1898682"/>
                </a:lnTo>
                <a:lnTo>
                  <a:pt x="11199600" y="1965413"/>
                </a:lnTo>
                <a:lnTo>
                  <a:pt x="11199600" y="1970439"/>
                </a:lnTo>
                <a:lnTo>
                  <a:pt x="11199600" y="2008550"/>
                </a:lnTo>
                <a:lnTo>
                  <a:pt x="11199600" y="2008551"/>
                </a:lnTo>
                <a:lnTo>
                  <a:pt x="11199600" y="2053557"/>
                </a:lnTo>
                <a:lnTo>
                  <a:pt x="11199600" y="2053558"/>
                </a:lnTo>
                <a:lnTo>
                  <a:pt x="11199600" y="2097575"/>
                </a:lnTo>
                <a:lnTo>
                  <a:pt x="11199600" y="2123261"/>
                </a:lnTo>
                <a:lnTo>
                  <a:pt x="11199600" y="2172922"/>
                </a:lnTo>
                <a:lnTo>
                  <a:pt x="11199600" y="2212580"/>
                </a:lnTo>
                <a:lnTo>
                  <a:pt x="11199600" y="2239653"/>
                </a:lnTo>
                <a:lnTo>
                  <a:pt x="11199600" y="2257704"/>
                </a:lnTo>
                <a:lnTo>
                  <a:pt x="11199600" y="2257705"/>
                </a:lnTo>
                <a:lnTo>
                  <a:pt x="11199600" y="2282790"/>
                </a:lnTo>
                <a:lnTo>
                  <a:pt x="11199600" y="2282791"/>
                </a:lnTo>
                <a:lnTo>
                  <a:pt x="11199600" y="2297710"/>
                </a:lnTo>
                <a:lnTo>
                  <a:pt x="11199600" y="2397501"/>
                </a:lnTo>
                <a:lnTo>
                  <a:pt x="11199600" y="2486821"/>
                </a:lnTo>
                <a:lnTo>
                  <a:pt x="11199600" y="2489591"/>
                </a:lnTo>
                <a:lnTo>
                  <a:pt x="11199600" y="2527609"/>
                </a:lnTo>
                <a:lnTo>
                  <a:pt x="11199600" y="2527610"/>
                </a:lnTo>
                <a:lnTo>
                  <a:pt x="11199600" y="2531944"/>
                </a:lnTo>
                <a:lnTo>
                  <a:pt x="11199600" y="2531945"/>
                </a:lnTo>
                <a:lnTo>
                  <a:pt x="11199600" y="2549720"/>
                </a:lnTo>
                <a:lnTo>
                  <a:pt x="11199600" y="2571950"/>
                </a:lnTo>
                <a:lnTo>
                  <a:pt x="11199600" y="2699732"/>
                </a:lnTo>
                <a:lnTo>
                  <a:pt x="11199600" y="2763831"/>
                </a:lnTo>
                <a:lnTo>
                  <a:pt x="11199600" y="2790282"/>
                </a:lnTo>
                <a:lnTo>
                  <a:pt x="11199600" y="2801850"/>
                </a:lnTo>
                <a:lnTo>
                  <a:pt x="11199600" y="2819096"/>
                </a:lnTo>
                <a:lnTo>
                  <a:pt x="11199600" y="2823960"/>
                </a:lnTo>
                <a:lnTo>
                  <a:pt x="11199600" y="2910931"/>
                </a:lnTo>
                <a:lnTo>
                  <a:pt x="11199600" y="3093336"/>
                </a:lnTo>
                <a:lnTo>
                  <a:pt x="11199600" y="3132994"/>
                </a:lnTo>
                <a:lnTo>
                  <a:pt x="11199600" y="3185171"/>
                </a:lnTo>
                <a:lnTo>
                  <a:pt x="11199600" y="3297044"/>
                </a:lnTo>
                <a:lnTo>
                  <a:pt x="11199600" y="3407235"/>
                </a:lnTo>
                <a:lnTo>
                  <a:pt x="11199600" y="3470134"/>
                </a:lnTo>
                <a:lnTo>
                  <a:pt x="11199600" y="3571284"/>
                </a:lnTo>
                <a:lnTo>
                  <a:pt x="11199600" y="3708888"/>
                </a:lnTo>
                <a:lnTo>
                  <a:pt x="11199600" y="3744374"/>
                </a:lnTo>
                <a:lnTo>
                  <a:pt x="11199600" y="3831345"/>
                </a:lnTo>
                <a:lnTo>
                  <a:pt x="11199600" y="3983128"/>
                </a:lnTo>
                <a:lnTo>
                  <a:pt x="11199600" y="4105585"/>
                </a:lnTo>
                <a:lnTo>
                  <a:pt x="11199600" y="4217458"/>
                </a:lnTo>
                <a:lnTo>
                  <a:pt x="11199600" y="4491698"/>
                </a:lnTo>
                <a:lnTo>
                  <a:pt x="11199600" y="4629302"/>
                </a:lnTo>
                <a:lnTo>
                  <a:pt x="11199600" y="4903542"/>
                </a:lnTo>
                <a:cubicBezTo>
                  <a:pt x="11199600" y="4999652"/>
                  <a:pt x="11103603" y="4999652"/>
                  <a:pt x="11103603" y="4999652"/>
                </a:cubicBezTo>
                <a:cubicBezTo>
                  <a:pt x="11103603" y="4999652"/>
                  <a:pt x="11103603" y="4999652"/>
                  <a:pt x="95997" y="4999652"/>
                </a:cubicBezTo>
                <a:cubicBezTo>
                  <a:pt x="0" y="4999652"/>
                  <a:pt x="0" y="4903542"/>
                  <a:pt x="0" y="4903542"/>
                </a:cubicBezTo>
                <a:lnTo>
                  <a:pt x="0" y="4899807"/>
                </a:lnTo>
                <a:lnTo>
                  <a:pt x="0" y="4890936"/>
                </a:lnTo>
                <a:lnTo>
                  <a:pt x="0" y="4873660"/>
                </a:lnTo>
                <a:lnTo>
                  <a:pt x="0" y="4845179"/>
                </a:lnTo>
                <a:lnTo>
                  <a:pt x="0" y="4802691"/>
                </a:lnTo>
                <a:lnTo>
                  <a:pt x="0" y="4743394"/>
                </a:lnTo>
                <a:lnTo>
                  <a:pt x="0" y="4664487"/>
                </a:lnTo>
                <a:lnTo>
                  <a:pt x="0" y="4629302"/>
                </a:lnTo>
                <a:lnTo>
                  <a:pt x="0" y="4628196"/>
                </a:lnTo>
                <a:lnTo>
                  <a:pt x="0" y="4620448"/>
                </a:lnTo>
                <a:lnTo>
                  <a:pt x="0" y="4599605"/>
                </a:lnTo>
                <a:lnTo>
                  <a:pt x="0" y="4599420"/>
                </a:lnTo>
                <a:lnTo>
                  <a:pt x="0" y="4558471"/>
                </a:lnTo>
                <a:lnTo>
                  <a:pt x="0" y="4528451"/>
                </a:lnTo>
                <a:lnTo>
                  <a:pt x="0" y="4523932"/>
                </a:lnTo>
                <a:lnTo>
                  <a:pt x="0" y="4490960"/>
                </a:lnTo>
                <a:lnTo>
                  <a:pt x="0" y="4445169"/>
                </a:lnTo>
                <a:lnTo>
                  <a:pt x="0" y="4436638"/>
                </a:lnTo>
                <a:lnTo>
                  <a:pt x="0" y="4390247"/>
                </a:lnTo>
                <a:lnTo>
                  <a:pt x="0" y="4336893"/>
                </a:lnTo>
                <a:lnTo>
                  <a:pt x="0" y="4325365"/>
                </a:lnTo>
                <a:lnTo>
                  <a:pt x="0" y="4249692"/>
                </a:lnTo>
                <a:lnTo>
                  <a:pt x="0" y="4223868"/>
                </a:lnTo>
                <a:lnTo>
                  <a:pt x="0" y="4162398"/>
                </a:lnTo>
                <a:lnTo>
                  <a:pt x="0" y="4096731"/>
                </a:lnTo>
                <a:lnTo>
                  <a:pt x="0" y="4062653"/>
                </a:lnTo>
                <a:lnTo>
                  <a:pt x="0" y="3983128"/>
                </a:lnTo>
                <a:lnTo>
                  <a:pt x="0" y="3979393"/>
                </a:lnTo>
                <a:lnTo>
                  <a:pt x="0" y="3970522"/>
                </a:lnTo>
                <a:lnTo>
                  <a:pt x="0" y="3954654"/>
                </a:lnTo>
                <a:lnTo>
                  <a:pt x="0" y="3953246"/>
                </a:lnTo>
                <a:lnTo>
                  <a:pt x="0" y="3949628"/>
                </a:lnTo>
                <a:lnTo>
                  <a:pt x="0" y="3924765"/>
                </a:lnTo>
                <a:lnTo>
                  <a:pt x="0" y="3882277"/>
                </a:lnTo>
                <a:lnTo>
                  <a:pt x="0" y="3822980"/>
                </a:lnTo>
                <a:lnTo>
                  <a:pt x="0" y="3822491"/>
                </a:lnTo>
                <a:lnTo>
                  <a:pt x="0" y="3796806"/>
                </a:lnTo>
                <a:lnTo>
                  <a:pt x="0" y="3744073"/>
                </a:lnTo>
                <a:lnTo>
                  <a:pt x="0" y="3708888"/>
                </a:lnTo>
                <a:lnTo>
                  <a:pt x="0" y="3707782"/>
                </a:lnTo>
                <a:lnTo>
                  <a:pt x="0" y="3700034"/>
                </a:lnTo>
                <a:lnTo>
                  <a:pt x="0" y="3680414"/>
                </a:lnTo>
                <a:lnTo>
                  <a:pt x="0" y="3679191"/>
                </a:lnTo>
                <a:lnTo>
                  <a:pt x="0" y="3679006"/>
                </a:lnTo>
                <a:lnTo>
                  <a:pt x="0" y="3638057"/>
                </a:lnTo>
                <a:lnTo>
                  <a:pt x="0" y="3622356"/>
                </a:lnTo>
                <a:lnTo>
                  <a:pt x="0" y="3608037"/>
                </a:lnTo>
                <a:lnTo>
                  <a:pt x="0" y="3603518"/>
                </a:lnTo>
                <a:lnTo>
                  <a:pt x="0" y="3570546"/>
                </a:lnTo>
                <a:lnTo>
                  <a:pt x="0" y="3524755"/>
                </a:lnTo>
                <a:lnTo>
                  <a:pt x="0" y="3522566"/>
                </a:lnTo>
                <a:lnTo>
                  <a:pt x="0" y="3516224"/>
                </a:lnTo>
                <a:lnTo>
                  <a:pt x="0" y="3469833"/>
                </a:lnTo>
                <a:lnTo>
                  <a:pt x="0" y="3430476"/>
                </a:lnTo>
                <a:lnTo>
                  <a:pt x="0" y="3416479"/>
                </a:lnTo>
                <a:lnTo>
                  <a:pt x="0" y="3404951"/>
                </a:lnTo>
                <a:lnTo>
                  <a:pt x="0" y="3348116"/>
                </a:lnTo>
                <a:lnTo>
                  <a:pt x="0" y="3329278"/>
                </a:lnTo>
                <a:lnTo>
                  <a:pt x="0" y="3303454"/>
                </a:lnTo>
                <a:lnTo>
                  <a:pt x="0" y="3241984"/>
                </a:lnTo>
                <a:lnTo>
                  <a:pt x="0" y="3220334"/>
                </a:lnTo>
                <a:lnTo>
                  <a:pt x="0" y="3176317"/>
                </a:lnTo>
                <a:lnTo>
                  <a:pt x="0" y="3156236"/>
                </a:lnTo>
                <a:lnTo>
                  <a:pt x="0" y="3142239"/>
                </a:lnTo>
                <a:lnTo>
                  <a:pt x="0" y="3034240"/>
                </a:lnTo>
                <a:lnTo>
                  <a:pt x="0" y="3029214"/>
                </a:lnTo>
                <a:lnTo>
                  <a:pt x="0" y="2991101"/>
                </a:lnTo>
                <a:lnTo>
                  <a:pt x="0" y="2946094"/>
                </a:lnTo>
                <a:lnTo>
                  <a:pt x="0" y="2902077"/>
                </a:lnTo>
                <a:lnTo>
                  <a:pt x="0" y="2876392"/>
                </a:lnTo>
                <a:lnTo>
                  <a:pt x="0" y="2790282"/>
                </a:lnTo>
                <a:lnTo>
                  <a:pt x="0" y="2787072"/>
                </a:lnTo>
                <a:lnTo>
                  <a:pt x="0" y="2760000"/>
                </a:lnTo>
                <a:lnTo>
                  <a:pt x="0" y="2741948"/>
                </a:lnTo>
                <a:lnTo>
                  <a:pt x="0" y="2741947"/>
                </a:lnTo>
                <a:lnTo>
                  <a:pt x="0" y="2716862"/>
                </a:lnTo>
                <a:lnTo>
                  <a:pt x="0" y="2716861"/>
                </a:lnTo>
                <a:lnTo>
                  <a:pt x="0" y="2701942"/>
                </a:lnTo>
                <a:lnTo>
                  <a:pt x="0" y="2602152"/>
                </a:lnTo>
                <a:lnTo>
                  <a:pt x="0" y="2512832"/>
                </a:lnTo>
                <a:lnTo>
                  <a:pt x="0" y="2510062"/>
                </a:lnTo>
                <a:lnTo>
                  <a:pt x="0" y="2472043"/>
                </a:lnTo>
                <a:lnTo>
                  <a:pt x="0" y="2472042"/>
                </a:lnTo>
                <a:lnTo>
                  <a:pt x="0" y="2467708"/>
                </a:lnTo>
                <a:lnTo>
                  <a:pt x="0" y="2467707"/>
                </a:lnTo>
                <a:lnTo>
                  <a:pt x="0" y="2449933"/>
                </a:lnTo>
                <a:lnTo>
                  <a:pt x="0" y="2427702"/>
                </a:lnTo>
                <a:lnTo>
                  <a:pt x="0" y="2299920"/>
                </a:lnTo>
                <a:lnTo>
                  <a:pt x="0" y="2235822"/>
                </a:lnTo>
                <a:lnTo>
                  <a:pt x="0" y="2197803"/>
                </a:lnTo>
                <a:lnTo>
                  <a:pt x="0" y="2197802"/>
                </a:lnTo>
                <a:lnTo>
                  <a:pt x="0" y="2180556"/>
                </a:lnTo>
                <a:lnTo>
                  <a:pt x="0" y="2180555"/>
                </a:lnTo>
                <a:lnTo>
                  <a:pt x="0" y="2175692"/>
                </a:lnTo>
                <a:lnTo>
                  <a:pt x="0" y="2088721"/>
                </a:lnTo>
                <a:lnTo>
                  <a:pt x="0" y="2070687"/>
                </a:lnTo>
                <a:lnTo>
                  <a:pt x="0" y="2025680"/>
                </a:lnTo>
                <a:lnTo>
                  <a:pt x="0" y="1906316"/>
                </a:lnTo>
                <a:lnTo>
                  <a:pt x="0" y="1906315"/>
                </a:lnTo>
                <a:lnTo>
                  <a:pt x="0" y="1866658"/>
                </a:lnTo>
                <a:lnTo>
                  <a:pt x="0" y="1866657"/>
                </a:lnTo>
                <a:lnTo>
                  <a:pt x="0" y="1821533"/>
                </a:lnTo>
                <a:lnTo>
                  <a:pt x="0" y="1814481"/>
                </a:lnTo>
                <a:lnTo>
                  <a:pt x="0" y="1796447"/>
                </a:lnTo>
                <a:lnTo>
                  <a:pt x="0" y="1702609"/>
                </a:lnTo>
                <a:lnTo>
                  <a:pt x="0" y="1592418"/>
                </a:lnTo>
                <a:lnTo>
                  <a:pt x="0" y="1592417"/>
                </a:lnTo>
                <a:lnTo>
                  <a:pt x="0" y="1551628"/>
                </a:lnTo>
                <a:lnTo>
                  <a:pt x="0" y="1547293"/>
                </a:lnTo>
                <a:lnTo>
                  <a:pt x="0" y="1529519"/>
                </a:lnTo>
                <a:lnTo>
                  <a:pt x="0" y="1529518"/>
                </a:lnTo>
                <a:lnTo>
                  <a:pt x="0" y="1428369"/>
                </a:lnTo>
                <a:lnTo>
                  <a:pt x="0" y="1290764"/>
                </a:lnTo>
                <a:lnTo>
                  <a:pt x="0" y="1277388"/>
                </a:lnTo>
                <a:lnTo>
                  <a:pt x="0" y="1260141"/>
                </a:lnTo>
                <a:lnTo>
                  <a:pt x="0" y="1255278"/>
                </a:lnTo>
                <a:lnTo>
                  <a:pt x="0" y="1255277"/>
                </a:lnTo>
                <a:lnTo>
                  <a:pt x="0" y="1208224"/>
                </a:lnTo>
                <a:lnTo>
                  <a:pt x="0" y="1168307"/>
                </a:lnTo>
                <a:lnTo>
                  <a:pt x="0" y="1016524"/>
                </a:lnTo>
                <a:lnTo>
                  <a:pt x="0" y="894067"/>
                </a:lnTo>
                <a:lnTo>
                  <a:pt x="0" y="782195"/>
                </a:lnTo>
                <a:lnTo>
                  <a:pt x="0" y="507955"/>
                </a:lnTo>
                <a:lnTo>
                  <a:pt x="0" y="370350"/>
                </a:lnTo>
                <a:lnTo>
                  <a:pt x="0" y="96110"/>
                </a:lnTo>
                <a:cubicBezTo>
                  <a:pt x="0" y="0"/>
                  <a:pt x="95997" y="0"/>
                  <a:pt x="95997" y="0"/>
                </a:cubicBezTo>
                <a:close/>
              </a:path>
            </a:pathLst>
          </a:custGeom>
          <a:solidFill>
            <a:schemeClr val="bg1">
              <a:lumMod val="95000"/>
              <a:alpha val="10000"/>
            </a:schemeClr>
          </a:solidFill>
        </p:spPr>
        <p:txBody>
          <a:bodyPr wrap="square" lIns="3240000" tIns="36000" rIns="36000" bIns="36000" anchor="ctr" anchorCtr="0">
            <a:noAutofit/>
          </a:bodyPr>
          <a:lstStyle>
            <a:lvl1pPr algn="ctr">
              <a:defRPr sz="1400" b="0"/>
            </a:lvl1pPr>
          </a:lstStyle>
          <a:p>
            <a:r>
              <a:rPr lang="nl-NL" smtClean="0"/>
              <a:t>Klik op het pictogram als u een afbeelding wilt toevoegen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10659405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1" pos="302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Content Slide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2"/>
          <p:cNvSpPr>
            <a:spLocks noGrp="1"/>
          </p:cNvSpPr>
          <p:nvPr>
            <p:ph idx="1"/>
          </p:nvPr>
        </p:nvSpPr>
        <p:spPr bwMode="gray">
          <a:xfrm>
            <a:off x="687031" y="1795639"/>
            <a:ext cx="8522455" cy="440513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2pPr marL="268288" indent="-268288">
              <a:buClr>
                <a:schemeClr val="accent1"/>
              </a:buClr>
              <a:buFont typeface="ING Me" pitchFamily="2" charset="0"/>
              <a:buChar char="•"/>
              <a:defRPr/>
            </a:lvl2pPr>
            <a:lvl3pPr marL="536575" indent="-266700">
              <a:buClr>
                <a:schemeClr val="accent2"/>
              </a:buClr>
              <a:defRPr/>
            </a:lvl3pPr>
            <a:lvl4pPr marL="808038" indent="-260350">
              <a:buClr>
                <a:schemeClr val="accent3"/>
              </a:buClr>
              <a:defRPr/>
            </a:lvl4pPr>
            <a:lvl5pPr marL="1071563" indent="-252413">
              <a:buClr>
                <a:schemeClr val="accent4"/>
              </a:buClr>
              <a:defRPr/>
            </a:lvl5pPr>
          </a:lstStyle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‹#›</a:t>
            </a:fld>
            <a:endParaRPr lang="en-GB" noProof="0" dirty="0"/>
          </a:p>
        </p:txBody>
      </p:sp>
      <p:sp>
        <p:nvSpPr>
          <p:cNvPr id="7" name="Text Placeholder 10"/>
          <p:cNvSpPr>
            <a:spLocks noGrp="1"/>
          </p:cNvSpPr>
          <p:nvPr>
            <p:ph type="body" sz="quarter" idx="12" hasCustomPrompt="1"/>
          </p:nvPr>
        </p:nvSpPr>
        <p:spPr>
          <a:xfrm>
            <a:off x="687030" y="1277985"/>
            <a:ext cx="8522455" cy="436017"/>
          </a:xfrm>
        </p:spPr>
        <p:txBody>
          <a:bodyPr>
            <a:noAutofit/>
          </a:bodyPr>
          <a:lstStyle>
            <a:lvl1pPr>
              <a:lnSpc>
                <a:spcPts val="1700"/>
              </a:lnSpc>
              <a:defRPr sz="15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US" smtClean="0"/>
              <a:t>Click to edit title</a:t>
            </a:r>
          </a:p>
        </p:txBody>
      </p:sp>
    </p:spTree>
    <p:extLst>
      <p:ext uri="{BB962C8B-B14F-4D97-AF65-F5344CB8AC3E}">
        <p14:creationId xmlns:p14="http://schemas.microsoft.com/office/powerpoint/2010/main" val="199986655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4"/>
          </p:nvPr>
        </p:nvSpPr>
        <p:spPr bwMode="gray">
          <a:xfrm>
            <a:off x="566241" y="280736"/>
            <a:ext cx="9099675" cy="5920067"/>
          </a:xfrm>
          <a:custGeom>
            <a:avLst/>
            <a:gdLst>
              <a:gd name="connsiteX0" fmla="*/ 95997 w 11199600"/>
              <a:gd name="connsiteY0" fmla="*/ 0 h 5920067"/>
              <a:gd name="connsiteX1" fmla="*/ 11103603 w 11199600"/>
              <a:gd name="connsiteY1" fmla="*/ 0 h 5920067"/>
              <a:gd name="connsiteX2" fmla="*/ 11199600 w 11199600"/>
              <a:gd name="connsiteY2" fmla="*/ 96110 h 5920067"/>
              <a:gd name="connsiteX3" fmla="*/ 11199600 w 11199600"/>
              <a:gd name="connsiteY3" fmla="*/ 335165 h 5920067"/>
              <a:gd name="connsiteX4" fmla="*/ 11199600 w 11199600"/>
              <a:gd name="connsiteY4" fmla="*/ 370350 h 5920067"/>
              <a:gd name="connsiteX5" fmla="*/ 11199600 w 11199600"/>
              <a:gd name="connsiteY5" fmla="*/ 379204 h 5920067"/>
              <a:gd name="connsiteX6" fmla="*/ 11199600 w 11199600"/>
              <a:gd name="connsiteY6" fmla="*/ 400048 h 5920067"/>
              <a:gd name="connsiteX7" fmla="*/ 11199600 w 11199600"/>
              <a:gd name="connsiteY7" fmla="*/ 400232 h 5920067"/>
              <a:gd name="connsiteX8" fmla="*/ 11199600 w 11199600"/>
              <a:gd name="connsiteY8" fmla="*/ 471202 h 5920067"/>
              <a:gd name="connsiteX9" fmla="*/ 11199600 w 11199600"/>
              <a:gd name="connsiteY9" fmla="*/ 475721 h 5920067"/>
              <a:gd name="connsiteX10" fmla="*/ 11199600 w 11199600"/>
              <a:gd name="connsiteY10" fmla="*/ 508692 h 5920067"/>
              <a:gd name="connsiteX11" fmla="*/ 11199600 w 11199600"/>
              <a:gd name="connsiteY11" fmla="*/ 554484 h 5920067"/>
              <a:gd name="connsiteX12" fmla="*/ 11199600 w 11199600"/>
              <a:gd name="connsiteY12" fmla="*/ 563015 h 5920067"/>
              <a:gd name="connsiteX13" fmla="*/ 11199600 w 11199600"/>
              <a:gd name="connsiteY13" fmla="*/ 609405 h 5920067"/>
              <a:gd name="connsiteX14" fmla="*/ 11199600 w 11199600"/>
              <a:gd name="connsiteY14" fmla="*/ 662759 h 5920067"/>
              <a:gd name="connsiteX15" fmla="*/ 11199600 w 11199600"/>
              <a:gd name="connsiteY15" fmla="*/ 674288 h 5920067"/>
              <a:gd name="connsiteX16" fmla="*/ 11199600 w 11199600"/>
              <a:gd name="connsiteY16" fmla="*/ 749961 h 5920067"/>
              <a:gd name="connsiteX17" fmla="*/ 11199600 w 11199600"/>
              <a:gd name="connsiteY17" fmla="*/ 775785 h 5920067"/>
              <a:gd name="connsiteX18" fmla="*/ 11199600 w 11199600"/>
              <a:gd name="connsiteY18" fmla="*/ 837255 h 5920067"/>
              <a:gd name="connsiteX19" fmla="*/ 11199600 w 11199600"/>
              <a:gd name="connsiteY19" fmla="*/ 902921 h 5920067"/>
              <a:gd name="connsiteX20" fmla="*/ 11199600 w 11199600"/>
              <a:gd name="connsiteY20" fmla="*/ 936999 h 5920067"/>
              <a:gd name="connsiteX21" fmla="*/ 11199600 w 11199600"/>
              <a:gd name="connsiteY21" fmla="*/ 1016524 h 5920067"/>
              <a:gd name="connsiteX22" fmla="*/ 11199600 w 11199600"/>
              <a:gd name="connsiteY22" fmla="*/ 1029131 h 5920067"/>
              <a:gd name="connsiteX23" fmla="*/ 11199600 w 11199600"/>
              <a:gd name="connsiteY23" fmla="*/ 1044999 h 5920067"/>
              <a:gd name="connsiteX24" fmla="*/ 11199600 w 11199600"/>
              <a:gd name="connsiteY24" fmla="*/ 1046406 h 5920067"/>
              <a:gd name="connsiteX25" fmla="*/ 11199600 w 11199600"/>
              <a:gd name="connsiteY25" fmla="*/ 1050025 h 5920067"/>
              <a:gd name="connsiteX26" fmla="*/ 11199600 w 11199600"/>
              <a:gd name="connsiteY26" fmla="*/ 1074887 h 5920067"/>
              <a:gd name="connsiteX27" fmla="*/ 11199600 w 11199600"/>
              <a:gd name="connsiteY27" fmla="*/ 1176672 h 5920067"/>
              <a:gd name="connsiteX28" fmla="*/ 11199600 w 11199600"/>
              <a:gd name="connsiteY28" fmla="*/ 1177161 h 5920067"/>
              <a:gd name="connsiteX29" fmla="*/ 11199600 w 11199600"/>
              <a:gd name="connsiteY29" fmla="*/ 1202847 h 5920067"/>
              <a:gd name="connsiteX30" fmla="*/ 11199600 w 11199600"/>
              <a:gd name="connsiteY30" fmla="*/ 1255579 h 5920067"/>
              <a:gd name="connsiteX31" fmla="*/ 11199600 w 11199600"/>
              <a:gd name="connsiteY31" fmla="*/ 1290764 h 5920067"/>
              <a:gd name="connsiteX32" fmla="*/ 11199600 w 11199600"/>
              <a:gd name="connsiteY32" fmla="*/ 1299618 h 5920067"/>
              <a:gd name="connsiteX33" fmla="*/ 11199600 w 11199600"/>
              <a:gd name="connsiteY33" fmla="*/ 1319239 h 5920067"/>
              <a:gd name="connsiteX34" fmla="*/ 11199600 w 11199600"/>
              <a:gd name="connsiteY34" fmla="*/ 1320462 h 5920067"/>
              <a:gd name="connsiteX35" fmla="*/ 11199600 w 11199600"/>
              <a:gd name="connsiteY35" fmla="*/ 1320646 h 5920067"/>
              <a:gd name="connsiteX36" fmla="*/ 11199600 w 11199600"/>
              <a:gd name="connsiteY36" fmla="*/ 1349128 h 5920067"/>
              <a:gd name="connsiteX37" fmla="*/ 11199600 w 11199600"/>
              <a:gd name="connsiteY37" fmla="*/ 1377296 h 5920067"/>
              <a:gd name="connsiteX38" fmla="*/ 11199600 w 11199600"/>
              <a:gd name="connsiteY38" fmla="*/ 1391616 h 5920067"/>
              <a:gd name="connsiteX39" fmla="*/ 11199600 w 11199600"/>
              <a:gd name="connsiteY39" fmla="*/ 1396135 h 5920067"/>
              <a:gd name="connsiteX40" fmla="*/ 11199600 w 11199600"/>
              <a:gd name="connsiteY40" fmla="*/ 1429106 h 5920067"/>
              <a:gd name="connsiteX41" fmla="*/ 11199600 w 11199600"/>
              <a:gd name="connsiteY41" fmla="*/ 1474898 h 5920067"/>
              <a:gd name="connsiteX42" fmla="*/ 11199600 w 11199600"/>
              <a:gd name="connsiteY42" fmla="*/ 1477087 h 5920067"/>
              <a:gd name="connsiteX43" fmla="*/ 11199600 w 11199600"/>
              <a:gd name="connsiteY43" fmla="*/ 1483429 h 5920067"/>
              <a:gd name="connsiteX44" fmla="*/ 11199600 w 11199600"/>
              <a:gd name="connsiteY44" fmla="*/ 1529819 h 5920067"/>
              <a:gd name="connsiteX45" fmla="*/ 11199600 w 11199600"/>
              <a:gd name="connsiteY45" fmla="*/ 1569177 h 5920067"/>
              <a:gd name="connsiteX46" fmla="*/ 11199600 w 11199600"/>
              <a:gd name="connsiteY46" fmla="*/ 1583173 h 5920067"/>
              <a:gd name="connsiteX47" fmla="*/ 11199600 w 11199600"/>
              <a:gd name="connsiteY47" fmla="*/ 1594702 h 5920067"/>
              <a:gd name="connsiteX48" fmla="*/ 11199600 w 11199600"/>
              <a:gd name="connsiteY48" fmla="*/ 1651536 h 5920067"/>
              <a:gd name="connsiteX49" fmla="*/ 11199600 w 11199600"/>
              <a:gd name="connsiteY49" fmla="*/ 1670375 h 5920067"/>
              <a:gd name="connsiteX50" fmla="*/ 11199600 w 11199600"/>
              <a:gd name="connsiteY50" fmla="*/ 1696199 h 5920067"/>
              <a:gd name="connsiteX51" fmla="*/ 11199600 w 11199600"/>
              <a:gd name="connsiteY51" fmla="*/ 1757669 h 5920067"/>
              <a:gd name="connsiteX52" fmla="*/ 11199600 w 11199600"/>
              <a:gd name="connsiteY52" fmla="*/ 1779318 h 5920067"/>
              <a:gd name="connsiteX53" fmla="*/ 11199600 w 11199600"/>
              <a:gd name="connsiteY53" fmla="*/ 1823335 h 5920067"/>
              <a:gd name="connsiteX54" fmla="*/ 11199600 w 11199600"/>
              <a:gd name="connsiteY54" fmla="*/ 1843417 h 5920067"/>
              <a:gd name="connsiteX55" fmla="*/ 11199600 w 11199600"/>
              <a:gd name="connsiteY55" fmla="*/ 1857413 h 5920067"/>
              <a:gd name="connsiteX56" fmla="*/ 11199600 w 11199600"/>
              <a:gd name="connsiteY56" fmla="*/ 1965413 h 5920067"/>
              <a:gd name="connsiteX57" fmla="*/ 11199600 w 11199600"/>
              <a:gd name="connsiteY57" fmla="*/ 1970439 h 5920067"/>
              <a:gd name="connsiteX58" fmla="*/ 11199600 w 11199600"/>
              <a:gd name="connsiteY58" fmla="*/ 2008551 h 5920067"/>
              <a:gd name="connsiteX59" fmla="*/ 11199600 w 11199600"/>
              <a:gd name="connsiteY59" fmla="*/ 2053558 h 5920067"/>
              <a:gd name="connsiteX60" fmla="*/ 11199600 w 11199600"/>
              <a:gd name="connsiteY60" fmla="*/ 2097575 h 5920067"/>
              <a:gd name="connsiteX61" fmla="*/ 11199600 w 11199600"/>
              <a:gd name="connsiteY61" fmla="*/ 2123261 h 5920067"/>
              <a:gd name="connsiteX62" fmla="*/ 11199600 w 11199600"/>
              <a:gd name="connsiteY62" fmla="*/ 2239653 h 5920067"/>
              <a:gd name="connsiteX63" fmla="*/ 11199600 w 11199600"/>
              <a:gd name="connsiteY63" fmla="*/ 2257705 h 5920067"/>
              <a:gd name="connsiteX64" fmla="*/ 11199600 w 11199600"/>
              <a:gd name="connsiteY64" fmla="*/ 2282791 h 5920067"/>
              <a:gd name="connsiteX65" fmla="*/ 11199600 w 11199600"/>
              <a:gd name="connsiteY65" fmla="*/ 2297710 h 5920067"/>
              <a:gd name="connsiteX66" fmla="*/ 11199600 w 11199600"/>
              <a:gd name="connsiteY66" fmla="*/ 2397501 h 5920067"/>
              <a:gd name="connsiteX67" fmla="*/ 11199600 w 11199600"/>
              <a:gd name="connsiteY67" fmla="*/ 2489591 h 5920067"/>
              <a:gd name="connsiteX68" fmla="*/ 11199600 w 11199600"/>
              <a:gd name="connsiteY68" fmla="*/ 2527610 h 5920067"/>
              <a:gd name="connsiteX69" fmla="*/ 11199600 w 11199600"/>
              <a:gd name="connsiteY69" fmla="*/ 2531945 h 5920067"/>
              <a:gd name="connsiteX70" fmla="*/ 11199600 w 11199600"/>
              <a:gd name="connsiteY70" fmla="*/ 2571950 h 5920067"/>
              <a:gd name="connsiteX71" fmla="*/ 11199600 w 11199600"/>
              <a:gd name="connsiteY71" fmla="*/ 2699732 h 5920067"/>
              <a:gd name="connsiteX72" fmla="*/ 11199600 w 11199600"/>
              <a:gd name="connsiteY72" fmla="*/ 2763831 h 5920067"/>
              <a:gd name="connsiteX73" fmla="*/ 11199600 w 11199600"/>
              <a:gd name="connsiteY73" fmla="*/ 2801851 h 5920067"/>
              <a:gd name="connsiteX74" fmla="*/ 11199600 w 11199600"/>
              <a:gd name="connsiteY74" fmla="*/ 2819097 h 5920067"/>
              <a:gd name="connsiteX75" fmla="*/ 11199600 w 11199600"/>
              <a:gd name="connsiteY75" fmla="*/ 2928965 h 5920067"/>
              <a:gd name="connsiteX76" fmla="*/ 11199600 w 11199600"/>
              <a:gd name="connsiteY76" fmla="*/ 2973972 h 5920067"/>
              <a:gd name="connsiteX77" fmla="*/ 11199600 w 11199600"/>
              <a:gd name="connsiteY77" fmla="*/ 3093337 h 5920067"/>
              <a:gd name="connsiteX78" fmla="*/ 11199600 w 11199600"/>
              <a:gd name="connsiteY78" fmla="*/ 3132995 h 5920067"/>
              <a:gd name="connsiteX79" fmla="*/ 11199600 w 11199600"/>
              <a:gd name="connsiteY79" fmla="*/ 3178119 h 5920067"/>
              <a:gd name="connsiteX80" fmla="*/ 11199600 w 11199600"/>
              <a:gd name="connsiteY80" fmla="*/ 3203205 h 5920067"/>
              <a:gd name="connsiteX81" fmla="*/ 11199600 w 11199600"/>
              <a:gd name="connsiteY81" fmla="*/ 3407236 h 5920067"/>
              <a:gd name="connsiteX82" fmla="*/ 11199600 w 11199600"/>
              <a:gd name="connsiteY82" fmla="*/ 3448024 h 5920067"/>
              <a:gd name="connsiteX83" fmla="*/ 11199600 w 11199600"/>
              <a:gd name="connsiteY83" fmla="*/ 3452359 h 5920067"/>
              <a:gd name="connsiteX84" fmla="*/ 11199600 w 11199600"/>
              <a:gd name="connsiteY84" fmla="*/ 3470135 h 5920067"/>
              <a:gd name="connsiteX85" fmla="*/ 11199600 w 11199600"/>
              <a:gd name="connsiteY85" fmla="*/ 3722265 h 5920067"/>
              <a:gd name="connsiteX86" fmla="*/ 11199600 w 11199600"/>
              <a:gd name="connsiteY86" fmla="*/ 3739511 h 5920067"/>
              <a:gd name="connsiteX87" fmla="*/ 11199600 w 11199600"/>
              <a:gd name="connsiteY87" fmla="*/ 3744375 h 5920067"/>
              <a:gd name="connsiteX88" fmla="*/ 11199600 w 11199600"/>
              <a:gd name="connsiteY88" fmla="*/ 3831346 h 5920067"/>
              <a:gd name="connsiteX89" fmla="*/ 11199600 w 11199600"/>
              <a:gd name="connsiteY89" fmla="*/ 4013751 h 5920067"/>
              <a:gd name="connsiteX90" fmla="*/ 11199600 w 11199600"/>
              <a:gd name="connsiteY90" fmla="*/ 4053409 h 5920067"/>
              <a:gd name="connsiteX91" fmla="*/ 11199600 w 11199600"/>
              <a:gd name="connsiteY91" fmla="*/ 4105586 h 5920067"/>
              <a:gd name="connsiteX92" fmla="*/ 11199600 w 11199600"/>
              <a:gd name="connsiteY92" fmla="*/ 4217459 h 5920067"/>
              <a:gd name="connsiteX93" fmla="*/ 11199600 w 11199600"/>
              <a:gd name="connsiteY93" fmla="*/ 4327650 h 5920067"/>
              <a:gd name="connsiteX94" fmla="*/ 11199600 w 11199600"/>
              <a:gd name="connsiteY94" fmla="*/ 4390549 h 5920067"/>
              <a:gd name="connsiteX95" fmla="*/ 11199600 w 11199600"/>
              <a:gd name="connsiteY95" fmla="*/ 4491699 h 5920067"/>
              <a:gd name="connsiteX96" fmla="*/ 11199600 w 11199600"/>
              <a:gd name="connsiteY96" fmla="*/ 4629303 h 5920067"/>
              <a:gd name="connsiteX97" fmla="*/ 11199600 w 11199600"/>
              <a:gd name="connsiteY97" fmla="*/ 4664789 h 5920067"/>
              <a:gd name="connsiteX98" fmla="*/ 11199600 w 11199600"/>
              <a:gd name="connsiteY98" fmla="*/ 4751760 h 5920067"/>
              <a:gd name="connsiteX99" fmla="*/ 11199600 w 11199600"/>
              <a:gd name="connsiteY99" fmla="*/ 4903543 h 5920067"/>
              <a:gd name="connsiteX100" fmla="*/ 11199600 w 11199600"/>
              <a:gd name="connsiteY100" fmla="*/ 5026000 h 5920067"/>
              <a:gd name="connsiteX101" fmla="*/ 11199600 w 11199600"/>
              <a:gd name="connsiteY101" fmla="*/ 5137873 h 5920067"/>
              <a:gd name="connsiteX102" fmla="*/ 11199600 w 11199600"/>
              <a:gd name="connsiteY102" fmla="*/ 5412113 h 5920067"/>
              <a:gd name="connsiteX103" fmla="*/ 11199600 w 11199600"/>
              <a:gd name="connsiteY103" fmla="*/ 5549717 h 5920067"/>
              <a:gd name="connsiteX104" fmla="*/ 11199600 w 11199600"/>
              <a:gd name="connsiteY104" fmla="*/ 5823957 h 5920067"/>
              <a:gd name="connsiteX105" fmla="*/ 11103603 w 11199600"/>
              <a:gd name="connsiteY105" fmla="*/ 5920067 h 5920067"/>
              <a:gd name="connsiteX106" fmla="*/ 95997 w 11199600"/>
              <a:gd name="connsiteY106" fmla="*/ 5920067 h 5920067"/>
              <a:gd name="connsiteX107" fmla="*/ 0 w 11199600"/>
              <a:gd name="connsiteY107" fmla="*/ 5823957 h 5920067"/>
              <a:gd name="connsiteX108" fmla="*/ 0 w 11199600"/>
              <a:gd name="connsiteY108" fmla="*/ 5820222 h 5920067"/>
              <a:gd name="connsiteX109" fmla="*/ 0 w 11199600"/>
              <a:gd name="connsiteY109" fmla="*/ 5811351 h 5920067"/>
              <a:gd name="connsiteX110" fmla="*/ 0 w 11199600"/>
              <a:gd name="connsiteY110" fmla="*/ 5794075 h 5920067"/>
              <a:gd name="connsiteX111" fmla="*/ 0 w 11199600"/>
              <a:gd name="connsiteY111" fmla="*/ 5765594 h 5920067"/>
              <a:gd name="connsiteX112" fmla="*/ 0 w 11199600"/>
              <a:gd name="connsiteY112" fmla="*/ 5723106 h 5920067"/>
              <a:gd name="connsiteX113" fmla="*/ 0 w 11199600"/>
              <a:gd name="connsiteY113" fmla="*/ 5663809 h 5920067"/>
              <a:gd name="connsiteX114" fmla="*/ 0 w 11199600"/>
              <a:gd name="connsiteY114" fmla="*/ 5584902 h 5920067"/>
              <a:gd name="connsiteX115" fmla="*/ 0 w 11199600"/>
              <a:gd name="connsiteY115" fmla="*/ 5549717 h 5920067"/>
              <a:gd name="connsiteX116" fmla="*/ 0 w 11199600"/>
              <a:gd name="connsiteY116" fmla="*/ 5548611 h 5920067"/>
              <a:gd name="connsiteX117" fmla="*/ 0 w 11199600"/>
              <a:gd name="connsiteY117" fmla="*/ 5540863 h 5920067"/>
              <a:gd name="connsiteX118" fmla="*/ 0 w 11199600"/>
              <a:gd name="connsiteY118" fmla="*/ 5520020 h 5920067"/>
              <a:gd name="connsiteX119" fmla="*/ 0 w 11199600"/>
              <a:gd name="connsiteY119" fmla="*/ 5519835 h 5920067"/>
              <a:gd name="connsiteX120" fmla="*/ 0 w 11199600"/>
              <a:gd name="connsiteY120" fmla="*/ 5478886 h 5920067"/>
              <a:gd name="connsiteX121" fmla="*/ 0 w 11199600"/>
              <a:gd name="connsiteY121" fmla="*/ 5448866 h 5920067"/>
              <a:gd name="connsiteX122" fmla="*/ 0 w 11199600"/>
              <a:gd name="connsiteY122" fmla="*/ 5444347 h 5920067"/>
              <a:gd name="connsiteX123" fmla="*/ 0 w 11199600"/>
              <a:gd name="connsiteY123" fmla="*/ 5411375 h 5920067"/>
              <a:gd name="connsiteX124" fmla="*/ 0 w 11199600"/>
              <a:gd name="connsiteY124" fmla="*/ 5365584 h 5920067"/>
              <a:gd name="connsiteX125" fmla="*/ 0 w 11199600"/>
              <a:gd name="connsiteY125" fmla="*/ 5357053 h 5920067"/>
              <a:gd name="connsiteX126" fmla="*/ 0 w 11199600"/>
              <a:gd name="connsiteY126" fmla="*/ 5310662 h 5920067"/>
              <a:gd name="connsiteX127" fmla="*/ 0 w 11199600"/>
              <a:gd name="connsiteY127" fmla="*/ 5257308 h 5920067"/>
              <a:gd name="connsiteX128" fmla="*/ 0 w 11199600"/>
              <a:gd name="connsiteY128" fmla="*/ 5245780 h 5920067"/>
              <a:gd name="connsiteX129" fmla="*/ 0 w 11199600"/>
              <a:gd name="connsiteY129" fmla="*/ 5170107 h 5920067"/>
              <a:gd name="connsiteX130" fmla="*/ 0 w 11199600"/>
              <a:gd name="connsiteY130" fmla="*/ 5144283 h 5920067"/>
              <a:gd name="connsiteX131" fmla="*/ 0 w 11199600"/>
              <a:gd name="connsiteY131" fmla="*/ 5082813 h 5920067"/>
              <a:gd name="connsiteX132" fmla="*/ 0 w 11199600"/>
              <a:gd name="connsiteY132" fmla="*/ 5017146 h 5920067"/>
              <a:gd name="connsiteX133" fmla="*/ 0 w 11199600"/>
              <a:gd name="connsiteY133" fmla="*/ 4983068 h 5920067"/>
              <a:gd name="connsiteX134" fmla="*/ 0 w 11199600"/>
              <a:gd name="connsiteY134" fmla="*/ 4903543 h 5920067"/>
              <a:gd name="connsiteX135" fmla="*/ 0 w 11199600"/>
              <a:gd name="connsiteY135" fmla="*/ 4899808 h 5920067"/>
              <a:gd name="connsiteX136" fmla="*/ 0 w 11199600"/>
              <a:gd name="connsiteY136" fmla="*/ 4890937 h 5920067"/>
              <a:gd name="connsiteX137" fmla="*/ 0 w 11199600"/>
              <a:gd name="connsiteY137" fmla="*/ 4875069 h 5920067"/>
              <a:gd name="connsiteX138" fmla="*/ 0 w 11199600"/>
              <a:gd name="connsiteY138" fmla="*/ 4873661 h 5920067"/>
              <a:gd name="connsiteX139" fmla="*/ 0 w 11199600"/>
              <a:gd name="connsiteY139" fmla="*/ 4870043 h 5920067"/>
              <a:gd name="connsiteX140" fmla="*/ 0 w 11199600"/>
              <a:gd name="connsiteY140" fmla="*/ 4845180 h 5920067"/>
              <a:gd name="connsiteX141" fmla="*/ 0 w 11199600"/>
              <a:gd name="connsiteY141" fmla="*/ 4802692 h 5920067"/>
              <a:gd name="connsiteX142" fmla="*/ 0 w 11199600"/>
              <a:gd name="connsiteY142" fmla="*/ 4743395 h 5920067"/>
              <a:gd name="connsiteX143" fmla="*/ 0 w 11199600"/>
              <a:gd name="connsiteY143" fmla="*/ 4742906 h 5920067"/>
              <a:gd name="connsiteX144" fmla="*/ 0 w 11199600"/>
              <a:gd name="connsiteY144" fmla="*/ 4717221 h 5920067"/>
              <a:gd name="connsiteX145" fmla="*/ 0 w 11199600"/>
              <a:gd name="connsiteY145" fmla="*/ 4664488 h 5920067"/>
              <a:gd name="connsiteX146" fmla="*/ 0 w 11199600"/>
              <a:gd name="connsiteY146" fmla="*/ 4629303 h 5920067"/>
              <a:gd name="connsiteX147" fmla="*/ 0 w 11199600"/>
              <a:gd name="connsiteY147" fmla="*/ 4628197 h 5920067"/>
              <a:gd name="connsiteX148" fmla="*/ 0 w 11199600"/>
              <a:gd name="connsiteY148" fmla="*/ 4620449 h 5920067"/>
              <a:gd name="connsiteX149" fmla="*/ 0 w 11199600"/>
              <a:gd name="connsiteY149" fmla="*/ 4600829 h 5920067"/>
              <a:gd name="connsiteX150" fmla="*/ 0 w 11199600"/>
              <a:gd name="connsiteY150" fmla="*/ 4599606 h 5920067"/>
              <a:gd name="connsiteX151" fmla="*/ 0 w 11199600"/>
              <a:gd name="connsiteY151" fmla="*/ 4599421 h 5920067"/>
              <a:gd name="connsiteX152" fmla="*/ 0 w 11199600"/>
              <a:gd name="connsiteY152" fmla="*/ 4558472 h 5920067"/>
              <a:gd name="connsiteX153" fmla="*/ 0 w 11199600"/>
              <a:gd name="connsiteY153" fmla="*/ 4542771 h 5920067"/>
              <a:gd name="connsiteX154" fmla="*/ 0 w 11199600"/>
              <a:gd name="connsiteY154" fmla="*/ 4528452 h 5920067"/>
              <a:gd name="connsiteX155" fmla="*/ 0 w 11199600"/>
              <a:gd name="connsiteY155" fmla="*/ 4523933 h 5920067"/>
              <a:gd name="connsiteX156" fmla="*/ 0 w 11199600"/>
              <a:gd name="connsiteY156" fmla="*/ 4490961 h 5920067"/>
              <a:gd name="connsiteX157" fmla="*/ 0 w 11199600"/>
              <a:gd name="connsiteY157" fmla="*/ 4445170 h 5920067"/>
              <a:gd name="connsiteX158" fmla="*/ 0 w 11199600"/>
              <a:gd name="connsiteY158" fmla="*/ 4442981 h 5920067"/>
              <a:gd name="connsiteX159" fmla="*/ 0 w 11199600"/>
              <a:gd name="connsiteY159" fmla="*/ 4436639 h 5920067"/>
              <a:gd name="connsiteX160" fmla="*/ 0 w 11199600"/>
              <a:gd name="connsiteY160" fmla="*/ 4390248 h 5920067"/>
              <a:gd name="connsiteX161" fmla="*/ 0 w 11199600"/>
              <a:gd name="connsiteY161" fmla="*/ 4350891 h 5920067"/>
              <a:gd name="connsiteX162" fmla="*/ 0 w 11199600"/>
              <a:gd name="connsiteY162" fmla="*/ 4336894 h 5920067"/>
              <a:gd name="connsiteX163" fmla="*/ 0 w 11199600"/>
              <a:gd name="connsiteY163" fmla="*/ 4325366 h 5920067"/>
              <a:gd name="connsiteX164" fmla="*/ 0 w 11199600"/>
              <a:gd name="connsiteY164" fmla="*/ 4268531 h 5920067"/>
              <a:gd name="connsiteX165" fmla="*/ 0 w 11199600"/>
              <a:gd name="connsiteY165" fmla="*/ 4249693 h 5920067"/>
              <a:gd name="connsiteX166" fmla="*/ 0 w 11199600"/>
              <a:gd name="connsiteY166" fmla="*/ 4223869 h 5920067"/>
              <a:gd name="connsiteX167" fmla="*/ 0 w 11199600"/>
              <a:gd name="connsiteY167" fmla="*/ 4162399 h 5920067"/>
              <a:gd name="connsiteX168" fmla="*/ 0 w 11199600"/>
              <a:gd name="connsiteY168" fmla="*/ 4140749 h 5920067"/>
              <a:gd name="connsiteX169" fmla="*/ 0 w 11199600"/>
              <a:gd name="connsiteY169" fmla="*/ 4096732 h 5920067"/>
              <a:gd name="connsiteX170" fmla="*/ 0 w 11199600"/>
              <a:gd name="connsiteY170" fmla="*/ 4076651 h 5920067"/>
              <a:gd name="connsiteX171" fmla="*/ 0 w 11199600"/>
              <a:gd name="connsiteY171" fmla="*/ 4062654 h 5920067"/>
              <a:gd name="connsiteX172" fmla="*/ 0 w 11199600"/>
              <a:gd name="connsiteY172" fmla="*/ 3954655 h 5920067"/>
              <a:gd name="connsiteX173" fmla="*/ 0 w 11199600"/>
              <a:gd name="connsiteY173" fmla="*/ 3949629 h 5920067"/>
              <a:gd name="connsiteX174" fmla="*/ 0 w 11199600"/>
              <a:gd name="connsiteY174" fmla="*/ 3911516 h 5920067"/>
              <a:gd name="connsiteX175" fmla="*/ 0 w 11199600"/>
              <a:gd name="connsiteY175" fmla="*/ 3866509 h 5920067"/>
              <a:gd name="connsiteX176" fmla="*/ 0 w 11199600"/>
              <a:gd name="connsiteY176" fmla="*/ 3822492 h 5920067"/>
              <a:gd name="connsiteX177" fmla="*/ 0 w 11199600"/>
              <a:gd name="connsiteY177" fmla="*/ 3796807 h 5920067"/>
              <a:gd name="connsiteX178" fmla="*/ 0 w 11199600"/>
              <a:gd name="connsiteY178" fmla="*/ 3680415 h 5920067"/>
              <a:gd name="connsiteX179" fmla="*/ 0 w 11199600"/>
              <a:gd name="connsiteY179" fmla="*/ 3662362 h 5920067"/>
              <a:gd name="connsiteX180" fmla="*/ 0 w 11199600"/>
              <a:gd name="connsiteY180" fmla="*/ 3637276 h 5920067"/>
              <a:gd name="connsiteX181" fmla="*/ 0 w 11199600"/>
              <a:gd name="connsiteY181" fmla="*/ 3622357 h 5920067"/>
              <a:gd name="connsiteX182" fmla="*/ 0 w 11199600"/>
              <a:gd name="connsiteY182" fmla="*/ 3522567 h 5920067"/>
              <a:gd name="connsiteX183" fmla="*/ 0 w 11199600"/>
              <a:gd name="connsiteY183" fmla="*/ 3430477 h 5920067"/>
              <a:gd name="connsiteX184" fmla="*/ 0 w 11199600"/>
              <a:gd name="connsiteY184" fmla="*/ 3392457 h 5920067"/>
              <a:gd name="connsiteX185" fmla="*/ 0 w 11199600"/>
              <a:gd name="connsiteY185" fmla="*/ 3388122 h 5920067"/>
              <a:gd name="connsiteX186" fmla="*/ 0 w 11199600"/>
              <a:gd name="connsiteY186" fmla="*/ 3348117 h 5920067"/>
              <a:gd name="connsiteX187" fmla="*/ 0 w 11199600"/>
              <a:gd name="connsiteY187" fmla="*/ 3220335 h 5920067"/>
              <a:gd name="connsiteX188" fmla="*/ 0 w 11199600"/>
              <a:gd name="connsiteY188" fmla="*/ 3156237 h 5920067"/>
              <a:gd name="connsiteX189" fmla="*/ 0 w 11199600"/>
              <a:gd name="connsiteY189" fmla="*/ 3118217 h 5920067"/>
              <a:gd name="connsiteX190" fmla="*/ 0 w 11199600"/>
              <a:gd name="connsiteY190" fmla="*/ 3100970 h 5920067"/>
              <a:gd name="connsiteX191" fmla="*/ 0 w 11199600"/>
              <a:gd name="connsiteY191" fmla="*/ 2991102 h 5920067"/>
              <a:gd name="connsiteX192" fmla="*/ 0 w 11199600"/>
              <a:gd name="connsiteY192" fmla="*/ 2946095 h 5920067"/>
              <a:gd name="connsiteX193" fmla="*/ 0 w 11199600"/>
              <a:gd name="connsiteY193" fmla="*/ 2826730 h 5920067"/>
              <a:gd name="connsiteX194" fmla="*/ 0 w 11199600"/>
              <a:gd name="connsiteY194" fmla="*/ 2787072 h 5920067"/>
              <a:gd name="connsiteX195" fmla="*/ 0 w 11199600"/>
              <a:gd name="connsiteY195" fmla="*/ 2741948 h 5920067"/>
              <a:gd name="connsiteX196" fmla="*/ 0 w 11199600"/>
              <a:gd name="connsiteY196" fmla="*/ 2716862 h 5920067"/>
              <a:gd name="connsiteX197" fmla="*/ 0 w 11199600"/>
              <a:gd name="connsiteY197" fmla="*/ 2512832 h 5920067"/>
              <a:gd name="connsiteX198" fmla="*/ 0 w 11199600"/>
              <a:gd name="connsiteY198" fmla="*/ 2472043 h 5920067"/>
              <a:gd name="connsiteX199" fmla="*/ 0 w 11199600"/>
              <a:gd name="connsiteY199" fmla="*/ 2467708 h 5920067"/>
              <a:gd name="connsiteX200" fmla="*/ 0 w 11199600"/>
              <a:gd name="connsiteY200" fmla="*/ 2449933 h 5920067"/>
              <a:gd name="connsiteX201" fmla="*/ 0 w 11199600"/>
              <a:gd name="connsiteY201" fmla="*/ 2197803 h 5920067"/>
              <a:gd name="connsiteX202" fmla="*/ 0 w 11199600"/>
              <a:gd name="connsiteY202" fmla="*/ 2180556 h 5920067"/>
              <a:gd name="connsiteX203" fmla="*/ 0 w 11199600"/>
              <a:gd name="connsiteY203" fmla="*/ 2175692 h 5920067"/>
              <a:gd name="connsiteX204" fmla="*/ 0 w 11199600"/>
              <a:gd name="connsiteY204" fmla="*/ 2088721 h 5920067"/>
              <a:gd name="connsiteX205" fmla="*/ 0 w 11199600"/>
              <a:gd name="connsiteY205" fmla="*/ 1906316 h 5920067"/>
              <a:gd name="connsiteX206" fmla="*/ 0 w 11199600"/>
              <a:gd name="connsiteY206" fmla="*/ 1866658 h 5920067"/>
              <a:gd name="connsiteX207" fmla="*/ 0 w 11199600"/>
              <a:gd name="connsiteY207" fmla="*/ 1814481 h 5920067"/>
              <a:gd name="connsiteX208" fmla="*/ 0 w 11199600"/>
              <a:gd name="connsiteY208" fmla="*/ 1702609 h 5920067"/>
              <a:gd name="connsiteX209" fmla="*/ 0 w 11199600"/>
              <a:gd name="connsiteY209" fmla="*/ 1592418 h 5920067"/>
              <a:gd name="connsiteX210" fmla="*/ 0 w 11199600"/>
              <a:gd name="connsiteY210" fmla="*/ 1529519 h 5920067"/>
              <a:gd name="connsiteX211" fmla="*/ 0 w 11199600"/>
              <a:gd name="connsiteY211" fmla="*/ 1428369 h 5920067"/>
              <a:gd name="connsiteX212" fmla="*/ 0 w 11199600"/>
              <a:gd name="connsiteY212" fmla="*/ 1290764 h 5920067"/>
              <a:gd name="connsiteX213" fmla="*/ 0 w 11199600"/>
              <a:gd name="connsiteY213" fmla="*/ 1255278 h 5920067"/>
              <a:gd name="connsiteX214" fmla="*/ 0 w 11199600"/>
              <a:gd name="connsiteY214" fmla="*/ 1168307 h 5920067"/>
              <a:gd name="connsiteX215" fmla="*/ 0 w 11199600"/>
              <a:gd name="connsiteY215" fmla="*/ 1016524 h 5920067"/>
              <a:gd name="connsiteX216" fmla="*/ 0 w 11199600"/>
              <a:gd name="connsiteY216" fmla="*/ 894067 h 5920067"/>
              <a:gd name="connsiteX217" fmla="*/ 0 w 11199600"/>
              <a:gd name="connsiteY217" fmla="*/ 782195 h 5920067"/>
              <a:gd name="connsiteX218" fmla="*/ 0 w 11199600"/>
              <a:gd name="connsiteY218" fmla="*/ 507955 h 5920067"/>
              <a:gd name="connsiteX219" fmla="*/ 0 w 11199600"/>
              <a:gd name="connsiteY219" fmla="*/ 370350 h 5920067"/>
              <a:gd name="connsiteX220" fmla="*/ 0 w 11199600"/>
              <a:gd name="connsiteY220" fmla="*/ 96110 h 5920067"/>
              <a:gd name="connsiteX221" fmla="*/ 95997 w 11199600"/>
              <a:gd name="connsiteY221" fmla="*/ 0 h 59200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</a:cxnLst>
            <a:rect l="l" t="t" r="r" b="b"/>
            <a:pathLst>
              <a:path w="11199600" h="5920067">
                <a:moveTo>
                  <a:pt x="95997" y="0"/>
                </a:moveTo>
                <a:lnTo>
                  <a:pt x="11103603" y="0"/>
                </a:lnTo>
                <a:cubicBezTo>
                  <a:pt x="11199600" y="0"/>
                  <a:pt x="11199600" y="96110"/>
                  <a:pt x="11199600" y="96110"/>
                </a:cubicBezTo>
                <a:cubicBezTo>
                  <a:pt x="11199600" y="96110"/>
                  <a:pt x="11199600" y="96110"/>
                  <a:pt x="11199600" y="335165"/>
                </a:cubicBezTo>
                <a:lnTo>
                  <a:pt x="11199600" y="370350"/>
                </a:lnTo>
                <a:cubicBezTo>
                  <a:pt x="11199600" y="370350"/>
                  <a:pt x="11199600" y="370350"/>
                  <a:pt x="11199600" y="379204"/>
                </a:cubicBezTo>
                <a:lnTo>
                  <a:pt x="11199600" y="400048"/>
                </a:lnTo>
                <a:lnTo>
                  <a:pt x="11199600" y="400232"/>
                </a:lnTo>
                <a:cubicBezTo>
                  <a:pt x="11199600" y="415173"/>
                  <a:pt x="11199600" y="437585"/>
                  <a:pt x="11199600" y="471202"/>
                </a:cubicBezTo>
                <a:lnTo>
                  <a:pt x="11199600" y="475721"/>
                </a:lnTo>
                <a:lnTo>
                  <a:pt x="11199600" y="508692"/>
                </a:lnTo>
                <a:cubicBezTo>
                  <a:pt x="11199600" y="522527"/>
                  <a:pt x="11199600" y="537744"/>
                  <a:pt x="11199600" y="554484"/>
                </a:cubicBezTo>
                <a:lnTo>
                  <a:pt x="11199600" y="563015"/>
                </a:lnTo>
                <a:lnTo>
                  <a:pt x="11199600" y="609405"/>
                </a:lnTo>
                <a:lnTo>
                  <a:pt x="11199600" y="662759"/>
                </a:lnTo>
                <a:lnTo>
                  <a:pt x="11199600" y="674288"/>
                </a:lnTo>
                <a:cubicBezTo>
                  <a:pt x="11199600" y="697668"/>
                  <a:pt x="11199600" y="722846"/>
                  <a:pt x="11199600" y="749961"/>
                </a:cubicBezTo>
                <a:lnTo>
                  <a:pt x="11199600" y="775785"/>
                </a:lnTo>
                <a:lnTo>
                  <a:pt x="11199600" y="837255"/>
                </a:lnTo>
                <a:lnTo>
                  <a:pt x="11199600" y="902921"/>
                </a:lnTo>
                <a:lnTo>
                  <a:pt x="11199600" y="936999"/>
                </a:lnTo>
                <a:lnTo>
                  <a:pt x="11199600" y="1016524"/>
                </a:lnTo>
                <a:cubicBezTo>
                  <a:pt x="11199600" y="1016524"/>
                  <a:pt x="11199600" y="1016524"/>
                  <a:pt x="11199600" y="1029131"/>
                </a:cubicBezTo>
                <a:lnTo>
                  <a:pt x="11199600" y="1044999"/>
                </a:lnTo>
                <a:lnTo>
                  <a:pt x="11199600" y="1046406"/>
                </a:lnTo>
                <a:lnTo>
                  <a:pt x="11199600" y="1050025"/>
                </a:lnTo>
                <a:lnTo>
                  <a:pt x="11199600" y="1074887"/>
                </a:lnTo>
                <a:cubicBezTo>
                  <a:pt x="11199600" y="1098232"/>
                  <a:pt x="11199600" y="1130916"/>
                  <a:pt x="11199600" y="1176672"/>
                </a:cubicBezTo>
                <a:lnTo>
                  <a:pt x="11199600" y="1177161"/>
                </a:lnTo>
                <a:lnTo>
                  <a:pt x="11199600" y="1202847"/>
                </a:lnTo>
                <a:lnTo>
                  <a:pt x="11199600" y="1255579"/>
                </a:lnTo>
                <a:lnTo>
                  <a:pt x="11199600" y="1290764"/>
                </a:lnTo>
                <a:cubicBezTo>
                  <a:pt x="11199600" y="1290764"/>
                  <a:pt x="11199600" y="1290764"/>
                  <a:pt x="11199600" y="1299618"/>
                </a:cubicBezTo>
                <a:lnTo>
                  <a:pt x="11199600" y="1319239"/>
                </a:lnTo>
                <a:lnTo>
                  <a:pt x="11199600" y="1320462"/>
                </a:lnTo>
                <a:lnTo>
                  <a:pt x="11199600" y="1320646"/>
                </a:lnTo>
                <a:cubicBezTo>
                  <a:pt x="11199600" y="1328117"/>
                  <a:pt x="11199600" y="1337455"/>
                  <a:pt x="11199600" y="1349128"/>
                </a:cubicBezTo>
                <a:lnTo>
                  <a:pt x="11199600" y="1377296"/>
                </a:lnTo>
                <a:lnTo>
                  <a:pt x="11199600" y="1391616"/>
                </a:lnTo>
                <a:lnTo>
                  <a:pt x="11199600" y="1396135"/>
                </a:lnTo>
                <a:lnTo>
                  <a:pt x="11199600" y="1429106"/>
                </a:lnTo>
                <a:cubicBezTo>
                  <a:pt x="11199600" y="1442941"/>
                  <a:pt x="11199600" y="1458158"/>
                  <a:pt x="11199600" y="1474898"/>
                </a:cubicBezTo>
                <a:lnTo>
                  <a:pt x="11199600" y="1477087"/>
                </a:lnTo>
                <a:lnTo>
                  <a:pt x="11199600" y="1483429"/>
                </a:lnTo>
                <a:lnTo>
                  <a:pt x="11199600" y="1529819"/>
                </a:lnTo>
                <a:lnTo>
                  <a:pt x="11199600" y="1569177"/>
                </a:lnTo>
                <a:lnTo>
                  <a:pt x="11199600" y="1583173"/>
                </a:lnTo>
                <a:lnTo>
                  <a:pt x="11199600" y="1594702"/>
                </a:lnTo>
                <a:lnTo>
                  <a:pt x="11199600" y="1651536"/>
                </a:lnTo>
                <a:lnTo>
                  <a:pt x="11199600" y="1670375"/>
                </a:lnTo>
                <a:lnTo>
                  <a:pt x="11199600" y="1696199"/>
                </a:lnTo>
                <a:lnTo>
                  <a:pt x="11199600" y="1757669"/>
                </a:lnTo>
                <a:lnTo>
                  <a:pt x="11199600" y="1779318"/>
                </a:lnTo>
                <a:lnTo>
                  <a:pt x="11199600" y="1823335"/>
                </a:lnTo>
                <a:lnTo>
                  <a:pt x="11199600" y="1843417"/>
                </a:lnTo>
                <a:lnTo>
                  <a:pt x="11199600" y="1857413"/>
                </a:lnTo>
                <a:lnTo>
                  <a:pt x="11199600" y="1965413"/>
                </a:lnTo>
                <a:lnTo>
                  <a:pt x="11199600" y="1970439"/>
                </a:lnTo>
                <a:lnTo>
                  <a:pt x="11199600" y="2008551"/>
                </a:lnTo>
                <a:lnTo>
                  <a:pt x="11199600" y="2053558"/>
                </a:lnTo>
                <a:lnTo>
                  <a:pt x="11199600" y="2097575"/>
                </a:lnTo>
                <a:lnTo>
                  <a:pt x="11199600" y="2123261"/>
                </a:lnTo>
                <a:lnTo>
                  <a:pt x="11199600" y="2239653"/>
                </a:lnTo>
                <a:lnTo>
                  <a:pt x="11199600" y="2257705"/>
                </a:lnTo>
                <a:lnTo>
                  <a:pt x="11199600" y="2282791"/>
                </a:lnTo>
                <a:lnTo>
                  <a:pt x="11199600" y="2297710"/>
                </a:lnTo>
                <a:lnTo>
                  <a:pt x="11199600" y="2397501"/>
                </a:lnTo>
                <a:lnTo>
                  <a:pt x="11199600" y="2489591"/>
                </a:lnTo>
                <a:lnTo>
                  <a:pt x="11199600" y="2527610"/>
                </a:lnTo>
                <a:lnTo>
                  <a:pt x="11199600" y="2531945"/>
                </a:lnTo>
                <a:lnTo>
                  <a:pt x="11199600" y="2571950"/>
                </a:lnTo>
                <a:lnTo>
                  <a:pt x="11199600" y="2699732"/>
                </a:lnTo>
                <a:lnTo>
                  <a:pt x="11199600" y="2763831"/>
                </a:lnTo>
                <a:lnTo>
                  <a:pt x="11199600" y="2801851"/>
                </a:lnTo>
                <a:lnTo>
                  <a:pt x="11199600" y="2819097"/>
                </a:lnTo>
                <a:lnTo>
                  <a:pt x="11199600" y="2928965"/>
                </a:lnTo>
                <a:lnTo>
                  <a:pt x="11199600" y="2973972"/>
                </a:lnTo>
                <a:lnTo>
                  <a:pt x="11199600" y="3093337"/>
                </a:lnTo>
                <a:lnTo>
                  <a:pt x="11199600" y="3132995"/>
                </a:lnTo>
                <a:lnTo>
                  <a:pt x="11199600" y="3178119"/>
                </a:lnTo>
                <a:lnTo>
                  <a:pt x="11199600" y="3203205"/>
                </a:lnTo>
                <a:lnTo>
                  <a:pt x="11199600" y="3407236"/>
                </a:lnTo>
                <a:lnTo>
                  <a:pt x="11199600" y="3448024"/>
                </a:lnTo>
                <a:lnTo>
                  <a:pt x="11199600" y="3452359"/>
                </a:lnTo>
                <a:lnTo>
                  <a:pt x="11199600" y="3470135"/>
                </a:lnTo>
                <a:lnTo>
                  <a:pt x="11199600" y="3722265"/>
                </a:lnTo>
                <a:lnTo>
                  <a:pt x="11199600" y="3739511"/>
                </a:lnTo>
                <a:lnTo>
                  <a:pt x="11199600" y="3744375"/>
                </a:lnTo>
                <a:lnTo>
                  <a:pt x="11199600" y="3831346"/>
                </a:lnTo>
                <a:lnTo>
                  <a:pt x="11199600" y="4013751"/>
                </a:lnTo>
                <a:lnTo>
                  <a:pt x="11199600" y="4053409"/>
                </a:lnTo>
                <a:lnTo>
                  <a:pt x="11199600" y="4105586"/>
                </a:lnTo>
                <a:lnTo>
                  <a:pt x="11199600" y="4217459"/>
                </a:lnTo>
                <a:lnTo>
                  <a:pt x="11199600" y="4327650"/>
                </a:lnTo>
                <a:lnTo>
                  <a:pt x="11199600" y="4390549"/>
                </a:lnTo>
                <a:lnTo>
                  <a:pt x="11199600" y="4491699"/>
                </a:lnTo>
                <a:lnTo>
                  <a:pt x="11199600" y="4629303"/>
                </a:lnTo>
                <a:lnTo>
                  <a:pt x="11199600" y="4664789"/>
                </a:lnTo>
                <a:lnTo>
                  <a:pt x="11199600" y="4751760"/>
                </a:lnTo>
                <a:lnTo>
                  <a:pt x="11199600" y="4903543"/>
                </a:lnTo>
                <a:lnTo>
                  <a:pt x="11199600" y="5026000"/>
                </a:lnTo>
                <a:lnTo>
                  <a:pt x="11199600" y="5137873"/>
                </a:lnTo>
                <a:lnTo>
                  <a:pt x="11199600" y="5412113"/>
                </a:lnTo>
                <a:lnTo>
                  <a:pt x="11199600" y="5549717"/>
                </a:lnTo>
                <a:lnTo>
                  <a:pt x="11199600" y="5823957"/>
                </a:lnTo>
                <a:cubicBezTo>
                  <a:pt x="11199600" y="5920067"/>
                  <a:pt x="11103603" y="5920067"/>
                  <a:pt x="11103603" y="5920067"/>
                </a:cubicBezTo>
                <a:cubicBezTo>
                  <a:pt x="11103603" y="5920067"/>
                  <a:pt x="11103603" y="5920067"/>
                  <a:pt x="95997" y="5920067"/>
                </a:cubicBezTo>
                <a:cubicBezTo>
                  <a:pt x="0" y="5920067"/>
                  <a:pt x="0" y="5823957"/>
                  <a:pt x="0" y="5823957"/>
                </a:cubicBezTo>
                <a:lnTo>
                  <a:pt x="0" y="5820222"/>
                </a:lnTo>
                <a:lnTo>
                  <a:pt x="0" y="5811351"/>
                </a:lnTo>
                <a:lnTo>
                  <a:pt x="0" y="5794075"/>
                </a:lnTo>
                <a:lnTo>
                  <a:pt x="0" y="5765594"/>
                </a:lnTo>
                <a:lnTo>
                  <a:pt x="0" y="5723106"/>
                </a:lnTo>
                <a:lnTo>
                  <a:pt x="0" y="5663809"/>
                </a:lnTo>
                <a:lnTo>
                  <a:pt x="0" y="5584902"/>
                </a:lnTo>
                <a:lnTo>
                  <a:pt x="0" y="5549717"/>
                </a:lnTo>
                <a:lnTo>
                  <a:pt x="0" y="5548611"/>
                </a:lnTo>
                <a:lnTo>
                  <a:pt x="0" y="5540863"/>
                </a:lnTo>
                <a:lnTo>
                  <a:pt x="0" y="5520020"/>
                </a:lnTo>
                <a:lnTo>
                  <a:pt x="0" y="5519835"/>
                </a:lnTo>
                <a:lnTo>
                  <a:pt x="0" y="5478886"/>
                </a:lnTo>
                <a:lnTo>
                  <a:pt x="0" y="5448866"/>
                </a:lnTo>
                <a:lnTo>
                  <a:pt x="0" y="5444347"/>
                </a:lnTo>
                <a:lnTo>
                  <a:pt x="0" y="5411375"/>
                </a:lnTo>
                <a:lnTo>
                  <a:pt x="0" y="5365584"/>
                </a:lnTo>
                <a:lnTo>
                  <a:pt x="0" y="5357053"/>
                </a:lnTo>
                <a:lnTo>
                  <a:pt x="0" y="5310662"/>
                </a:lnTo>
                <a:lnTo>
                  <a:pt x="0" y="5257308"/>
                </a:lnTo>
                <a:lnTo>
                  <a:pt x="0" y="5245780"/>
                </a:lnTo>
                <a:lnTo>
                  <a:pt x="0" y="5170107"/>
                </a:lnTo>
                <a:lnTo>
                  <a:pt x="0" y="5144283"/>
                </a:lnTo>
                <a:lnTo>
                  <a:pt x="0" y="5082813"/>
                </a:lnTo>
                <a:lnTo>
                  <a:pt x="0" y="5017146"/>
                </a:lnTo>
                <a:lnTo>
                  <a:pt x="0" y="4983068"/>
                </a:lnTo>
                <a:lnTo>
                  <a:pt x="0" y="4903543"/>
                </a:lnTo>
                <a:lnTo>
                  <a:pt x="0" y="4899808"/>
                </a:lnTo>
                <a:lnTo>
                  <a:pt x="0" y="4890937"/>
                </a:lnTo>
                <a:lnTo>
                  <a:pt x="0" y="4875069"/>
                </a:lnTo>
                <a:lnTo>
                  <a:pt x="0" y="4873661"/>
                </a:lnTo>
                <a:lnTo>
                  <a:pt x="0" y="4870043"/>
                </a:lnTo>
                <a:lnTo>
                  <a:pt x="0" y="4845180"/>
                </a:lnTo>
                <a:lnTo>
                  <a:pt x="0" y="4802692"/>
                </a:lnTo>
                <a:lnTo>
                  <a:pt x="0" y="4743395"/>
                </a:lnTo>
                <a:lnTo>
                  <a:pt x="0" y="4742906"/>
                </a:lnTo>
                <a:lnTo>
                  <a:pt x="0" y="4717221"/>
                </a:lnTo>
                <a:lnTo>
                  <a:pt x="0" y="4664488"/>
                </a:lnTo>
                <a:lnTo>
                  <a:pt x="0" y="4629303"/>
                </a:lnTo>
                <a:lnTo>
                  <a:pt x="0" y="4628197"/>
                </a:lnTo>
                <a:lnTo>
                  <a:pt x="0" y="4620449"/>
                </a:lnTo>
                <a:lnTo>
                  <a:pt x="0" y="4600829"/>
                </a:lnTo>
                <a:lnTo>
                  <a:pt x="0" y="4599606"/>
                </a:lnTo>
                <a:lnTo>
                  <a:pt x="0" y="4599421"/>
                </a:lnTo>
                <a:lnTo>
                  <a:pt x="0" y="4558472"/>
                </a:lnTo>
                <a:lnTo>
                  <a:pt x="0" y="4542771"/>
                </a:lnTo>
                <a:lnTo>
                  <a:pt x="0" y="4528452"/>
                </a:lnTo>
                <a:lnTo>
                  <a:pt x="0" y="4523933"/>
                </a:lnTo>
                <a:lnTo>
                  <a:pt x="0" y="4490961"/>
                </a:lnTo>
                <a:lnTo>
                  <a:pt x="0" y="4445170"/>
                </a:lnTo>
                <a:lnTo>
                  <a:pt x="0" y="4442981"/>
                </a:lnTo>
                <a:lnTo>
                  <a:pt x="0" y="4436639"/>
                </a:lnTo>
                <a:lnTo>
                  <a:pt x="0" y="4390248"/>
                </a:lnTo>
                <a:lnTo>
                  <a:pt x="0" y="4350891"/>
                </a:lnTo>
                <a:lnTo>
                  <a:pt x="0" y="4336894"/>
                </a:lnTo>
                <a:lnTo>
                  <a:pt x="0" y="4325366"/>
                </a:lnTo>
                <a:lnTo>
                  <a:pt x="0" y="4268531"/>
                </a:lnTo>
                <a:lnTo>
                  <a:pt x="0" y="4249693"/>
                </a:lnTo>
                <a:lnTo>
                  <a:pt x="0" y="4223869"/>
                </a:lnTo>
                <a:lnTo>
                  <a:pt x="0" y="4162399"/>
                </a:lnTo>
                <a:lnTo>
                  <a:pt x="0" y="4140749"/>
                </a:lnTo>
                <a:lnTo>
                  <a:pt x="0" y="4096732"/>
                </a:lnTo>
                <a:lnTo>
                  <a:pt x="0" y="4076651"/>
                </a:lnTo>
                <a:lnTo>
                  <a:pt x="0" y="4062654"/>
                </a:lnTo>
                <a:lnTo>
                  <a:pt x="0" y="3954655"/>
                </a:lnTo>
                <a:lnTo>
                  <a:pt x="0" y="3949629"/>
                </a:lnTo>
                <a:lnTo>
                  <a:pt x="0" y="3911516"/>
                </a:lnTo>
                <a:lnTo>
                  <a:pt x="0" y="3866509"/>
                </a:lnTo>
                <a:lnTo>
                  <a:pt x="0" y="3822492"/>
                </a:lnTo>
                <a:lnTo>
                  <a:pt x="0" y="3796807"/>
                </a:lnTo>
                <a:lnTo>
                  <a:pt x="0" y="3680415"/>
                </a:lnTo>
                <a:lnTo>
                  <a:pt x="0" y="3662362"/>
                </a:lnTo>
                <a:lnTo>
                  <a:pt x="0" y="3637276"/>
                </a:lnTo>
                <a:lnTo>
                  <a:pt x="0" y="3622357"/>
                </a:lnTo>
                <a:lnTo>
                  <a:pt x="0" y="3522567"/>
                </a:lnTo>
                <a:lnTo>
                  <a:pt x="0" y="3430477"/>
                </a:lnTo>
                <a:lnTo>
                  <a:pt x="0" y="3392457"/>
                </a:lnTo>
                <a:lnTo>
                  <a:pt x="0" y="3388122"/>
                </a:lnTo>
                <a:lnTo>
                  <a:pt x="0" y="3348117"/>
                </a:lnTo>
                <a:lnTo>
                  <a:pt x="0" y="3220335"/>
                </a:lnTo>
                <a:lnTo>
                  <a:pt x="0" y="3156237"/>
                </a:lnTo>
                <a:lnTo>
                  <a:pt x="0" y="3118217"/>
                </a:lnTo>
                <a:lnTo>
                  <a:pt x="0" y="3100970"/>
                </a:lnTo>
                <a:lnTo>
                  <a:pt x="0" y="2991102"/>
                </a:lnTo>
                <a:lnTo>
                  <a:pt x="0" y="2946095"/>
                </a:lnTo>
                <a:lnTo>
                  <a:pt x="0" y="2826730"/>
                </a:lnTo>
                <a:lnTo>
                  <a:pt x="0" y="2787072"/>
                </a:lnTo>
                <a:lnTo>
                  <a:pt x="0" y="2741948"/>
                </a:lnTo>
                <a:lnTo>
                  <a:pt x="0" y="2716862"/>
                </a:lnTo>
                <a:lnTo>
                  <a:pt x="0" y="2512832"/>
                </a:lnTo>
                <a:lnTo>
                  <a:pt x="0" y="2472043"/>
                </a:lnTo>
                <a:lnTo>
                  <a:pt x="0" y="2467708"/>
                </a:lnTo>
                <a:lnTo>
                  <a:pt x="0" y="2449933"/>
                </a:lnTo>
                <a:lnTo>
                  <a:pt x="0" y="2197803"/>
                </a:lnTo>
                <a:lnTo>
                  <a:pt x="0" y="2180556"/>
                </a:lnTo>
                <a:lnTo>
                  <a:pt x="0" y="2175692"/>
                </a:lnTo>
                <a:lnTo>
                  <a:pt x="0" y="2088721"/>
                </a:lnTo>
                <a:lnTo>
                  <a:pt x="0" y="1906316"/>
                </a:lnTo>
                <a:lnTo>
                  <a:pt x="0" y="1866658"/>
                </a:lnTo>
                <a:lnTo>
                  <a:pt x="0" y="1814481"/>
                </a:lnTo>
                <a:lnTo>
                  <a:pt x="0" y="1702609"/>
                </a:lnTo>
                <a:lnTo>
                  <a:pt x="0" y="1592418"/>
                </a:lnTo>
                <a:lnTo>
                  <a:pt x="0" y="1529519"/>
                </a:lnTo>
                <a:lnTo>
                  <a:pt x="0" y="1428369"/>
                </a:lnTo>
                <a:lnTo>
                  <a:pt x="0" y="1290764"/>
                </a:lnTo>
                <a:lnTo>
                  <a:pt x="0" y="1255278"/>
                </a:lnTo>
                <a:lnTo>
                  <a:pt x="0" y="1168307"/>
                </a:lnTo>
                <a:lnTo>
                  <a:pt x="0" y="1016524"/>
                </a:lnTo>
                <a:lnTo>
                  <a:pt x="0" y="894067"/>
                </a:lnTo>
                <a:lnTo>
                  <a:pt x="0" y="782195"/>
                </a:lnTo>
                <a:lnTo>
                  <a:pt x="0" y="507955"/>
                </a:lnTo>
                <a:lnTo>
                  <a:pt x="0" y="370350"/>
                </a:lnTo>
                <a:lnTo>
                  <a:pt x="0" y="96110"/>
                </a:lnTo>
                <a:cubicBezTo>
                  <a:pt x="0" y="0"/>
                  <a:pt x="95997" y="0"/>
                  <a:pt x="95997" y="0"/>
                </a:cubicBezTo>
                <a:close/>
              </a:path>
            </a:pathLst>
          </a:custGeom>
          <a:solidFill>
            <a:schemeClr val="bg2">
              <a:lumMod val="20000"/>
              <a:lumOff val="80000"/>
              <a:alpha val="10000"/>
            </a:schemeClr>
          </a:solidFill>
        </p:spPr>
        <p:txBody>
          <a:bodyPr wrap="square" lIns="3240000" tIns="36000" rIns="36000" bIns="36000" anchor="ctr" anchorCtr="0">
            <a:noAutofit/>
          </a:bodyPr>
          <a:lstStyle>
            <a:lvl1pPr algn="ctr">
              <a:defRPr sz="1400" b="0"/>
            </a:lvl1pPr>
          </a:lstStyle>
          <a:p>
            <a:r>
              <a:rPr lang="nl-NL" noProof="0" smtClean="0"/>
              <a:t>Klik op het pictogram als u een afbeelding wilt toevoegen</a:t>
            </a:r>
            <a:endParaRPr lang="en-GB" noProof="0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‹#›</a:t>
            </a:fld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17967333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llee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‹#›</a:t>
            </a:fld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0066019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sclaim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688046" y="1270000"/>
            <a:ext cx="4109625" cy="5004000"/>
          </a:xfrm>
        </p:spPr>
        <p:txBody>
          <a:bodyPr/>
          <a:lstStyle>
            <a:lvl1pPr>
              <a:lnSpc>
                <a:spcPts val="1400"/>
              </a:lnSpc>
              <a:spcAft>
                <a:spcPts val="0"/>
              </a:spcAft>
              <a:defRPr sz="1300" b="0"/>
            </a:lvl1pPr>
            <a:lvl2pPr>
              <a:lnSpc>
                <a:spcPts val="1400"/>
              </a:lnSpc>
              <a:spcAft>
                <a:spcPts val="0"/>
              </a:spcAft>
              <a:defRPr sz="1300"/>
            </a:lvl2pPr>
            <a:lvl3pPr>
              <a:lnSpc>
                <a:spcPts val="1400"/>
              </a:lnSpc>
              <a:spcAft>
                <a:spcPts val="0"/>
              </a:spcAft>
              <a:defRPr sz="1300"/>
            </a:lvl3pPr>
            <a:lvl4pPr>
              <a:lnSpc>
                <a:spcPts val="1400"/>
              </a:lnSpc>
              <a:spcAft>
                <a:spcPts val="0"/>
              </a:spcAft>
              <a:defRPr sz="1300"/>
            </a:lvl4pPr>
            <a:lvl5pPr>
              <a:lnSpc>
                <a:spcPts val="1400"/>
              </a:lnSpc>
              <a:spcAft>
                <a:spcPts val="0"/>
              </a:spcAft>
              <a:defRPr sz="1300"/>
            </a:lvl5pPr>
          </a:lstStyle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8" name="Content Placeholder 2"/>
          <p:cNvSpPr>
            <a:spLocks noGrp="1"/>
          </p:cNvSpPr>
          <p:nvPr>
            <p:ph idx="13"/>
          </p:nvPr>
        </p:nvSpPr>
        <p:spPr bwMode="gray">
          <a:xfrm>
            <a:off x="5099859" y="1270000"/>
            <a:ext cx="4109625" cy="5004000"/>
          </a:xfrm>
        </p:spPr>
        <p:txBody>
          <a:bodyPr/>
          <a:lstStyle>
            <a:lvl1pPr>
              <a:lnSpc>
                <a:spcPts val="1400"/>
              </a:lnSpc>
              <a:spcAft>
                <a:spcPts val="0"/>
              </a:spcAft>
              <a:defRPr sz="1300" b="0"/>
            </a:lvl1pPr>
            <a:lvl2pPr>
              <a:lnSpc>
                <a:spcPts val="1400"/>
              </a:lnSpc>
              <a:spcAft>
                <a:spcPts val="0"/>
              </a:spcAft>
              <a:defRPr sz="1300"/>
            </a:lvl2pPr>
            <a:lvl3pPr>
              <a:lnSpc>
                <a:spcPts val="1400"/>
              </a:lnSpc>
              <a:spcAft>
                <a:spcPts val="0"/>
              </a:spcAft>
              <a:defRPr sz="1300"/>
            </a:lvl3pPr>
            <a:lvl4pPr>
              <a:lnSpc>
                <a:spcPts val="1400"/>
              </a:lnSpc>
              <a:spcAft>
                <a:spcPts val="0"/>
              </a:spcAft>
              <a:defRPr sz="1300"/>
            </a:lvl4pPr>
            <a:lvl5pPr>
              <a:lnSpc>
                <a:spcPts val="1400"/>
              </a:lnSpc>
              <a:spcAft>
                <a:spcPts val="0"/>
              </a:spcAft>
              <a:defRPr sz="1300"/>
            </a:lvl5pPr>
          </a:lstStyle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‹#›</a:t>
            </a:fld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987376461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1" pos="3720" userDrawn="1">
          <p15:clr>
            <a:srgbClr val="FBAE40"/>
          </p15:clr>
        </p15:guide>
        <p15:guide id="2" pos="3948" userDrawn="1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e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DDD2A080-DA64-4F5C-9131-47EB793B4410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8119075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Freeform 31"/>
          <p:cNvSpPr>
            <a:spLocks noChangeAspect="1"/>
          </p:cNvSpPr>
          <p:nvPr userDrawn="1"/>
        </p:nvSpPr>
        <p:spPr bwMode="gray">
          <a:xfrm>
            <a:off x="563662" y="1695452"/>
            <a:ext cx="8646300" cy="2630915"/>
          </a:xfrm>
          <a:custGeom>
            <a:avLst/>
            <a:gdLst>
              <a:gd name="T0" fmla="*/ 2480 w 2480"/>
              <a:gd name="T1" fmla="*/ 528 h 611"/>
              <a:gd name="T2" fmla="*/ 2480 w 2480"/>
              <a:gd name="T3" fmla="*/ 32 h 611"/>
              <a:gd name="T4" fmla="*/ 2448 w 2480"/>
              <a:gd name="T5" fmla="*/ 0 h 611"/>
              <a:gd name="T6" fmla="*/ 32 w 2480"/>
              <a:gd name="T7" fmla="*/ 0 h 611"/>
              <a:gd name="T8" fmla="*/ 0 w 2480"/>
              <a:gd name="T9" fmla="*/ 32 h 611"/>
              <a:gd name="T10" fmla="*/ 0 w 2480"/>
              <a:gd name="T11" fmla="*/ 528 h 611"/>
              <a:gd name="T12" fmla="*/ 32 w 2480"/>
              <a:gd name="T13" fmla="*/ 560 h 611"/>
              <a:gd name="T14" fmla="*/ 237 w 2480"/>
              <a:gd name="T15" fmla="*/ 560 h 611"/>
              <a:gd name="T16" fmla="*/ 271 w 2480"/>
              <a:gd name="T17" fmla="*/ 604 h 611"/>
              <a:gd name="T18" fmla="*/ 289 w 2480"/>
              <a:gd name="T19" fmla="*/ 604 h 611"/>
              <a:gd name="T20" fmla="*/ 323 w 2480"/>
              <a:gd name="T21" fmla="*/ 560 h 611"/>
              <a:gd name="T22" fmla="*/ 2448 w 2480"/>
              <a:gd name="T23" fmla="*/ 560 h 611"/>
              <a:gd name="T24" fmla="*/ 2480 w 2480"/>
              <a:gd name="T25" fmla="*/ 528 h 61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2480" h="611">
                <a:moveTo>
                  <a:pt x="2480" y="528"/>
                </a:moveTo>
                <a:cubicBezTo>
                  <a:pt x="2480" y="32"/>
                  <a:pt x="2480" y="32"/>
                  <a:pt x="2480" y="32"/>
                </a:cubicBezTo>
                <a:cubicBezTo>
                  <a:pt x="2480" y="32"/>
                  <a:pt x="2480" y="0"/>
                  <a:pt x="2448" y="0"/>
                </a:cubicBezTo>
                <a:cubicBezTo>
                  <a:pt x="32" y="0"/>
                  <a:pt x="32" y="0"/>
                  <a:pt x="32" y="0"/>
                </a:cubicBezTo>
                <a:cubicBezTo>
                  <a:pt x="32" y="0"/>
                  <a:pt x="0" y="0"/>
                  <a:pt x="0" y="32"/>
                </a:cubicBezTo>
                <a:cubicBezTo>
                  <a:pt x="0" y="528"/>
                  <a:pt x="0" y="528"/>
                  <a:pt x="0" y="528"/>
                </a:cubicBezTo>
                <a:cubicBezTo>
                  <a:pt x="0" y="528"/>
                  <a:pt x="0" y="560"/>
                  <a:pt x="32" y="560"/>
                </a:cubicBezTo>
                <a:cubicBezTo>
                  <a:pt x="237" y="560"/>
                  <a:pt x="237" y="560"/>
                  <a:pt x="237" y="560"/>
                </a:cubicBezTo>
                <a:cubicBezTo>
                  <a:pt x="271" y="604"/>
                  <a:pt x="271" y="604"/>
                  <a:pt x="271" y="604"/>
                </a:cubicBezTo>
                <a:cubicBezTo>
                  <a:pt x="276" y="611"/>
                  <a:pt x="284" y="611"/>
                  <a:pt x="289" y="604"/>
                </a:cubicBezTo>
                <a:cubicBezTo>
                  <a:pt x="323" y="560"/>
                  <a:pt x="323" y="560"/>
                  <a:pt x="323" y="560"/>
                </a:cubicBezTo>
                <a:cubicBezTo>
                  <a:pt x="2448" y="560"/>
                  <a:pt x="2448" y="560"/>
                  <a:pt x="2448" y="560"/>
                </a:cubicBezTo>
                <a:cubicBezTo>
                  <a:pt x="2448" y="560"/>
                  <a:pt x="2480" y="560"/>
                  <a:pt x="2480" y="528"/>
                </a:cubicBezTo>
              </a:path>
            </a:pathLst>
          </a:custGeom>
          <a:solidFill>
            <a:srgbClr val="FF62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5" name="Title 1"/>
          <p:cNvSpPr>
            <a:spLocks noGrp="1"/>
          </p:cNvSpPr>
          <p:nvPr>
            <p:ph type="ctrTitle"/>
          </p:nvPr>
        </p:nvSpPr>
        <p:spPr bwMode="gray">
          <a:xfrm>
            <a:off x="952372" y="1695454"/>
            <a:ext cx="8257113" cy="2368549"/>
          </a:xfrm>
        </p:spPr>
        <p:txBody>
          <a:bodyPr anchor="ctr" anchorCtr="0">
            <a:noAutofit/>
          </a:bodyPr>
          <a:lstStyle>
            <a:lvl1pPr algn="l">
              <a:lnSpc>
                <a:spcPts val="4600"/>
              </a:lnSpc>
              <a:defRPr sz="4600">
                <a:solidFill>
                  <a:schemeClr val="bg1"/>
                </a:solidFill>
              </a:defRPr>
            </a:lvl1pPr>
          </a:lstStyle>
          <a:p>
            <a:r>
              <a:rPr lang="nl-NL" smtClean="0"/>
              <a:t>Klik om de stijl te bewerken</a:t>
            </a:r>
            <a:endParaRPr lang="en-GB" dirty="0"/>
          </a:p>
        </p:txBody>
      </p:sp>
      <p:grpSp>
        <p:nvGrpSpPr>
          <p:cNvPr id="36" name="Group 35"/>
          <p:cNvGrpSpPr/>
          <p:nvPr userDrawn="1"/>
        </p:nvGrpSpPr>
        <p:grpSpPr bwMode="gray">
          <a:xfrm>
            <a:off x="-1653580" y="0"/>
            <a:ext cx="1521000" cy="4689612"/>
            <a:chOff x="-2581275" y="595116"/>
            <a:chExt cx="1872000" cy="4689612"/>
          </a:xfrm>
        </p:grpSpPr>
        <p:sp>
          <p:nvSpPr>
            <p:cNvPr id="37" name="Rectangle 104"/>
            <p:cNvSpPr>
              <a:spLocks noChangeArrowheads="1"/>
            </p:cNvSpPr>
            <p:nvPr/>
          </p:nvSpPr>
          <p:spPr bwMode="gray">
            <a:xfrm>
              <a:off x="-2581275" y="4276728"/>
              <a:ext cx="1872000" cy="100800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38" name="Rectangle 104"/>
            <p:cNvSpPr>
              <a:spLocks noChangeArrowheads="1"/>
            </p:cNvSpPr>
            <p:nvPr userDrawn="1"/>
          </p:nvSpPr>
          <p:spPr bwMode="gray">
            <a:xfrm>
              <a:off x="-2581275" y="595116"/>
              <a:ext cx="1872000" cy="3672087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39" name="Rectangle 105"/>
            <p:cNvSpPr>
              <a:spLocks noChangeArrowheads="1"/>
            </p:cNvSpPr>
            <p:nvPr userDrawn="1"/>
          </p:nvSpPr>
          <p:spPr bwMode="gray">
            <a:xfrm>
              <a:off x="-2449513" y="1136650"/>
              <a:ext cx="215900" cy="215900"/>
            </a:xfrm>
            <a:prstGeom prst="rect">
              <a:avLst/>
            </a:prstGeom>
            <a:solidFill>
              <a:srgbClr val="FF6200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40" name="Rectangle 106"/>
            <p:cNvSpPr>
              <a:spLocks noChangeArrowheads="1"/>
            </p:cNvSpPr>
            <p:nvPr userDrawn="1"/>
          </p:nvSpPr>
          <p:spPr bwMode="gray">
            <a:xfrm>
              <a:off x="-2159000" y="1146175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Orang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55, 98, 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41" name="Rectangle 107"/>
            <p:cNvSpPr>
              <a:spLocks noChangeArrowheads="1"/>
            </p:cNvSpPr>
            <p:nvPr userDrawn="1"/>
          </p:nvSpPr>
          <p:spPr bwMode="gray">
            <a:xfrm>
              <a:off x="-2449513" y="1571626"/>
              <a:ext cx="215900" cy="215900"/>
            </a:xfrm>
            <a:prstGeom prst="rect">
              <a:avLst/>
            </a:prstGeom>
            <a:solidFill>
              <a:srgbClr val="A8A8A8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42" name="Rectangle 108"/>
            <p:cNvSpPr>
              <a:spLocks noChangeArrowheads="1"/>
            </p:cNvSpPr>
            <p:nvPr userDrawn="1"/>
          </p:nvSpPr>
          <p:spPr bwMode="gray">
            <a:xfrm>
              <a:off x="-2159000" y="15970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ght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68, 168, 16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43" name="Rectangle 109"/>
            <p:cNvSpPr>
              <a:spLocks noChangeArrowheads="1"/>
            </p:cNvSpPr>
            <p:nvPr userDrawn="1"/>
          </p:nvSpPr>
          <p:spPr bwMode="gray">
            <a:xfrm>
              <a:off x="-2449513" y="2058988"/>
              <a:ext cx="215900" cy="215900"/>
            </a:xfrm>
            <a:prstGeom prst="rect">
              <a:avLst/>
            </a:prstGeom>
            <a:solidFill>
              <a:srgbClr val="52519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44" name="Rectangle 110"/>
            <p:cNvSpPr>
              <a:spLocks noChangeArrowheads="1"/>
            </p:cNvSpPr>
            <p:nvPr userDrawn="1"/>
          </p:nvSpPr>
          <p:spPr bwMode="gray">
            <a:xfrm>
              <a:off x="-2159000" y="2068513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Indigo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82, 81, 153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45" name="Rectangle 111"/>
            <p:cNvSpPr>
              <a:spLocks noChangeArrowheads="1"/>
            </p:cNvSpPr>
            <p:nvPr userDrawn="1"/>
          </p:nvSpPr>
          <p:spPr bwMode="gray">
            <a:xfrm>
              <a:off x="-2449513" y="2527301"/>
              <a:ext cx="215900" cy="215900"/>
            </a:xfrm>
            <a:prstGeom prst="rect">
              <a:avLst/>
            </a:prstGeom>
            <a:solidFill>
              <a:srgbClr val="60A6DA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46" name="Rectangle 112"/>
            <p:cNvSpPr>
              <a:spLocks noChangeArrowheads="1"/>
            </p:cNvSpPr>
            <p:nvPr userDrawn="1"/>
          </p:nvSpPr>
          <p:spPr bwMode="gray">
            <a:xfrm>
              <a:off x="-2159000" y="25368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Sk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96, 166, 2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47" name="Rectangle 113"/>
            <p:cNvSpPr>
              <a:spLocks noChangeArrowheads="1"/>
            </p:cNvSpPr>
            <p:nvPr userDrawn="1"/>
          </p:nvSpPr>
          <p:spPr bwMode="gray">
            <a:xfrm>
              <a:off x="-2449513" y="762000"/>
              <a:ext cx="1692000" cy="165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90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200" b="1" smtClean="0">
                  <a:solidFill>
                    <a:srgbClr val="333333"/>
                  </a:solidFill>
                </a:rPr>
                <a:t>Colour Guidelines</a:t>
              </a:r>
              <a:endParaRPr lang="en-GB" altLang="en-US" sz="1200" b="1">
                <a:solidFill>
                  <a:srgbClr val="333333"/>
                </a:solidFill>
              </a:endParaRPr>
            </a:p>
          </p:txBody>
        </p:sp>
        <p:sp>
          <p:nvSpPr>
            <p:cNvPr id="48" name="Rectangle 107"/>
            <p:cNvSpPr>
              <a:spLocks noChangeArrowheads="1"/>
            </p:cNvSpPr>
            <p:nvPr/>
          </p:nvSpPr>
          <p:spPr bwMode="gray">
            <a:xfrm>
              <a:off x="-2449513" y="2962277"/>
              <a:ext cx="215900" cy="215900"/>
            </a:xfrm>
            <a:prstGeom prst="rect">
              <a:avLst/>
            </a:prstGeom>
            <a:solidFill>
              <a:srgbClr val="AB006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49" name="Rectangle 108"/>
            <p:cNvSpPr>
              <a:spLocks noChangeArrowheads="1"/>
            </p:cNvSpPr>
            <p:nvPr/>
          </p:nvSpPr>
          <p:spPr bwMode="gray">
            <a:xfrm>
              <a:off x="-2159000" y="29876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Fuchsia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71, 0, 102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0" name="Rectangle 109"/>
            <p:cNvSpPr>
              <a:spLocks noChangeArrowheads="1"/>
            </p:cNvSpPr>
            <p:nvPr/>
          </p:nvSpPr>
          <p:spPr bwMode="gray">
            <a:xfrm>
              <a:off x="-2449513" y="3449639"/>
              <a:ext cx="215900" cy="215900"/>
            </a:xfrm>
            <a:prstGeom prst="rect">
              <a:avLst/>
            </a:prstGeom>
            <a:solidFill>
              <a:srgbClr val="D0D93C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51" name="Rectangle 110"/>
            <p:cNvSpPr>
              <a:spLocks noChangeArrowheads="1"/>
            </p:cNvSpPr>
            <p:nvPr/>
          </p:nvSpPr>
          <p:spPr bwMode="gray">
            <a:xfrm>
              <a:off x="-2159000" y="3459164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m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08, 217, 6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2" name="Rectangle 111"/>
            <p:cNvSpPr>
              <a:spLocks noChangeArrowheads="1"/>
            </p:cNvSpPr>
            <p:nvPr/>
          </p:nvSpPr>
          <p:spPr bwMode="gray">
            <a:xfrm>
              <a:off x="-2449513" y="3917952"/>
              <a:ext cx="215900" cy="215900"/>
            </a:xfrm>
            <a:prstGeom prst="rect">
              <a:avLst/>
            </a:prstGeom>
            <a:solidFill>
              <a:srgbClr val="01964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53" name="Rectangle 112"/>
            <p:cNvSpPr>
              <a:spLocks noChangeArrowheads="1"/>
            </p:cNvSpPr>
            <p:nvPr/>
          </p:nvSpPr>
          <p:spPr bwMode="gray">
            <a:xfrm>
              <a:off x="-2159000" y="39274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eaf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2, 150, 8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4" name="Rectangle 109"/>
            <p:cNvSpPr>
              <a:spLocks noChangeArrowheads="1"/>
            </p:cNvSpPr>
            <p:nvPr/>
          </p:nvSpPr>
          <p:spPr bwMode="gray">
            <a:xfrm>
              <a:off x="-2449513" y="4405314"/>
              <a:ext cx="215900" cy="215900"/>
            </a:xfrm>
            <a:prstGeom prst="rect">
              <a:avLst/>
            </a:prstGeom>
            <a:solidFill>
              <a:srgbClr val="76767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55" name="Rectangle 110"/>
            <p:cNvSpPr>
              <a:spLocks noChangeArrowheads="1"/>
            </p:cNvSpPr>
            <p:nvPr/>
          </p:nvSpPr>
          <p:spPr bwMode="gray">
            <a:xfrm>
              <a:off x="-2159000" y="4414839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Mid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18, 118, 1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6" name="Rectangle 111"/>
            <p:cNvSpPr>
              <a:spLocks noChangeArrowheads="1"/>
            </p:cNvSpPr>
            <p:nvPr/>
          </p:nvSpPr>
          <p:spPr bwMode="gray">
            <a:xfrm>
              <a:off x="-2449513" y="4873627"/>
              <a:ext cx="215900" cy="215900"/>
            </a:xfrm>
            <a:prstGeom prst="rect">
              <a:avLst/>
            </a:prstGeom>
            <a:solidFill>
              <a:srgbClr val="333333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57" name="Rectangle 112"/>
            <p:cNvSpPr>
              <a:spLocks noChangeArrowheads="1"/>
            </p:cNvSpPr>
            <p:nvPr/>
          </p:nvSpPr>
          <p:spPr bwMode="gray">
            <a:xfrm>
              <a:off x="-2159000" y="4883152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Text Colour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1, 51, 5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</p:grpSp>
      <p:pic>
        <p:nvPicPr>
          <p:cNvPr id="27" name="Picture 26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428199" y="6203775"/>
            <a:ext cx="1233535" cy="378000"/>
          </a:xfrm>
          <a:prstGeom prst="rect">
            <a:avLst/>
          </a:prstGeom>
        </p:spPr>
      </p:pic>
      <p:pic>
        <p:nvPicPr>
          <p:cNvPr id="28" name="Picture 27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-1466554" y="4402733"/>
            <a:ext cx="125761" cy="1389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2861843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21553006"/>
              </p:ext>
            </p:extLst>
          </p:nvPr>
        </p:nvGraphicFramePr>
        <p:xfrm>
          <a:off x="1291" y="1592"/>
          <a:ext cx="128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2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291" y="1592"/>
                        <a:ext cx="1289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Rectangle 20"/>
          <p:cNvSpPr>
            <a:spLocks/>
          </p:cNvSpPr>
          <p:nvPr userDrawn="1"/>
        </p:nvSpPr>
        <p:spPr bwMode="auto">
          <a:xfrm>
            <a:off x="537587" y="4997450"/>
            <a:ext cx="8830830" cy="852488"/>
          </a:xfrm>
          <a:prstGeom prst="rect">
            <a:avLst/>
          </a:prstGeom>
          <a:solidFill>
            <a:srgbClr val="FFFFFF">
              <a:lumMod val="95000"/>
              <a:alpha val="70000"/>
            </a:srgbClr>
          </a:solidFill>
          <a:ln w="25400" cap="flat" cmpd="sng" algn="ctr">
            <a:noFill/>
            <a:prstDash val="solid"/>
          </a:ln>
          <a:effectLst/>
        </p:spPr>
        <p:txBody>
          <a:bodyPr anchor="ctr"/>
          <a:lstStyle/>
          <a:p>
            <a:pPr algn="ctr">
              <a:defRPr/>
            </a:pPr>
            <a:endParaRPr lang="en-US" sz="2400" kern="0" dirty="0">
              <a:solidFill>
                <a:srgbClr val="FFFFFF"/>
              </a:solidFill>
            </a:endParaRPr>
          </a:p>
        </p:txBody>
      </p:sp>
      <p:sp>
        <p:nvSpPr>
          <p:cNvPr id="4" name="Working Draft Text" hidden="1"/>
          <p:cNvSpPr txBox="1">
            <a:spLocks noChangeArrowheads="1"/>
          </p:cNvSpPr>
          <p:nvPr/>
        </p:nvSpPr>
        <p:spPr bwMode="auto">
          <a:xfrm>
            <a:off x="537585" y="349868"/>
            <a:ext cx="1216680" cy="1692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100" b="1" dirty="0" smtClean="0">
                <a:solidFill>
                  <a:srgbClr val="000000"/>
                </a:solidFill>
                <a:latin typeface="Arial"/>
                <a:ea typeface="Arial Unicode MS" pitchFamily="34" charset="-128"/>
                <a:cs typeface="Arial Unicode MS" pitchFamily="34" charset="-128"/>
              </a:rPr>
              <a:t>WORKING DRAFT</a:t>
            </a: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auto">
          <a:xfrm>
            <a:off x="537587" y="548443"/>
            <a:ext cx="3811941" cy="1692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100" smtClean="0">
                <a:solidFill>
                  <a:srgbClr val="000000"/>
                </a:solidFill>
                <a:latin typeface="Arial"/>
                <a:ea typeface="Arial Unicode MS" pitchFamily="34" charset="-128"/>
                <a:cs typeface="Arial Unicode MS" pitchFamily="34" charset="-128"/>
              </a:rPr>
              <a:t>Last Modified 11/20/2015 3:14 PM W. Europe Standard Time</a:t>
            </a:r>
            <a:endParaRPr lang="en-US" sz="1100" dirty="0" smtClean="0">
              <a:solidFill>
                <a:srgbClr val="000000"/>
              </a:solidFill>
              <a:latin typeface="Arial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auto">
          <a:xfrm>
            <a:off x="537586" y="747017"/>
            <a:ext cx="3499356" cy="1692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100" smtClean="0">
                <a:solidFill>
                  <a:srgbClr val="000000"/>
                </a:solidFill>
                <a:latin typeface="Arial"/>
                <a:ea typeface="Arial Unicode MS" pitchFamily="34" charset="-128"/>
                <a:cs typeface="Arial Unicode MS" pitchFamily="34" charset="-128"/>
              </a:rPr>
              <a:t>Printed 11/20/2015 11:18 AM W. Europe Standard Time</a:t>
            </a:r>
            <a:endParaRPr lang="en-US" sz="1100" dirty="0" smtClean="0">
              <a:solidFill>
                <a:srgbClr val="000000"/>
              </a:solidFill>
              <a:latin typeface="Arial"/>
              <a:ea typeface="Arial Unicode MS" pitchFamily="34" charset="-128"/>
              <a:cs typeface="Arial Unicode MS" pitchFamily="34" charset="-128"/>
            </a:endParaRPr>
          </a:p>
        </p:txBody>
      </p:sp>
      <p:grpSp>
        <p:nvGrpSpPr>
          <p:cNvPr id="8" name="McK Title Elements" hidden="1"/>
          <p:cNvGrpSpPr>
            <a:grpSpLocks/>
          </p:cNvGrpSpPr>
          <p:nvPr/>
        </p:nvGrpSpPr>
        <p:grpSpPr bwMode="auto">
          <a:xfrm>
            <a:off x="537585" y="4219386"/>
            <a:ext cx="5455758" cy="578249"/>
            <a:chOff x="1663" y="3080"/>
            <a:chExt cx="3109" cy="357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auto">
            <a:xfrm>
              <a:off x="1663" y="3080"/>
              <a:ext cx="3109" cy="16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700" dirty="0" smtClean="0">
                  <a:solidFill>
                    <a:srgbClr val="000000"/>
                  </a:solidFill>
                  <a:latin typeface="Arial"/>
                </a:rPr>
                <a:t>Document type</a:t>
              </a: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auto">
            <a:xfrm>
              <a:off x="1663" y="3275"/>
              <a:ext cx="3109" cy="16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700" dirty="0" smtClean="0">
                  <a:solidFill>
                    <a:srgbClr val="000000"/>
                  </a:solidFill>
                  <a:latin typeface="Arial"/>
                </a:rPr>
                <a:t>Date</a:t>
              </a:r>
            </a:p>
          </p:txBody>
        </p:sp>
      </p:grpSp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 bwMode="auto">
          <a:xfrm>
            <a:off x="537587" y="1853553"/>
            <a:ext cx="7969600" cy="600164"/>
          </a:xfrm>
          <a:prstGeom prst="rect">
            <a:avLst/>
          </a:prstGeom>
        </p:spPr>
        <p:txBody>
          <a:bodyPr/>
          <a:lstStyle>
            <a:lvl1pPr>
              <a:defRPr sz="3900" b="1" baseline="0"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 bwMode="auto">
          <a:xfrm>
            <a:off x="537587" y="3205745"/>
            <a:ext cx="7969600" cy="261610"/>
          </a:xfrm>
        </p:spPr>
        <p:txBody>
          <a:bodyPr wrap="square">
            <a:spAutoFit/>
          </a:bodyPr>
          <a:lstStyle>
            <a:lvl1pPr>
              <a:defRPr sz="1700" baseline="0"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 lvl="0"/>
            <a:r>
              <a:rPr lang="en-US" noProof="0" smtClean="0"/>
              <a:t>Click to edit Master subtitle style</a:t>
            </a:r>
          </a:p>
        </p:txBody>
      </p:sp>
      <p:grpSp>
        <p:nvGrpSpPr>
          <p:cNvPr id="3" name="Group 2"/>
          <p:cNvGrpSpPr>
            <a:grpSpLocks/>
          </p:cNvGrpSpPr>
          <p:nvPr userDrawn="1"/>
        </p:nvGrpSpPr>
        <p:grpSpPr bwMode="auto">
          <a:xfrm>
            <a:off x="537587" y="6321425"/>
            <a:ext cx="8830830" cy="357188"/>
            <a:chOff x="930275" y="6321425"/>
            <a:chExt cx="10874375" cy="357188"/>
          </a:xfrm>
        </p:grpSpPr>
        <p:pic>
          <p:nvPicPr>
            <p:cNvPr id="23" name="Picture 32" descr="thinkforward.png"/>
            <p:cNvPicPr>
              <a:picLocks noChangeAspect="1"/>
            </p:cNvPicPr>
            <p:nvPr userDrawn="1"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30275" y="6421438"/>
              <a:ext cx="1955800" cy="254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4" name="Picture 33"/>
            <p:cNvPicPr>
              <a:picLocks noChangeAspect="1"/>
            </p:cNvPicPr>
            <p:nvPr userDrawn="1"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366375" y="6321425"/>
              <a:ext cx="1438275" cy="3571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26" name="doc id"/>
          <p:cNvSpPr>
            <a:spLocks noChangeArrowheads="1"/>
          </p:cNvSpPr>
          <p:nvPr userDrawn="1"/>
        </p:nvSpPr>
        <p:spPr bwMode="auto">
          <a:xfrm>
            <a:off x="8641916" y="37255"/>
            <a:ext cx="726499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1087940" fontAlgn="base">
              <a:spcBef>
                <a:spcPct val="0"/>
              </a:spcBef>
              <a:spcAft>
                <a:spcPct val="0"/>
              </a:spcAft>
            </a:pPr>
            <a:endParaRPr lang="en-US" sz="8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3334590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cK 2. Slide 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87867053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91036723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249880533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dia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4" name="Group 43"/>
          <p:cNvGrpSpPr/>
          <p:nvPr userDrawn="1"/>
        </p:nvGrpSpPr>
        <p:grpSpPr bwMode="gray">
          <a:xfrm>
            <a:off x="1" y="1643202"/>
            <a:ext cx="9213354" cy="3055937"/>
            <a:chOff x="409575" y="3144838"/>
            <a:chExt cx="11339513" cy="3055937"/>
          </a:xfrm>
        </p:grpSpPr>
        <p:sp>
          <p:nvSpPr>
            <p:cNvPr id="45" name="Freeform 5"/>
            <p:cNvSpPr>
              <a:spLocks/>
            </p:cNvSpPr>
            <p:nvPr/>
          </p:nvSpPr>
          <p:spPr bwMode="gray">
            <a:xfrm>
              <a:off x="409575" y="5521325"/>
              <a:ext cx="11339513" cy="679450"/>
            </a:xfrm>
            <a:custGeom>
              <a:avLst/>
              <a:gdLst>
                <a:gd name="T0" fmla="*/ 0 w 2680"/>
                <a:gd name="T1" fmla="*/ 0 h 160"/>
                <a:gd name="T2" fmla="*/ 0 w 2680"/>
                <a:gd name="T3" fmla="*/ 160 h 160"/>
                <a:gd name="T4" fmla="*/ 2656 w 2680"/>
                <a:gd name="T5" fmla="*/ 160 h 160"/>
                <a:gd name="T6" fmla="*/ 2680 w 2680"/>
                <a:gd name="T7" fmla="*/ 136 h 160"/>
                <a:gd name="T8" fmla="*/ 2680 w 2680"/>
                <a:gd name="T9" fmla="*/ 0 h 160"/>
                <a:gd name="T10" fmla="*/ 0 w 2680"/>
                <a:gd name="T11" fmla="*/ 0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80" h="160">
                  <a:moveTo>
                    <a:pt x="0" y="0"/>
                  </a:moveTo>
                  <a:cubicBezTo>
                    <a:pt x="0" y="160"/>
                    <a:pt x="0" y="160"/>
                    <a:pt x="0" y="160"/>
                  </a:cubicBezTo>
                  <a:cubicBezTo>
                    <a:pt x="2656" y="160"/>
                    <a:pt x="2656" y="160"/>
                    <a:pt x="2656" y="160"/>
                  </a:cubicBezTo>
                  <a:cubicBezTo>
                    <a:pt x="2656" y="160"/>
                    <a:pt x="2680" y="160"/>
                    <a:pt x="2680" y="136"/>
                  </a:cubicBezTo>
                  <a:cubicBezTo>
                    <a:pt x="2680" y="0"/>
                    <a:pt x="2680" y="0"/>
                    <a:pt x="2680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EAEAE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333333"/>
                </a:solidFill>
              </a:endParaRPr>
            </a:p>
          </p:txBody>
        </p:sp>
        <p:sp>
          <p:nvSpPr>
            <p:cNvPr id="46" name="Freeform 6"/>
            <p:cNvSpPr>
              <a:spLocks/>
            </p:cNvSpPr>
            <p:nvPr/>
          </p:nvSpPr>
          <p:spPr bwMode="gray">
            <a:xfrm>
              <a:off x="409575" y="3144838"/>
              <a:ext cx="11339513" cy="2376487"/>
            </a:xfrm>
            <a:custGeom>
              <a:avLst/>
              <a:gdLst>
                <a:gd name="T0" fmla="*/ 0 w 2680"/>
                <a:gd name="T1" fmla="*/ 0 h 560"/>
                <a:gd name="T2" fmla="*/ 0 w 2680"/>
                <a:gd name="T3" fmla="*/ 560 h 560"/>
                <a:gd name="T4" fmla="*/ 2680 w 2680"/>
                <a:gd name="T5" fmla="*/ 560 h 560"/>
                <a:gd name="T6" fmla="*/ 2680 w 2680"/>
                <a:gd name="T7" fmla="*/ 24 h 560"/>
                <a:gd name="T8" fmla="*/ 2656 w 2680"/>
                <a:gd name="T9" fmla="*/ 0 h 560"/>
                <a:gd name="T10" fmla="*/ 0 w 2680"/>
                <a:gd name="T11" fmla="*/ 0 h 5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80" h="560">
                  <a:moveTo>
                    <a:pt x="0" y="0"/>
                  </a:moveTo>
                  <a:cubicBezTo>
                    <a:pt x="0" y="560"/>
                    <a:pt x="0" y="560"/>
                    <a:pt x="0" y="560"/>
                  </a:cubicBezTo>
                  <a:cubicBezTo>
                    <a:pt x="2680" y="560"/>
                    <a:pt x="2680" y="560"/>
                    <a:pt x="2680" y="560"/>
                  </a:cubicBezTo>
                  <a:cubicBezTo>
                    <a:pt x="2680" y="24"/>
                    <a:pt x="2680" y="24"/>
                    <a:pt x="2680" y="24"/>
                  </a:cubicBezTo>
                  <a:cubicBezTo>
                    <a:pt x="2680" y="24"/>
                    <a:pt x="2680" y="0"/>
                    <a:pt x="2656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F62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333333"/>
                </a:solidFill>
              </a:endParaRPr>
            </a:p>
          </p:txBody>
        </p:sp>
      </p:grpSp>
      <p:sp>
        <p:nvSpPr>
          <p:cNvPr id="8" name="Rectangle 7"/>
          <p:cNvSpPr/>
          <p:nvPr userDrawn="1"/>
        </p:nvSpPr>
        <p:spPr bwMode="gray">
          <a:xfrm>
            <a:off x="2" y="6024880"/>
            <a:ext cx="9904532" cy="8331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2400">
              <a:solidFill>
                <a:prstClr val="white"/>
              </a:solidFill>
            </a:endParaRPr>
          </a:p>
        </p:txBody>
      </p:sp>
      <p:sp>
        <p:nvSpPr>
          <p:cNvPr id="25" name="Title 1"/>
          <p:cNvSpPr>
            <a:spLocks noGrp="1"/>
          </p:cNvSpPr>
          <p:nvPr>
            <p:ph type="ctrTitle"/>
          </p:nvPr>
        </p:nvSpPr>
        <p:spPr bwMode="gray">
          <a:xfrm>
            <a:off x="684477" y="2116803"/>
            <a:ext cx="8379482" cy="1227573"/>
          </a:xfrm>
        </p:spPr>
        <p:txBody>
          <a:bodyPr anchor="ctr" anchorCtr="0">
            <a:noAutofit/>
          </a:bodyPr>
          <a:lstStyle>
            <a:lvl1pPr algn="l">
              <a:lnSpc>
                <a:spcPts val="4600"/>
              </a:lnSpc>
              <a:defRPr sz="4600">
                <a:solidFill>
                  <a:schemeClr val="bg1"/>
                </a:solidFill>
              </a:defRPr>
            </a:lvl1pPr>
          </a:lstStyle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  <p:sp>
        <p:nvSpPr>
          <p:cNvPr id="26" name="Subtitle 2"/>
          <p:cNvSpPr>
            <a:spLocks noGrp="1"/>
          </p:cNvSpPr>
          <p:nvPr>
            <p:ph type="subTitle" idx="1"/>
          </p:nvPr>
        </p:nvSpPr>
        <p:spPr bwMode="gray">
          <a:xfrm>
            <a:off x="684477" y="4240704"/>
            <a:ext cx="5754721" cy="306798"/>
          </a:xfrm>
        </p:spPr>
        <p:txBody>
          <a:bodyPr anchor="ctr" anchorCtr="0">
            <a:noAutofit/>
          </a:bodyPr>
          <a:lstStyle>
            <a:lvl1pPr marL="0" indent="0" algn="l">
              <a:lnSpc>
                <a:spcPts val="2200"/>
              </a:lnSpc>
              <a:buNone/>
              <a:defRPr sz="2000" b="0" i="0"/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nl-NL" noProof="0" smtClean="0"/>
              <a:t>Klik om de ondertitelstijl van het model te bewerken</a:t>
            </a:r>
            <a:endParaRPr lang="en-GB" noProof="0" dirty="0"/>
          </a:p>
        </p:txBody>
      </p:sp>
      <p:sp>
        <p:nvSpPr>
          <p:cNvPr id="27" name="Text Placeholder 6"/>
          <p:cNvSpPr>
            <a:spLocks noGrp="1"/>
          </p:cNvSpPr>
          <p:nvPr>
            <p:ph type="body" sz="quarter" idx="11"/>
          </p:nvPr>
        </p:nvSpPr>
        <p:spPr bwMode="gray">
          <a:xfrm>
            <a:off x="684451" y="3556803"/>
            <a:ext cx="8373361" cy="385233"/>
          </a:xfrm>
        </p:spPr>
        <p:txBody>
          <a:bodyPr>
            <a:noAutofit/>
          </a:bodyPr>
          <a:lstStyle>
            <a:lvl1pPr>
              <a:lnSpc>
                <a:spcPts val="2200"/>
              </a:lnSpc>
              <a:defRPr sz="220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noProof="0" smtClean="0"/>
              <a:t>Klik om de modelstijlen te bewerken</a:t>
            </a:r>
          </a:p>
        </p:txBody>
      </p:sp>
      <p:sp>
        <p:nvSpPr>
          <p:cNvPr id="23" name="Picture Placeholder 2"/>
          <p:cNvSpPr>
            <a:spLocks noGrp="1"/>
          </p:cNvSpPr>
          <p:nvPr>
            <p:ph type="pic" sz="quarter" idx="13" hasCustomPrompt="1"/>
          </p:nvPr>
        </p:nvSpPr>
        <p:spPr>
          <a:xfrm>
            <a:off x="681038" y="5242064"/>
            <a:ext cx="1784250" cy="1318571"/>
          </a:xfrm>
        </p:spPr>
        <p:txBody>
          <a:bodyPr lIns="0" anchor="ctr" anchorCtr="0"/>
          <a:lstStyle>
            <a:lvl1pPr algn="l">
              <a:lnSpc>
                <a:spcPct val="100000"/>
              </a:lnSpc>
              <a:defRPr sz="900" b="0"/>
            </a:lvl1pPr>
          </a:lstStyle>
          <a:p>
            <a:r>
              <a:rPr lang="en-GB" dirty="0" smtClean="0"/>
              <a:t>Click to insert project logo</a:t>
            </a:r>
            <a:endParaRPr lang="en-GB" dirty="0"/>
          </a:p>
        </p:txBody>
      </p:sp>
      <p:pic>
        <p:nvPicPr>
          <p:cNvPr id="38" name="Picture 3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28199" y="6203775"/>
            <a:ext cx="1233535" cy="378000"/>
          </a:xfrm>
          <a:prstGeom prst="rect">
            <a:avLst/>
          </a:prstGeom>
        </p:spPr>
      </p:pic>
      <p:cxnSp>
        <p:nvCxnSpPr>
          <p:cNvPr id="13" name="Straight Connector 12"/>
          <p:cNvCxnSpPr/>
          <p:nvPr userDrawn="1"/>
        </p:nvCxnSpPr>
        <p:spPr>
          <a:xfrm>
            <a:off x="681038" y="6953250"/>
            <a:ext cx="0" cy="360000"/>
          </a:xfrm>
          <a:prstGeom prst="line">
            <a:avLst/>
          </a:prstGeom>
          <a:ln>
            <a:head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>
            <a:off x="2449809" y="6953250"/>
            <a:ext cx="0" cy="36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/>
          <p:cNvCxnSpPr/>
          <p:nvPr userDrawn="1"/>
        </p:nvCxnSpPr>
        <p:spPr>
          <a:xfrm>
            <a:off x="-346674" y="6559200"/>
            <a:ext cx="292500" cy="0"/>
          </a:xfrm>
          <a:prstGeom prst="line">
            <a:avLst/>
          </a:prstGeom>
          <a:ln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/>
          <p:cNvCxnSpPr/>
          <p:nvPr userDrawn="1"/>
        </p:nvCxnSpPr>
        <p:spPr>
          <a:xfrm>
            <a:off x="-346674" y="6200775"/>
            <a:ext cx="292500" cy="0"/>
          </a:xfrm>
          <a:prstGeom prst="line">
            <a:avLst/>
          </a:prstGeom>
          <a:ln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extBox 20"/>
          <p:cNvSpPr txBox="1"/>
          <p:nvPr userDrawn="1"/>
        </p:nvSpPr>
        <p:spPr>
          <a:xfrm>
            <a:off x="980423" y="7019958"/>
            <a:ext cx="1170000" cy="226591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ctr"/>
            <a:r>
              <a:rPr lang="en-GB" sz="1000" smtClean="0">
                <a:solidFill>
                  <a:srgbClr val="333333"/>
                </a:solidFill>
              </a:rPr>
              <a:t>Max. width</a:t>
            </a:r>
          </a:p>
        </p:txBody>
      </p:sp>
      <p:sp>
        <p:nvSpPr>
          <p:cNvPr id="22" name="TextBox 21"/>
          <p:cNvSpPr txBox="1"/>
          <p:nvPr userDrawn="1"/>
        </p:nvSpPr>
        <p:spPr>
          <a:xfrm>
            <a:off x="-1224174" y="6266695"/>
            <a:ext cx="1170000" cy="226591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r"/>
            <a:r>
              <a:rPr lang="en-GB" sz="1000" smtClean="0">
                <a:solidFill>
                  <a:srgbClr val="333333"/>
                </a:solidFill>
              </a:rPr>
              <a:t>Min. height</a:t>
            </a:r>
          </a:p>
        </p:txBody>
      </p:sp>
      <p:cxnSp>
        <p:nvCxnSpPr>
          <p:cNvPr id="24" name="Straight Connector 23"/>
          <p:cNvCxnSpPr/>
          <p:nvPr userDrawn="1"/>
        </p:nvCxnSpPr>
        <p:spPr>
          <a:xfrm>
            <a:off x="-346674" y="5242062"/>
            <a:ext cx="2925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extBox 27"/>
          <p:cNvSpPr txBox="1"/>
          <p:nvPr userDrawn="1"/>
        </p:nvSpPr>
        <p:spPr>
          <a:xfrm>
            <a:off x="-1224174" y="5297121"/>
            <a:ext cx="1170000" cy="226591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r"/>
            <a:r>
              <a:rPr lang="en-GB" sz="1000" smtClean="0">
                <a:solidFill>
                  <a:srgbClr val="333333"/>
                </a:solidFill>
              </a:rPr>
              <a:t>Max. height</a:t>
            </a:r>
          </a:p>
        </p:txBody>
      </p:sp>
      <p:grpSp>
        <p:nvGrpSpPr>
          <p:cNvPr id="53" name="Group 52"/>
          <p:cNvGrpSpPr/>
          <p:nvPr userDrawn="1"/>
        </p:nvGrpSpPr>
        <p:grpSpPr bwMode="gray">
          <a:xfrm>
            <a:off x="-1653580" y="0"/>
            <a:ext cx="1521000" cy="4689612"/>
            <a:chOff x="-2581275" y="595116"/>
            <a:chExt cx="1872000" cy="4689612"/>
          </a:xfrm>
        </p:grpSpPr>
        <p:sp>
          <p:nvSpPr>
            <p:cNvPr id="54" name="Rectangle 104"/>
            <p:cNvSpPr>
              <a:spLocks noChangeArrowheads="1"/>
            </p:cNvSpPr>
            <p:nvPr/>
          </p:nvSpPr>
          <p:spPr bwMode="gray">
            <a:xfrm>
              <a:off x="-2581275" y="4276728"/>
              <a:ext cx="1872000" cy="100800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5" name="Rectangle 104"/>
            <p:cNvSpPr>
              <a:spLocks noChangeArrowheads="1"/>
            </p:cNvSpPr>
            <p:nvPr userDrawn="1"/>
          </p:nvSpPr>
          <p:spPr bwMode="gray">
            <a:xfrm>
              <a:off x="-2581275" y="595116"/>
              <a:ext cx="1872000" cy="3672087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6" name="Rectangle 105"/>
            <p:cNvSpPr>
              <a:spLocks noChangeArrowheads="1"/>
            </p:cNvSpPr>
            <p:nvPr userDrawn="1"/>
          </p:nvSpPr>
          <p:spPr bwMode="gray">
            <a:xfrm>
              <a:off x="-2449513" y="1136650"/>
              <a:ext cx="215900" cy="215900"/>
            </a:xfrm>
            <a:prstGeom prst="rect">
              <a:avLst/>
            </a:prstGeom>
            <a:solidFill>
              <a:srgbClr val="FF6200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7" name="Rectangle 106"/>
            <p:cNvSpPr>
              <a:spLocks noChangeArrowheads="1"/>
            </p:cNvSpPr>
            <p:nvPr userDrawn="1"/>
          </p:nvSpPr>
          <p:spPr bwMode="gray">
            <a:xfrm>
              <a:off x="-2159000" y="1146175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Orang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55, 98, 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8" name="Rectangle 107"/>
            <p:cNvSpPr>
              <a:spLocks noChangeArrowheads="1"/>
            </p:cNvSpPr>
            <p:nvPr userDrawn="1"/>
          </p:nvSpPr>
          <p:spPr bwMode="gray">
            <a:xfrm>
              <a:off x="-2449513" y="1571626"/>
              <a:ext cx="215900" cy="215900"/>
            </a:xfrm>
            <a:prstGeom prst="rect">
              <a:avLst/>
            </a:prstGeom>
            <a:solidFill>
              <a:srgbClr val="A8A8A8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9" name="Rectangle 108"/>
            <p:cNvSpPr>
              <a:spLocks noChangeArrowheads="1"/>
            </p:cNvSpPr>
            <p:nvPr userDrawn="1"/>
          </p:nvSpPr>
          <p:spPr bwMode="gray">
            <a:xfrm>
              <a:off x="-2159000" y="15970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ght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68, 168, 16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0" name="Rectangle 109"/>
            <p:cNvSpPr>
              <a:spLocks noChangeArrowheads="1"/>
            </p:cNvSpPr>
            <p:nvPr userDrawn="1"/>
          </p:nvSpPr>
          <p:spPr bwMode="gray">
            <a:xfrm>
              <a:off x="-2449513" y="2058988"/>
              <a:ext cx="215900" cy="215900"/>
            </a:xfrm>
            <a:prstGeom prst="rect">
              <a:avLst/>
            </a:prstGeom>
            <a:solidFill>
              <a:srgbClr val="52519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1" name="Rectangle 110"/>
            <p:cNvSpPr>
              <a:spLocks noChangeArrowheads="1"/>
            </p:cNvSpPr>
            <p:nvPr userDrawn="1"/>
          </p:nvSpPr>
          <p:spPr bwMode="gray">
            <a:xfrm>
              <a:off x="-2159000" y="2068513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Indigo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82, 81, 153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2" name="Rectangle 111"/>
            <p:cNvSpPr>
              <a:spLocks noChangeArrowheads="1"/>
            </p:cNvSpPr>
            <p:nvPr userDrawn="1"/>
          </p:nvSpPr>
          <p:spPr bwMode="gray">
            <a:xfrm>
              <a:off x="-2449513" y="2527301"/>
              <a:ext cx="215900" cy="215900"/>
            </a:xfrm>
            <a:prstGeom prst="rect">
              <a:avLst/>
            </a:prstGeom>
            <a:solidFill>
              <a:srgbClr val="60A6DA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3" name="Rectangle 112"/>
            <p:cNvSpPr>
              <a:spLocks noChangeArrowheads="1"/>
            </p:cNvSpPr>
            <p:nvPr userDrawn="1"/>
          </p:nvSpPr>
          <p:spPr bwMode="gray">
            <a:xfrm>
              <a:off x="-2159000" y="25368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Sk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96, 166, 2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4" name="Rectangle 113"/>
            <p:cNvSpPr>
              <a:spLocks noChangeArrowheads="1"/>
            </p:cNvSpPr>
            <p:nvPr userDrawn="1"/>
          </p:nvSpPr>
          <p:spPr bwMode="gray">
            <a:xfrm>
              <a:off x="-2449513" y="762000"/>
              <a:ext cx="1692000" cy="165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90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200" b="1" smtClean="0">
                  <a:solidFill>
                    <a:srgbClr val="333333"/>
                  </a:solidFill>
                </a:rPr>
                <a:t>Colour Guidelines</a:t>
              </a:r>
              <a:endParaRPr lang="en-GB" altLang="en-US" sz="1200" b="1">
                <a:solidFill>
                  <a:srgbClr val="333333"/>
                </a:solidFill>
              </a:endParaRPr>
            </a:p>
          </p:txBody>
        </p:sp>
        <p:sp>
          <p:nvSpPr>
            <p:cNvPr id="65" name="Rectangle 107"/>
            <p:cNvSpPr>
              <a:spLocks noChangeArrowheads="1"/>
            </p:cNvSpPr>
            <p:nvPr/>
          </p:nvSpPr>
          <p:spPr bwMode="gray">
            <a:xfrm>
              <a:off x="-2449513" y="2962277"/>
              <a:ext cx="215900" cy="215900"/>
            </a:xfrm>
            <a:prstGeom prst="rect">
              <a:avLst/>
            </a:prstGeom>
            <a:solidFill>
              <a:srgbClr val="AB006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6" name="Rectangle 108"/>
            <p:cNvSpPr>
              <a:spLocks noChangeArrowheads="1"/>
            </p:cNvSpPr>
            <p:nvPr/>
          </p:nvSpPr>
          <p:spPr bwMode="gray">
            <a:xfrm>
              <a:off x="-2159000" y="29876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Fuchsia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71, 0, 102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7" name="Rectangle 109"/>
            <p:cNvSpPr>
              <a:spLocks noChangeArrowheads="1"/>
            </p:cNvSpPr>
            <p:nvPr/>
          </p:nvSpPr>
          <p:spPr bwMode="gray">
            <a:xfrm>
              <a:off x="-2449513" y="3449639"/>
              <a:ext cx="215900" cy="215900"/>
            </a:xfrm>
            <a:prstGeom prst="rect">
              <a:avLst/>
            </a:prstGeom>
            <a:solidFill>
              <a:srgbClr val="D0D93C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8" name="Rectangle 110"/>
            <p:cNvSpPr>
              <a:spLocks noChangeArrowheads="1"/>
            </p:cNvSpPr>
            <p:nvPr/>
          </p:nvSpPr>
          <p:spPr bwMode="gray">
            <a:xfrm>
              <a:off x="-2159000" y="3459164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m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08, 217, 6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9" name="Rectangle 111"/>
            <p:cNvSpPr>
              <a:spLocks noChangeArrowheads="1"/>
            </p:cNvSpPr>
            <p:nvPr/>
          </p:nvSpPr>
          <p:spPr bwMode="gray">
            <a:xfrm>
              <a:off x="-2449513" y="3917952"/>
              <a:ext cx="215900" cy="215900"/>
            </a:xfrm>
            <a:prstGeom prst="rect">
              <a:avLst/>
            </a:prstGeom>
            <a:solidFill>
              <a:srgbClr val="01964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70" name="Rectangle 112"/>
            <p:cNvSpPr>
              <a:spLocks noChangeArrowheads="1"/>
            </p:cNvSpPr>
            <p:nvPr/>
          </p:nvSpPr>
          <p:spPr bwMode="gray">
            <a:xfrm>
              <a:off x="-2159000" y="39274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eaf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2, 150, 8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71" name="Rectangle 109"/>
            <p:cNvSpPr>
              <a:spLocks noChangeArrowheads="1"/>
            </p:cNvSpPr>
            <p:nvPr/>
          </p:nvSpPr>
          <p:spPr bwMode="gray">
            <a:xfrm>
              <a:off x="-2449513" y="4405314"/>
              <a:ext cx="215900" cy="215900"/>
            </a:xfrm>
            <a:prstGeom prst="rect">
              <a:avLst/>
            </a:prstGeom>
            <a:solidFill>
              <a:srgbClr val="76767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72" name="Rectangle 110"/>
            <p:cNvSpPr>
              <a:spLocks noChangeArrowheads="1"/>
            </p:cNvSpPr>
            <p:nvPr/>
          </p:nvSpPr>
          <p:spPr bwMode="gray">
            <a:xfrm>
              <a:off x="-2159000" y="4414839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Mid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18, 118, 1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73" name="Rectangle 111"/>
            <p:cNvSpPr>
              <a:spLocks noChangeArrowheads="1"/>
            </p:cNvSpPr>
            <p:nvPr/>
          </p:nvSpPr>
          <p:spPr bwMode="gray">
            <a:xfrm>
              <a:off x="-2449513" y="4873627"/>
              <a:ext cx="215900" cy="215900"/>
            </a:xfrm>
            <a:prstGeom prst="rect">
              <a:avLst/>
            </a:prstGeom>
            <a:solidFill>
              <a:srgbClr val="333333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74" name="Rectangle 112"/>
            <p:cNvSpPr>
              <a:spLocks noChangeArrowheads="1"/>
            </p:cNvSpPr>
            <p:nvPr/>
          </p:nvSpPr>
          <p:spPr bwMode="gray">
            <a:xfrm>
              <a:off x="-2159000" y="4883152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Text Colour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1, 51, 5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</p:grpSp>
      <p:pic>
        <p:nvPicPr>
          <p:cNvPr id="42" name="Picture 41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466554" y="4402733"/>
            <a:ext cx="125761" cy="138908"/>
          </a:xfrm>
          <a:prstGeom prst="rect">
            <a:avLst/>
          </a:prstGeom>
        </p:spPr>
      </p:pic>
      <p:sp>
        <p:nvSpPr>
          <p:cNvPr id="43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6636209" y="4291504"/>
            <a:ext cx="2427750" cy="275612"/>
          </a:xfrm>
        </p:spPr>
        <p:txBody>
          <a:bodyPr tIns="0" bIns="0"/>
          <a:lstStyle>
            <a:lvl1pPr marL="0" indent="0" algn="r">
              <a:lnSpc>
                <a:spcPct val="100000"/>
              </a:lnSpc>
              <a:buNone/>
              <a:defRPr sz="1500">
                <a:solidFill>
                  <a:srgbClr val="000000"/>
                </a:solidFill>
                <a:latin typeface="+mn-lt"/>
              </a:defRPr>
            </a:lvl1pPr>
            <a:lvl2pPr>
              <a:defRPr sz="2200">
                <a:solidFill>
                  <a:srgbClr val="000000"/>
                </a:solidFill>
              </a:defRPr>
            </a:lvl2pPr>
            <a:lvl3pPr>
              <a:defRPr sz="2200">
                <a:solidFill>
                  <a:srgbClr val="000000"/>
                </a:solidFill>
              </a:defRPr>
            </a:lvl3pPr>
            <a:lvl4pPr>
              <a:defRPr sz="2200">
                <a:solidFill>
                  <a:srgbClr val="000000"/>
                </a:solidFill>
              </a:defRPr>
            </a:lvl4pPr>
            <a:lvl5pPr>
              <a:defRPr sz="2200">
                <a:solidFill>
                  <a:srgbClr val="000000"/>
                </a:solidFill>
              </a:defRPr>
            </a:lvl5pPr>
          </a:lstStyle>
          <a:p>
            <a:pPr lvl="0"/>
            <a:r>
              <a:rPr lang="en-GB" noProof="0" dirty="0" smtClean="0"/>
              <a:t>Click to edit location and date</a:t>
            </a:r>
          </a:p>
        </p:txBody>
      </p:sp>
    </p:spTree>
    <p:extLst>
      <p:ext uri="{BB962C8B-B14F-4D97-AF65-F5344CB8AC3E}">
        <p14:creationId xmlns:p14="http://schemas.microsoft.com/office/powerpoint/2010/main" val="2999948067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1" orient="horz" pos="4135" userDrawn="1">
          <p15:clr>
            <a:srgbClr val="FBAE40"/>
          </p15:clr>
        </p15:guide>
        <p15:guide id="2" orient="horz" pos="3304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 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2"/>
          <p:cNvSpPr>
            <a:spLocks noGrp="1"/>
          </p:cNvSpPr>
          <p:nvPr>
            <p:ph idx="1"/>
          </p:nvPr>
        </p:nvSpPr>
        <p:spPr bwMode="gray">
          <a:xfrm>
            <a:off x="687031" y="1278387"/>
            <a:ext cx="8522455" cy="492239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268288" indent="-268288">
              <a:buClr>
                <a:schemeClr val="accent1"/>
              </a:buClr>
              <a:buFont typeface="ING Me" pitchFamily="2" charset="0"/>
              <a:buChar char="•"/>
              <a:defRPr/>
            </a:lvl1pPr>
            <a:lvl2pPr marL="538163" indent="-268288">
              <a:buClr>
                <a:schemeClr val="accent2"/>
              </a:buClr>
              <a:buFont typeface="ING Me" pitchFamily="2" charset="0"/>
              <a:buChar char="•"/>
              <a:defRPr/>
            </a:lvl2pPr>
            <a:lvl3pPr marL="804863" indent="-266700">
              <a:buClr>
                <a:schemeClr val="accent3"/>
              </a:buClr>
              <a:defRPr/>
            </a:lvl3pPr>
            <a:lvl4pPr marL="1077913" indent="-260350">
              <a:buClr>
                <a:schemeClr val="accent4"/>
              </a:buClr>
              <a:defRPr/>
            </a:lvl4pPr>
            <a:lvl5pPr marL="1341438" indent="-252413">
              <a:buClr>
                <a:schemeClr val="accent5"/>
              </a:buClr>
              <a:defRPr/>
            </a:lvl5pPr>
          </a:lstStyle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‹#›</a:t>
            </a:fld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19951064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2"/>
          <p:cNvSpPr>
            <a:spLocks noGrp="1"/>
          </p:cNvSpPr>
          <p:nvPr>
            <p:ph idx="1"/>
          </p:nvPr>
        </p:nvSpPr>
        <p:spPr bwMode="gray">
          <a:xfrm>
            <a:off x="687031" y="1278387"/>
            <a:ext cx="8522455" cy="492239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2pPr marL="268288" indent="-268288">
              <a:buClr>
                <a:schemeClr val="accent1"/>
              </a:buClr>
              <a:buFont typeface="ING Me" pitchFamily="2" charset="0"/>
              <a:buChar char="•"/>
              <a:defRPr/>
            </a:lvl2pPr>
            <a:lvl3pPr marL="536575" indent="-266700">
              <a:buClr>
                <a:schemeClr val="accent2"/>
              </a:buClr>
              <a:defRPr/>
            </a:lvl3pPr>
            <a:lvl4pPr marL="808038" indent="-260350">
              <a:buClr>
                <a:schemeClr val="accent3"/>
              </a:buClr>
              <a:defRPr/>
            </a:lvl4pPr>
            <a:lvl5pPr marL="1071563" indent="-252413">
              <a:buClr>
                <a:schemeClr val="accent4"/>
              </a:buClr>
              <a:defRPr/>
            </a:lvl5pPr>
          </a:lstStyle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0566033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Content Slide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2"/>
          <p:cNvSpPr>
            <a:spLocks noGrp="1"/>
          </p:cNvSpPr>
          <p:nvPr>
            <p:ph idx="1"/>
          </p:nvPr>
        </p:nvSpPr>
        <p:spPr bwMode="gray">
          <a:xfrm>
            <a:off x="687031" y="1795639"/>
            <a:ext cx="8522455" cy="440513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2pPr marL="268288" indent="-268288">
              <a:buClr>
                <a:schemeClr val="accent1"/>
              </a:buClr>
              <a:buFont typeface="ING Me" pitchFamily="2" charset="0"/>
              <a:buChar char="•"/>
              <a:defRPr/>
            </a:lvl2pPr>
            <a:lvl3pPr marL="536575" indent="-266700">
              <a:buClr>
                <a:schemeClr val="accent2"/>
              </a:buClr>
              <a:defRPr/>
            </a:lvl3pPr>
            <a:lvl4pPr marL="808038" indent="-260350">
              <a:buClr>
                <a:schemeClr val="accent3"/>
              </a:buClr>
              <a:defRPr/>
            </a:lvl4pPr>
            <a:lvl5pPr marL="1071563" indent="-252413">
              <a:buClr>
                <a:schemeClr val="accent4"/>
              </a:buClr>
              <a:defRPr/>
            </a:lvl5pPr>
          </a:lstStyle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  <p:sp>
        <p:nvSpPr>
          <p:cNvPr id="7" name="Text Placeholder 10"/>
          <p:cNvSpPr>
            <a:spLocks noGrp="1"/>
          </p:cNvSpPr>
          <p:nvPr>
            <p:ph type="body" sz="quarter" idx="12" hasCustomPrompt="1"/>
          </p:nvPr>
        </p:nvSpPr>
        <p:spPr>
          <a:xfrm>
            <a:off x="687030" y="1277985"/>
            <a:ext cx="8522455" cy="436017"/>
          </a:xfrm>
        </p:spPr>
        <p:txBody>
          <a:bodyPr>
            <a:noAutofit/>
          </a:bodyPr>
          <a:lstStyle>
            <a:lvl1pPr>
              <a:lnSpc>
                <a:spcPts val="1700"/>
              </a:lnSpc>
              <a:defRPr sz="15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US" smtClean="0"/>
              <a:t>Click to edit title</a:t>
            </a:r>
          </a:p>
        </p:txBody>
      </p:sp>
    </p:spTree>
    <p:extLst>
      <p:ext uri="{BB962C8B-B14F-4D97-AF65-F5344CB8AC3E}">
        <p14:creationId xmlns:p14="http://schemas.microsoft.com/office/powerpoint/2010/main" val="272014084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 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2"/>
          <p:cNvSpPr>
            <a:spLocks noGrp="1"/>
          </p:cNvSpPr>
          <p:nvPr>
            <p:ph idx="1"/>
          </p:nvPr>
        </p:nvSpPr>
        <p:spPr bwMode="gray">
          <a:xfrm>
            <a:off x="687031" y="1278387"/>
            <a:ext cx="8522455" cy="492239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268288" indent="-268288">
              <a:buClr>
                <a:schemeClr val="accent1"/>
              </a:buClr>
              <a:buFont typeface="ING Me" pitchFamily="2" charset="0"/>
              <a:buChar char="•"/>
              <a:defRPr/>
            </a:lvl1pPr>
            <a:lvl2pPr marL="538163" indent="-268288">
              <a:buClr>
                <a:schemeClr val="accent2"/>
              </a:buClr>
              <a:buFont typeface="ING Me" pitchFamily="2" charset="0"/>
              <a:buChar char="•"/>
              <a:defRPr/>
            </a:lvl2pPr>
            <a:lvl3pPr marL="804863" indent="-266700">
              <a:buClr>
                <a:schemeClr val="accent3"/>
              </a:buClr>
              <a:defRPr/>
            </a:lvl3pPr>
            <a:lvl4pPr marL="1077913" indent="-260350">
              <a:buClr>
                <a:schemeClr val="accent4"/>
              </a:buClr>
              <a:defRPr/>
            </a:lvl4pPr>
            <a:lvl5pPr marL="1341438" indent="-252413">
              <a:buClr>
                <a:schemeClr val="accent5"/>
              </a:buClr>
              <a:defRPr/>
            </a:lvl5pPr>
          </a:lstStyle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0145787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Content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2"/>
          <p:cNvSpPr>
            <a:spLocks noGrp="1"/>
          </p:cNvSpPr>
          <p:nvPr>
            <p:ph idx="1"/>
          </p:nvPr>
        </p:nvSpPr>
        <p:spPr bwMode="gray">
          <a:xfrm>
            <a:off x="687031" y="1278387"/>
            <a:ext cx="8522455" cy="492239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3404243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Full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6" name="Group 65"/>
          <p:cNvGrpSpPr>
            <a:grpSpLocks noChangeAspect="1"/>
          </p:cNvGrpSpPr>
          <p:nvPr userDrawn="1"/>
        </p:nvGrpSpPr>
        <p:grpSpPr bwMode="gray">
          <a:xfrm>
            <a:off x="0" y="1643199"/>
            <a:ext cx="4801323" cy="3045600"/>
            <a:chOff x="3465513" y="2070100"/>
            <a:chExt cx="5260975" cy="2711450"/>
          </a:xfrm>
        </p:grpSpPr>
        <p:sp>
          <p:nvSpPr>
            <p:cNvPr id="67" name="Freeform 5"/>
            <p:cNvSpPr>
              <a:spLocks/>
            </p:cNvSpPr>
            <p:nvPr userDrawn="1"/>
          </p:nvSpPr>
          <p:spPr bwMode="gray">
            <a:xfrm>
              <a:off x="3465513" y="4095750"/>
              <a:ext cx="5260975" cy="685800"/>
            </a:xfrm>
            <a:custGeom>
              <a:avLst/>
              <a:gdLst>
                <a:gd name="T0" fmla="*/ 0 w 1400"/>
                <a:gd name="T1" fmla="*/ 0 h 182"/>
                <a:gd name="T2" fmla="*/ 0 w 1400"/>
                <a:gd name="T3" fmla="*/ 182 h 182"/>
                <a:gd name="T4" fmla="*/ 1376 w 1400"/>
                <a:gd name="T5" fmla="*/ 182 h 182"/>
                <a:gd name="T6" fmla="*/ 1400 w 1400"/>
                <a:gd name="T7" fmla="*/ 158 h 182"/>
                <a:gd name="T8" fmla="*/ 1400 w 1400"/>
                <a:gd name="T9" fmla="*/ 0 h 182"/>
                <a:gd name="T10" fmla="*/ 0 w 1400"/>
                <a:gd name="T11" fmla="*/ 0 h 1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400" h="182">
                  <a:moveTo>
                    <a:pt x="0" y="0"/>
                  </a:moveTo>
                  <a:cubicBezTo>
                    <a:pt x="0" y="182"/>
                    <a:pt x="0" y="182"/>
                    <a:pt x="0" y="182"/>
                  </a:cubicBezTo>
                  <a:cubicBezTo>
                    <a:pt x="1376" y="182"/>
                    <a:pt x="1376" y="182"/>
                    <a:pt x="1376" y="182"/>
                  </a:cubicBezTo>
                  <a:cubicBezTo>
                    <a:pt x="1376" y="182"/>
                    <a:pt x="1400" y="182"/>
                    <a:pt x="1400" y="158"/>
                  </a:cubicBezTo>
                  <a:cubicBezTo>
                    <a:pt x="1400" y="0"/>
                    <a:pt x="1400" y="0"/>
                    <a:pt x="1400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EAEAEA"/>
            </a:solidFill>
            <a:ln w="9525">
              <a:solidFill>
                <a:srgbClr val="EAEAEA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333333"/>
                </a:solidFill>
              </a:endParaRPr>
            </a:p>
          </p:txBody>
        </p:sp>
        <p:sp>
          <p:nvSpPr>
            <p:cNvPr id="68" name="Freeform 67"/>
            <p:cNvSpPr>
              <a:spLocks/>
            </p:cNvSpPr>
            <p:nvPr userDrawn="1"/>
          </p:nvSpPr>
          <p:spPr bwMode="gray">
            <a:xfrm>
              <a:off x="3465513" y="2070100"/>
              <a:ext cx="5260975" cy="2025650"/>
            </a:xfrm>
            <a:custGeom>
              <a:avLst/>
              <a:gdLst>
                <a:gd name="T0" fmla="*/ 0 w 1400"/>
                <a:gd name="T1" fmla="*/ 0 h 538"/>
                <a:gd name="T2" fmla="*/ 0 w 1400"/>
                <a:gd name="T3" fmla="*/ 538 h 538"/>
                <a:gd name="T4" fmla="*/ 1400 w 1400"/>
                <a:gd name="T5" fmla="*/ 538 h 538"/>
                <a:gd name="T6" fmla="*/ 1400 w 1400"/>
                <a:gd name="T7" fmla="*/ 24 h 538"/>
                <a:gd name="T8" fmla="*/ 1376 w 1400"/>
                <a:gd name="T9" fmla="*/ 0 h 538"/>
                <a:gd name="T10" fmla="*/ 0 w 1400"/>
                <a:gd name="T11" fmla="*/ 0 h 5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400" h="538">
                  <a:moveTo>
                    <a:pt x="0" y="0"/>
                  </a:moveTo>
                  <a:cubicBezTo>
                    <a:pt x="0" y="538"/>
                    <a:pt x="0" y="538"/>
                    <a:pt x="0" y="538"/>
                  </a:cubicBezTo>
                  <a:cubicBezTo>
                    <a:pt x="1400" y="538"/>
                    <a:pt x="1400" y="538"/>
                    <a:pt x="1400" y="538"/>
                  </a:cubicBezTo>
                  <a:cubicBezTo>
                    <a:pt x="1400" y="24"/>
                    <a:pt x="1400" y="24"/>
                    <a:pt x="1400" y="24"/>
                  </a:cubicBezTo>
                  <a:cubicBezTo>
                    <a:pt x="1400" y="24"/>
                    <a:pt x="1400" y="0"/>
                    <a:pt x="1376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F6200"/>
            </a:solidFill>
            <a:ln w="9525">
              <a:solidFill>
                <a:srgbClr val="FF6200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333333"/>
                </a:solidFill>
              </a:endParaRPr>
            </a:p>
          </p:txBody>
        </p:sp>
      </p:grpSp>
      <p:sp>
        <p:nvSpPr>
          <p:cNvPr id="65" name="Picture Placeholder 64"/>
          <p:cNvSpPr>
            <a:spLocks noGrp="1"/>
          </p:cNvSpPr>
          <p:nvPr>
            <p:ph type="pic" sz="quarter" idx="12"/>
          </p:nvPr>
        </p:nvSpPr>
        <p:spPr bwMode="gray">
          <a:xfrm>
            <a:off x="-2579" y="4"/>
            <a:ext cx="9908580" cy="6024879"/>
          </a:xfrm>
          <a:custGeom>
            <a:avLst/>
            <a:gdLst>
              <a:gd name="connsiteX0" fmla="*/ 0 w 12195175"/>
              <a:gd name="connsiteY0" fmla="*/ 0 h 6024879"/>
              <a:gd name="connsiteX1" fmla="*/ 12195175 w 12195175"/>
              <a:gd name="connsiteY1" fmla="*/ 0 h 6024879"/>
              <a:gd name="connsiteX2" fmla="*/ 12195175 w 12195175"/>
              <a:gd name="connsiteY2" fmla="*/ 6024879 h 6024879"/>
              <a:gd name="connsiteX3" fmla="*/ 0 w 12195175"/>
              <a:gd name="connsiteY3" fmla="*/ 6024879 h 6024879"/>
              <a:gd name="connsiteX4" fmla="*/ 0 w 12195175"/>
              <a:gd name="connsiteY4" fmla="*/ 4688798 h 6024879"/>
              <a:gd name="connsiteX5" fmla="*/ 3176 w 12195175"/>
              <a:gd name="connsiteY5" fmla="*/ 4688798 h 6024879"/>
              <a:gd name="connsiteX6" fmla="*/ 61412 w 12195175"/>
              <a:gd name="connsiteY6" fmla="*/ 4688798 h 6024879"/>
              <a:gd name="connsiteX7" fmla="*/ 530839 w 12195175"/>
              <a:gd name="connsiteY7" fmla="*/ 4688798 h 6024879"/>
              <a:gd name="connsiteX8" fmla="*/ 5811194 w 12195175"/>
              <a:gd name="connsiteY8" fmla="*/ 4688798 h 6024879"/>
              <a:gd name="connsiteX9" fmla="*/ 5912496 w 12195175"/>
              <a:gd name="connsiteY9" fmla="*/ 4587218 h 6024879"/>
              <a:gd name="connsiteX10" fmla="*/ 5912496 w 12195175"/>
              <a:gd name="connsiteY10" fmla="*/ 3918482 h 6024879"/>
              <a:gd name="connsiteX11" fmla="*/ 5912496 w 12195175"/>
              <a:gd name="connsiteY11" fmla="*/ 1744697 h 6024879"/>
              <a:gd name="connsiteX12" fmla="*/ 5811194 w 12195175"/>
              <a:gd name="connsiteY12" fmla="*/ 1643198 h 6024879"/>
              <a:gd name="connsiteX13" fmla="*/ 61412 w 12195175"/>
              <a:gd name="connsiteY13" fmla="*/ 1643198 h 6024879"/>
              <a:gd name="connsiteX14" fmla="*/ 3176 w 12195175"/>
              <a:gd name="connsiteY14" fmla="*/ 1643198 h 6024879"/>
              <a:gd name="connsiteX15" fmla="*/ 0 w 12195175"/>
              <a:gd name="connsiteY15" fmla="*/ 1643198 h 60248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2195175" h="6024879">
                <a:moveTo>
                  <a:pt x="0" y="0"/>
                </a:moveTo>
                <a:lnTo>
                  <a:pt x="12195175" y="0"/>
                </a:lnTo>
                <a:lnTo>
                  <a:pt x="12195175" y="6024879"/>
                </a:lnTo>
                <a:lnTo>
                  <a:pt x="0" y="6024879"/>
                </a:lnTo>
                <a:lnTo>
                  <a:pt x="0" y="4688798"/>
                </a:lnTo>
                <a:lnTo>
                  <a:pt x="3176" y="4688798"/>
                </a:lnTo>
                <a:lnTo>
                  <a:pt x="61412" y="4688798"/>
                </a:lnTo>
                <a:lnTo>
                  <a:pt x="530839" y="4688798"/>
                </a:lnTo>
                <a:cubicBezTo>
                  <a:pt x="5811194" y="4688798"/>
                  <a:pt x="5811194" y="4688798"/>
                  <a:pt x="5811194" y="4688798"/>
                </a:cubicBezTo>
                <a:cubicBezTo>
                  <a:pt x="5811194" y="4688798"/>
                  <a:pt x="5912496" y="4688798"/>
                  <a:pt x="5912496" y="4587218"/>
                </a:cubicBezTo>
                <a:cubicBezTo>
                  <a:pt x="5912496" y="3918482"/>
                  <a:pt x="5912496" y="3918482"/>
                  <a:pt x="5912496" y="3918482"/>
                </a:cubicBezTo>
                <a:cubicBezTo>
                  <a:pt x="5912496" y="1744697"/>
                  <a:pt x="5912496" y="1744697"/>
                  <a:pt x="5912496" y="1744697"/>
                </a:cubicBezTo>
                <a:cubicBezTo>
                  <a:pt x="5912496" y="1744697"/>
                  <a:pt x="5912496" y="1643198"/>
                  <a:pt x="5811194" y="1643198"/>
                </a:cubicBezTo>
                <a:lnTo>
                  <a:pt x="61412" y="1643198"/>
                </a:lnTo>
                <a:lnTo>
                  <a:pt x="3176" y="1643198"/>
                </a:lnTo>
                <a:lnTo>
                  <a:pt x="0" y="1643198"/>
                </a:lnTo>
                <a:close/>
              </a:path>
            </a:pathLst>
          </a:custGeom>
          <a:solidFill>
            <a:srgbClr val="E9E9E9">
              <a:alpha val="10000"/>
            </a:srgbClr>
          </a:solidFill>
        </p:spPr>
        <p:txBody>
          <a:bodyPr wrap="square" lIns="2880000" tIns="0" anchor="ctr" anchorCtr="0">
            <a:noAutofit/>
          </a:bodyPr>
          <a:lstStyle>
            <a:lvl1pPr algn="ctr">
              <a:defRPr sz="1400" b="0"/>
            </a:lvl1pPr>
          </a:lstStyle>
          <a:p>
            <a:r>
              <a:rPr lang="nl-NL" smtClean="0"/>
              <a:t>Klik op het pictogram als u een afbeelding wilt toevoegen</a:t>
            </a:r>
            <a:endParaRPr lang="en-GB"/>
          </a:p>
        </p:txBody>
      </p:sp>
      <p:sp>
        <p:nvSpPr>
          <p:cNvPr id="9" name="Title 1"/>
          <p:cNvSpPr>
            <a:spLocks noGrp="1"/>
          </p:cNvSpPr>
          <p:nvPr>
            <p:ph type="ctrTitle"/>
          </p:nvPr>
        </p:nvSpPr>
        <p:spPr bwMode="gray">
          <a:xfrm>
            <a:off x="684479" y="2012286"/>
            <a:ext cx="3963347" cy="1461600"/>
          </a:xfrm>
        </p:spPr>
        <p:txBody>
          <a:bodyPr anchor="ctr" anchorCtr="0">
            <a:noAutofit/>
          </a:bodyPr>
          <a:lstStyle>
            <a:lvl1pPr algn="l">
              <a:lnSpc>
                <a:spcPts val="3800"/>
              </a:lnSpc>
              <a:defRPr sz="3800">
                <a:solidFill>
                  <a:schemeClr val="bg1"/>
                </a:solidFill>
              </a:defRPr>
            </a:lvl1pPr>
          </a:lstStyle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  <p:sp>
        <p:nvSpPr>
          <p:cNvPr id="10" name="Subtitle 2"/>
          <p:cNvSpPr>
            <a:spLocks noGrp="1"/>
          </p:cNvSpPr>
          <p:nvPr>
            <p:ph type="subTitle" idx="1"/>
          </p:nvPr>
        </p:nvSpPr>
        <p:spPr bwMode="gray">
          <a:xfrm>
            <a:off x="684479" y="4031478"/>
            <a:ext cx="3963347" cy="306798"/>
          </a:xfrm>
        </p:spPr>
        <p:txBody>
          <a:bodyPr anchor="ctr" anchorCtr="0">
            <a:noAutofit/>
          </a:bodyPr>
          <a:lstStyle>
            <a:lvl1pPr marL="0" indent="0" algn="l">
              <a:lnSpc>
                <a:spcPts val="2200"/>
              </a:lnSpc>
              <a:buNone/>
              <a:defRPr sz="1700" b="0" i="0"/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nl-NL" noProof="0" smtClean="0"/>
              <a:t>Klik om de ondertitelstijl van het model te bewerken</a:t>
            </a:r>
            <a:endParaRPr lang="en-GB" noProof="0" dirty="0"/>
          </a:p>
        </p:txBody>
      </p:sp>
      <p:sp>
        <p:nvSpPr>
          <p:cNvPr id="11" name="Text Placeholder 6"/>
          <p:cNvSpPr>
            <a:spLocks noGrp="1"/>
          </p:cNvSpPr>
          <p:nvPr>
            <p:ph type="body" sz="quarter" idx="11"/>
          </p:nvPr>
        </p:nvSpPr>
        <p:spPr bwMode="gray">
          <a:xfrm>
            <a:off x="684479" y="3603486"/>
            <a:ext cx="3963347" cy="290712"/>
          </a:xfrm>
        </p:spPr>
        <p:txBody>
          <a:bodyPr bIns="0">
            <a:noAutofit/>
          </a:bodyPr>
          <a:lstStyle>
            <a:lvl1pPr algn="l">
              <a:lnSpc>
                <a:spcPts val="1700"/>
              </a:lnSpc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noProof="0" smtClean="0"/>
              <a:t>Klik om de modelstijlen te bewerken</a:t>
            </a:r>
          </a:p>
        </p:txBody>
      </p:sp>
      <p:sp>
        <p:nvSpPr>
          <p:cNvPr id="12" name="Rectangle 11"/>
          <p:cNvSpPr/>
          <p:nvPr userDrawn="1"/>
        </p:nvSpPr>
        <p:spPr bwMode="gray">
          <a:xfrm>
            <a:off x="2" y="6024880"/>
            <a:ext cx="9904532" cy="8331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2400">
              <a:solidFill>
                <a:prstClr val="white"/>
              </a:solidFill>
            </a:endParaRPr>
          </a:p>
        </p:txBody>
      </p:sp>
      <p:sp>
        <p:nvSpPr>
          <p:cNvPr id="18" name="Picture Placeholder 2"/>
          <p:cNvSpPr>
            <a:spLocks noGrp="1"/>
          </p:cNvSpPr>
          <p:nvPr>
            <p:ph type="pic" sz="quarter" idx="13" hasCustomPrompt="1"/>
          </p:nvPr>
        </p:nvSpPr>
        <p:spPr>
          <a:xfrm>
            <a:off x="681038" y="6055200"/>
            <a:ext cx="1784250" cy="504000"/>
          </a:xfrm>
        </p:spPr>
        <p:txBody>
          <a:bodyPr lIns="0" anchor="ctr" anchorCtr="0"/>
          <a:lstStyle>
            <a:lvl1pPr algn="l">
              <a:lnSpc>
                <a:spcPct val="100000"/>
              </a:lnSpc>
              <a:defRPr sz="900" b="0"/>
            </a:lvl1pPr>
          </a:lstStyle>
          <a:p>
            <a:r>
              <a:rPr lang="en-GB" dirty="0" smtClean="0"/>
              <a:t>Click to insert project logo</a:t>
            </a:r>
            <a:endParaRPr lang="en-GB" dirty="0"/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28199" y="6203775"/>
            <a:ext cx="1233535" cy="378000"/>
          </a:xfrm>
          <a:prstGeom prst="rect">
            <a:avLst/>
          </a:prstGeom>
        </p:spPr>
      </p:pic>
      <p:cxnSp>
        <p:nvCxnSpPr>
          <p:cNvPr id="17" name="Straight Connector 16"/>
          <p:cNvCxnSpPr/>
          <p:nvPr userDrawn="1"/>
        </p:nvCxnSpPr>
        <p:spPr>
          <a:xfrm>
            <a:off x="2449809" y="6953250"/>
            <a:ext cx="0" cy="36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/>
          <p:cNvCxnSpPr/>
          <p:nvPr userDrawn="1"/>
        </p:nvCxnSpPr>
        <p:spPr>
          <a:xfrm>
            <a:off x="-346674" y="6200775"/>
            <a:ext cx="2925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Box 5"/>
          <p:cNvSpPr txBox="1"/>
          <p:nvPr userDrawn="1"/>
        </p:nvSpPr>
        <p:spPr>
          <a:xfrm>
            <a:off x="980423" y="7019958"/>
            <a:ext cx="1170000" cy="226591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ctr"/>
            <a:r>
              <a:rPr lang="en-GB" sz="1000" smtClean="0">
                <a:solidFill>
                  <a:srgbClr val="333333"/>
                </a:solidFill>
              </a:rPr>
              <a:t>Max. width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-1224174" y="6266695"/>
            <a:ext cx="1170000" cy="226591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r"/>
            <a:r>
              <a:rPr lang="en-GB" sz="1000" smtClean="0">
                <a:solidFill>
                  <a:srgbClr val="333333"/>
                </a:solidFill>
              </a:rPr>
              <a:t>Max. height</a:t>
            </a:r>
          </a:p>
        </p:txBody>
      </p:sp>
      <p:cxnSp>
        <p:nvCxnSpPr>
          <p:cNvPr id="24" name="Straight Connector 23"/>
          <p:cNvCxnSpPr/>
          <p:nvPr userDrawn="1"/>
        </p:nvCxnSpPr>
        <p:spPr>
          <a:xfrm>
            <a:off x="681038" y="6953250"/>
            <a:ext cx="0" cy="360000"/>
          </a:xfrm>
          <a:prstGeom prst="line">
            <a:avLst/>
          </a:prstGeom>
          <a:ln>
            <a:head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/>
          <p:cNvCxnSpPr/>
          <p:nvPr userDrawn="1"/>
        </p:nvCxnSpPr>
        <p:spPr>
          <a:xfrm>
            <a:off x="-346674" y="6559200"/>
            <a:ext cx="292500" cy="0"/>
          </a:xfrm>
          <a:prstGeom prst="line">
            <a:avLst/>
          </a:prstGeom>
          <a:ln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77" name="Group 76"/>
          <p:cNvGrpSpPr/>
          <p:nvPr userDrawn="1"/>
        </p:nvGrpSpPr>
        <p:grpSpPr bwMode="gray">
          <a:xfrm>
            <a:off x="-1653580" y="0"/>
            <a:ext cx="1521000" cy="4689612"/>
            <a:chOff x="-2581275" y="595116"/>
            <a:chExt cx="1872000" cy="4689612"/>
          </a:xfrm>
        </p:grpSpPr>
        <p:sp>
          <p:nvSpPr>
            <p:cNvPr id="78" name="Rectangle 104"/>
            <p:cNvSpPr>
              <a:spLocks noChangeArrowheads="1"/>
            </p:cNvSpPr>
            <p:nvPr/>
          </p:nvSpPr>
          <p:spPr bwMode="gray">
            <a:xfrm>
              <a:off x="-2581275" y="4276728"/>
              <a:ext cx="1872000" cy="100800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79" name="Rectangle 104"/>
            <p:cNvSpPr>
              <a:spLocks noChangeArrowheads="1"/>
            </p:cNvSpPr>
            <p:nvPr userDrawn="1"/>
          </p:nvSpPr>
          <p:spPr bwMode="gray">
            <a:xfrm>
              <a:off x="-2581275" y="595116"/>
              <a:ext cx="1872000" cy="3672087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80" name="Rectangle 105"/>
            <p:cNvSpPr>
              <a:spLocks noChangeArrowheads="1"/>
            </p:cNvSpPr>
            <p:nvPr userDrawn="1"/>
          </p:nvSpPr>
          <p:spPr bwMode="gray">
            <a:xfrm>
              <a:off x="-2449513" y="1136650"/>
              <a:ext cx="215900" cy="215900"/>
            </a:xfrm>
            <a:prstGeom prst="rect">
              <a:avLst/>
            </a:prstGeom>
            <a:solidFill>
              <a:srgbClr val="FF6200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81" name="Rectangle 106"/>
            <p:cNvSpPr>
              <a:spLocks noChangeArrowheads="1"/>
            </p:cNvSpPr>
            <p:nvPr userDrawn="1"/>
          </p:nvSpPr>
          <p:spPr bwMode="gray">
            <a:xfrm>
              <a:off x="-2159000" y="1146175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Orang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55, 98, 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82" name="Rectangle 107"/>
            <p:cNvSpPr>
              <a:spLocks noChangeArrowheads="1"/>
            </p:cNvSpPr>
            <p:nvPr userDrawn="1"/>
          </p:nvSpPr>
          <p:spPr bwMode="gray">
            <a:xfrm>
              <a:off x="-2449513" y="1571626"/>
              <a:ext cx="215900" cy="215900"/>
            </a:xfrm>
            <a:prstGeom prst="rect">
              <a:avLst/>
            </a:prstGeom>
            <a:solidFill>
              <a:srgbClr val="A8A8A8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83" name="Rectangle 108"/>
            <p:cNvSpPr>
              <a:spLocks noChangeArrowheads="1"/>
            </p:cNvSpPr>
            <p:nvPr userDrawn="1"/>
          </p:nvSpPr>
          <p:spPr bwMode="gray">
            <a:xfrm>
              <a:off x="-2159000" y="15970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ght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68, 168, 16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84" name="Rectangle 109"/>
            <p:cNvSpPr>
              <a:spLocks noChangeArrowheads="1"/>
            </p:cNvSpPr>
            <p:nvPr userDrawn="1"/>
          </p:nvSpPr>
          <p:spPr bwMode="gray">
            <a:xfrm>
              <a:off x="-2449513" y="2058988"/>
              <a:ext cx="215900" cy="215900"/>
            </a:xfrm>
            <a:prstGeom prst="rect">
              <a:avLst/>
            </a:prstGeom>
            <a:solidFill>
              <a:srgbClr val="52519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85" name="Rectangle 110"/>
            <p:cNvSpPr>
              <a:spLocks noChangeArrowheads="1"/>
            </p:cNvSpPr>
            <p:nvPr userDrawn="1"/>
          </p:nvSpPr>
          <p:spPr bwMode="gray">
            <a:xfrm>
              <a:off x="-2159000" y="2068513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Indigo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82, 81, 153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86" name="Rectangle 111"/>
            <p:cNvSpPr>
              <a:spLocks noChangeArrowheads="1"/>
            </p:cNvSpPr>
            <p:nvPr userDrawn="1"/>
          </p:nvSpPr>
          <p:spPr bwMode="gray">
            <a:xfrm>
              <a:off x="-2449513" y="2527301"/>
              <a:ext cx="215900" cy="215900"/>
            </a:xfrm>
            <a:prstGeom prst="rect">
              <a:avLst/>
            </a:prstGeom>
            <a:solidFill>
              <a:srgbClr val="60A6DA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87" name="Rectangle 112"/>
            <p:cNvSpPr>
              <a:spLocks noChangeArrowheads="1"/>
            </p:cNvSpPr>
            <p:nvPr userDrawn="1"/>
          </p:nvSpPr>
          <p:spPr bwMode="gray">
            <a:xfrm>
              <a:off x="-2159000" y="25368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Sk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96, 166, 2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88" name="Rectangle 113"/>
            <p:cNvSpPr>
              <a:spLocks noChangeArrowheads="1"/>
            </p:cNvSpPr>
            <p:nvPr userDrawn="1"/>
          </p:nvSpPr>
          <p:spPr bwMode="gray">
            <a:xfrm>
              <a:off x="-2449513" y="762000"/>
              <a:ext cx="1692000" cy="165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90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200" b="1" smtClean="0">
                  <a:solidFill>
                    <a:srgbClr val="333333"/>
                  </a:solidFill>
                </a:rPr>
                <a:t>Colour Guidelines</a:t>
              </a:r>
              <a:endParaRPr lang="en-GB" altLang="en-US" sz="1200" b="1">
                <a:solidFill>
                  <a:srgbClr val="333333"/>
                </a:solidFill>
              </a:endParaRPr>
            </a:p>
          </p:txBody>
        </p:sp>
        <p:sp>
          <p:nvSpPr>
            <p:cNvPr id="89" name="Rectangle 107"/>
            <p:cNvSpPr>
              <a:spLocks noChangeArrowheads="1"/>
            </p:cNvSpPr>
            <p:nvPr/>
          </p:nvSpPr>
          <p:spPr bwMode="gray">
            <a:xfrm>
              <a:off x="-2449513" y="2962277"/>
              <a:ext cx="215900" cy="215900"/>
            </a:xfrm>
            <a:prstGeom prst="rect">
              <a:avLst/>
            </a:prstGeom>
            <a:solidFill>
              <a:srgbClr val="AB006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90" name="Rectangle 108"/>
            <p:cNvSpPr>
              <a:spLocks noChangeArrowheads="1"/>
            </p:cNvSpPr>
            <p:nvPr/>
          </p:nvSpPr>
          <p:spPr bwMode="gray">
            <a:xfrm>
              <a:off x="-2159000" y="29876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Fuchsia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71, 0, 102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91" name="Rectangle 109"/>
            <p:cNvSpPr>
              <a:spLocks noChangeArrowheads="1"/>
            </p:cNvSpPr>
            <p:nvPr/>
          </p:nvSpPr>
          <p:spPr bwMode="gray">
            <a:xfrm>
              <a:off x="-2449513" y="3449639"/>
              <a:ext cx="215900" cy="215900"/>
            </a:xfrm>
            <a:prstGeom prst="rect">
              <a:avLst/>
            </a:prstGeom>
            <a:solidFill>
              <a:srgbClr val="D0D93C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92" name="Rectangle 110"/>
            <p:cNvSpPr>
              <a:spLocks noChangeArrowheads="1"/>
            </p:cNvSpPr>
            <p:nvPr/>
          </p:nvSpPr>
          <p:spPr bwMode="gray">
            <a:xfrm>
              <a:off x="-2159000" y="3459164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m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08, 217, 6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93" name="Rectangle 111"/>
            <p:cNvSpPr>
              <a:spLocks noChangeArrowheads="1"/>
            </p:cNvSpPr>
            <p:nvPr/>
          </p:nvSpPr>
          <p:spPr bwMode="gray">
            <a:xfrm>
              <a:off x="-2449513" y="3917952"/>
              <a:ext cx="215900" cy="215900"/>
            </a:xfrm>
            <a:prstGeom prst="rect">
              <a:avLst/>
            </a:prstGeom>
            <a:solidFill>
              <a:srgbClr val="01964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94" name="Rectangle 112"/>
            <p:cNvSpPr>
              <a:spLocks noChangeArrowheads="1"/>
            </p:cNvSpPr>
            <p:nvPr/>
          </p:nvSpPr>
          <p:spPr bwMode="gray">
            <a:xfrm>
              <a:off x="-2159000" y="39274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eaf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2, 150, 8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95" name="Rectangle 109"/>
            <p:cNvSpPr>
              <a:spLocks noChangeArrowheads="1"/>
            </p:cNvSpPr>
            <p:nvPr/>
          </p:nvSpPr>
          <p:spPr bwMode="gray">
            <a:xfrm>
              <a:off x="-2449513" y="4405314"/>
              <a:ext cx="215900" cy="215900"/>
            </a:xfrm>
            <a:prstGeom prst="rect">
              <a:avLst/>
            </a:prstGeom>
            <a:solidFill>
              <a:srgbClr val="76767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96" name="Rectangle 110"/>
            <p:cNvSpPr>
              <a:spLocks noChangeArrowheads="1"/>
            </p:cNvSpPr>
            <p:nvPr/>
          </p:nvSpPr>
          <p:spPr bwMode="gray">
            <a:xfrm>
              <a:off x="-2159000" y="4414839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Mid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18, 118, 1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97" name="Rectangle 111"/>
            <p:cNvSpPr>
              <a:spLocks noChangeArrowheads="1"/>
            </p:cNvSpPr>
            <p:nvPr/>
          </p:nvSpPr>
          <p:spPr bwMode="gray">
            <a:xfrm>
              <a:off x="-2449513" y="4873627"/>
              <a:ext cx="215900" cy="215900"/>
            </a:xfrm>
            <a:prstGeom prst="rect">
              <a:avLst/>
            </a:prstGeom>
            <a:solidFill>
              <a:srgbClr val="333333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98" name="Rectangle 112"/>
            <p:cNvSpPr>
              <a:spLocks noChangeArrowheads="1"/>
            </p:cNvSpPr>
            <p:nvPr/>
          </p:nvSpPr>
          <p:spPr bwMode="gray">
            <a:xfrm>
              <a:off x="-2159000" y="4883152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Text Colour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1, 51, 5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</p:grpSp>
      <p:pic>
        <p:nvPicPr>
          <p:cNvPr id="41" name="Picture 40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466554" y="4402733"/>
            <a:ext cx="125761" cy="138908"/>
          </a:xfrm>
          <a:prstGeom prst="rect">
            <a:avLst/>
          </a:prstGeom>
        </p:spPr>
      </p:pic>
      <p:sp>
        <p:nvSpPr>
          <p:cNvPr id="43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684478" y="4381898"/>
            <a:ext cx="3963375" cy="216000"/>
          </a:xfrm>
        </p:spPr>
        <p:txBody>
          <a:bodyPr tIns="0" bIns="0"/>
          <a:lstStyle>
            <a:lvl1pPr marL="0" indent="0" algn="l">
              <a:lnSpc>
                <a:spcPts val="1350"/>
              </a:lnSpc>
              <a:buNone/>
              <a:defRPr sz="1350">
                <a:solidFill>
                  <a:srgbClr val="000000"/>
                </a:solidFill>
                <a:latin typeface="+mn-lt"/>
              </a:defRPr>
            </a:lvl1pPr>
            <a:lvl2pPr>
              <a:defRPr sz="2200">
                <a:solidFill>
                  <a:srgbClr val="000000"/>
                </a:solidFill>
              </a:defRPr>
            </a:lvl2pPr>
            <a:lvl3pPr>
              <a:defRPr sz="2200">
                <a:solidFill>
                  <a:srgbClr val="000000"/>
                </a:solidFill>
              </a:defRPr>
            </a:lvl3pPr>
            <a:lvl4pPr>
              <a:defRPr sz="2200">
                <a:solidFill>
                  <a:srgbClr val="000000"/>
                </a:solidFill>
              </a:defRPr>
            </a:lvl4pPr>
            <a:lvl5pPr>
              <a:defRPr sz="2200">
                <a:solidFill>
                  <a:srgbClr val="000000"/>
                </a:solidFill>
              </a:defRPr>
            </a:lvl5pPr>
          </a:lstStyle>
          <a:p>
            <a:pPr lvl="0"/>
            <a:r>
              <a:rPr lang="en-GB" noProof="0" dirty="0" smtClean="0"/>
              <a:t>Click to edit location and date</a:t>
            </a:r>
          </a:p>
        </p:txBody>
      </p:sp>
    </p:spTree>
    <p:extLst>
      <p:ext uri="{BB962C8B-B14F-4D97-AF65-F5344CB8AC3E}">
        <p14:creationId xmlns:p14="http://schemas.microsoft.com/office/powerpoint/2010/main" val="2237461521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1" orient="horz" pos="4135" userDrawn="1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Confidential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0" name="Group 49"/>
          <p:cNvGrpSpPr/>
          <p:nvPr userDrawn="1"/>
        </p:nvGrpSpPr>
        <p:grpSpPr bwMode="gray">
          <a:xfrm>
            <a:off x="1" y="1643202"/>
            <a:ext cx="9213354" cy="3055937"/>
            <a:chOff x="409575" y="3144838"/>
            <a:chExt cx="11339513" cy="3055937"/>
          </a:xfrm>
        </p:grpSpPr>
        <p:sp>
          <p:nvSpPr>
            <p:cNvPr id="51" name="Freeform 5"/>
            <p:cNvSpPr>
              <a:spLocks/>
            </p:cNvSpPr>
            <p:nvPr/>
          </p:nvSpPr>
          <p:spPr bwMode="gray">
            <a:xfrm>
              <a:off x="409575" y="5521325"/>
              <a:ext cx="11339513" cy="679450"/>
            </a:xfrm>
            <a:custGeom>
              <a:avLst/>
              <a:gdLst>
                <a:gd name="T0" fmla="*/ 0 w 2680"/>
                <a:gd name="T1" fmla="*/ 0 h 160"/>
                <a:gd name="T2" fmla="*/ 0 w 2680"/>
                <a:gd name="T3" fmla="*/ 160 h 160"/>
                <a:gd name="T4" fmla="*/ 2656 w 2680"/>
                <a:gd name="T5" fmla="*/ 160 h 160"/>
                <a:gd name="T6" fmla="*/ 2680 w 2680"/>
                <a:gd name="T7" fmla="*/ 136 h 160"/>
                <a:gd name="T8" fmla="*/ 2680 w 2680"/>
                <a:gd name="T9" fmla="*/ 0 h 160"/>
                <a:gd name="T10" fmla="*/ 0 w 2680"/>
                <a:gd name="T11" fmla="*/ 0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80" h="160">
                  <a:moveTo>
                    <a:pt x="0" y="0"/>
                  </a:moveTo>
                  <a:cubicBezTo>
                    <a:pt x="0" y="160"/>
                    <a:pt x="0" y="160"/>
                    <a:pt x="0" y="160"/>
                  </a:cubicBezTo>
                  <a:cubicBezTo>
                    <a:pt x="2656" y="160"/>
                    <a:pt x="2656" y="160"/>
                    <a:pt x="2656" y="160"/>
                  </a:cubicBezTo>
                  <a:cubicBezTo>
                    <a:pt x="2656" y="160"/>
                    <a:pt x="2680" y="160"/>
                    <a:pt x="2680" y="136"/>
                  </a:cubicBezTo>
                  <a:cubicBezTo>
                    <a:pt x="2680" y="0"/>
                    <a:pt x="2680" y="0"/>
                    <a:pt x="2680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EAEAE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333333"/>
                </a:solidFill>
              </a:endParaRPr>
            </a:p>
          </p:txBody>
        </p:sp>
        <p:sp>
          <p:nvSpPr>
            <p:cNvPr id="52" name="Freeform 6"/>
            <p:cNvSpPr>
              <a:spLocks/>
            </p:cNvSpPr>
            <p:nvPr/>
          </p:nvSpPr>
          <p:spPr bwMode="gray">
            <a:xfrm>
              <a:off x="409575" y="3144838"/>
              <a:ext cx="11339513" cy="2376487"/>
            </a:xfrm>
            <a:custGeom>
              <a:avLst/>
              <a:gdLst>
                <a:gd name="T0" fmla="*/ 0 w 2680"/>
                <a:gd name="T1" fmla="*/ 0 h 560"/>
                <a:gd name="T2" fmla="*/ 0 w 2680"/>
                <a:gd name="T3" fmla="*/ 560 h 560"/>
                <a:gd name="T4" fmla="*/ 2680 w 2680"/>
                <a:gd name="T5" fmla="*/ 560 h 560"/>
                <a:gd name="T6" fmla="*/ 2680 w 2680"/>
                <a:gd name="T7" fmla="*/ 24 h 560"/>
                <a:gd name="T8" fmla="*/ 2656 w 2680"/>
                <a:gd name="T9" fmla="*/ 0 h 560"/>
                <a:gd name="T10" fmla="*/ 0 w 2680"/>
                <a:gd name="T11" fmla="*/ 0 h 5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80" h="560">
                  <a:moveTo>
                    <a:pt x="0" y="0"/>
                  </a:moveTo>
                  <a:cubicBezTo>
                    <a:pt x="0" y="560"/>
                    <a:pt x="0" y="560"/>
                    <a:pt x="0" y="560"/>
                  </a:cubicBezTo>
                  <a:cubicBezTo>
                    <a:pt x="2680" y="560"/>
                    <a:pt x="2680" y="560"/>
                    <a:pt x="2680" y="560"/>
                  </a:cubicBezTo>
                  <a:cubicBezTo>
                    <a:pt x="2680" y="24"/>
                    <a:pt x="2680" y="24"/>
                    <a:pt x="2680" y="24"/>
                  </a:cubicBezTo>
                  <a:cubicBezTo>
                    <a:pt x="2680" y="24"/>
                    <a:pt x="2680" y="0"/>
                    <a:pt x="2656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F62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333333"/>
                </a:solidFill>
              </a:endParaRPr>
            </a:p>
          </p:txBody>
        </p:sp>
      </p:grpSp>
      <p:sp>
        <p:nvSpPr>
          <p:cNvPr id="8" name="Rectangle 7"/>
          <p:cNvSpPr/>
          <p:nvPr userDrawn="1"/>
        </p:nvSpPr>
        <p:spPr bwMode="gray">
          <a:xfrm>
            <a:off x="2" y="6024880"/>
            <a:ext cx="9904532" cy="8331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2400">
              <a:solidFill>
                <a:prstClr val="white"/>
              </a:solidFill>
            </a:endParaRPr>
          </a:p>
        </p:txBody>
      </p:sp>
      <p:sp>
        <p:nvSpPr>
          <p:cNvPr id="25" name="Title 1"/>
          <p:cNvSpPr>
            <a:spLocks noGrp="1"/>
          </p:cNvSpPr>
          <p:nvPr>
            <p:ph type="ctrTitle"/>
          </p:nvPr>
        </p:nvSpPr>
        <p:spPr bwMode="gray">
          <a:xfrm>
            <a:off x="684477" y="2116803"/>
            <a:ext cx="8379482" cy="1227573"/>
          </a:xfrm>
        </p:spPr>
        <p:txBody>
          <a:bodyPr anchor="ctr" anchorCtr="0">
            <a:noAutofit/>
          </a:bodyPr>
          <a:lstStyle>
            <a:lvl1pPr algn="l">
              <a:lnSpc>
                <a:spcPts val="4600"/>
              </a:lnSpc>
              <a:defRPr sz="4600">
                <a:solidFill>
                  <a:schemeClr val="bg1"/>
                </a:solidFill>
              </a:defRPr>
            </a:lvl1pPr>
          </a:lstStyle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  <p:sp>
        <p:nvSpPr>
          <p:cNvPr id="26" name="Subtitle 2"/>
          <p:cNvSpPr>
            <a:spLocks noGrp="1"/>
          </p:cNvSpPr>
          <p:nvPr>
            <p:ph type="subTitle" idx="1"/>
          </p:nvPr>
        </p:nvSpPr>
        <p:spPr bwMode="gray">
          <a:xfrm>
            <a:off x="684477" y="4240704"/>
            <a:ext cx="5754721" cy="306798"/>
          </a:xfrm>
        </p:spPr>
        <p:txBody>
          <a:bodyPr anchor="ctr" anchorCtr="0">
            <a:noAutofit/>
          </a:bodyPr>
          <a:lstStyle>
            <a:lvl1pPr marL="0" indent="0" algn="l">
              <a:lnSpc>
                <a:spcPts val="2200"/>
              </a:lnSpc>
              <a:buNone/>
              <a:defRPr sz="2000" b="0" i="0"/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nl-NL" noProof="0" smtClean="0"/>
              <a:t>Klik om de ondertitelstijl van het model te bewerken</a:t>
            </a:r>
            <a:endParaRPr lang="en-GB" noProof="0" dirty="0"/>
          </a:p>
        </p:txBody>
      </p:sp>
      <p:sp>
        <p:nvSpPr>
          <p:cNvPr id="27" name="Text Placeholder 6"/>
          <p:cNvSpPr>
            <a:spLocks noGrp="1"/>
          </p:cNvSpPr>
          <p:nvPr>
            <p:ph type="body" sz="quarter" idx="11"/>
          </p:nvPr>
        </p:nvSpPr>
        <p:spPr bwMode="gray">
          <a:xfrm>
            <a:off x="684451" y="3556803"/>
            <a:ext cx="8373361" cy="385233"/>
          </a:xfrm>
        </p:spPr>
        <p:txBody>
          <a:bodyPr>
            <a:noAutofit/>
          </a:bodyPr>
          <a:lstStyle>
            <a:lvl1pPr>
              <a:lnSpc>
                <a:spcPts val="2200"/>
              </a:lnSpc>
              <a:defRPr sz="220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noProof="0" smtClean="0"/>
              <a:t>Klik om de modelstijlen te bewerken</a:t>
            </a:r>
          </a:p>
        </p:txBody>
      </p:sp>
      <p:sp>
        <p:nvSpPr>
          <p:cNvPr id="28" name="Picture Placeholder 2"/>
          <p:cNvSpPr>
            <a:spLocks noGrp="1"/>
          </p:cNvSpPr>
          <p:nvPr>
            <p:ph type="pic" sz="quarter" idx="13" hasCustomPrompt="1"/>
          </p:nvPr>
        </p:nvSpPr>
        <p:spPr>
          <a:xfrm>
            <a:off x="681038" y="5242062"/>
            <a:ext cx="1784250" cy="1317138"/>
          </a:xfrm>
        </p:spPr>
        <p:txBody>
          <a:bodyPr lIns="0" anchor="ctr" anchorCtr="0"/>
          <a:lstStyle>
            <a:lvl1pPr algn="l">
              <a:lnSpc>
                <a:spcPct val="100000"/>
              </a:lnSpc>
              <a:defRPr sz="900" b="0"/>
            </a:lvl1pPr>
          </a:lstStyle>
          <a:p>
            <a:r>
              <a:rPr lang="en-GB" dirty="0" smtClean="0"/>
              <a:t>Click to insert project logo</a:t>
            </a:r>
            <a:endParaRPr lang="en-GB" dirty="0"/>
          </a:p>
        </p:txBody>
      </p:sp>
      <p:pic>
        <p:nvPicPr>
          <p:cNvPr id="30" name="Picture 29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28199" y="6203775"/>
            <a:ext cx="1233535" cy="378000"/>
          </a:xfrm>
          <a:prstGeom prst="rect">
            <a:avLst/>
          </a:prstGeom>
        </p:spPr>
      </p:pic>
      <p:cxnSp>
        <p:nvCxnSpPr>
          <p:cNvPr id="16" name="Straight Connector 15"/>
          <p:cNvCxnSpPr/>
          <p:nvPr userDrawn="1"/>
        </p:nvCxnSpPr>
        <p:spPr>
          <a:xfrm>
            <a:off x="2449809" y="6953250"/>
            <a:ext cx="0" cy="36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/>
          <p:cNvCxnSpPr/>
          <p:nvPr userDrawn="1"/>
        </p:nvCxnSpPr>
        <p:spPr>
          <a:xfrm>
            <a:off x="-346674" y="6200775"/>
            <a:ext cx="292500" cy="0"/>
          </a:xfrm>
          <a:prstGeom prst="line">
            <a:avLst/>
          </a:prstGeom>
          <a:ln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xtBox 19"/>
          <p:cNvSpPr txBox="1"/>
          <p:nvPr userDrawn="1"/>
        </p:nvSpPr>
        <p:spPr>
          <a:xfrm>
            <a:off x="980423" y="7019958"/>
            <a:ext cx="1170000" cy="226591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ctr"/>
            <a:r>
              <a:rPr lang="en-GB" sz="1000" smtClean="0">
                <a:solidFill>
                  <a:srgbClr val="333333"/>
                </a:solidFill>
              </a:rPr>
              <a:t>Max. width</a:t>
            </a:r>
          </a:p>
        </p:txBody>
      </p:sp>
      <p:sp>
        <p:nvSpPr>
          <p:cNvPr id="22" name="TextBox 21"/>
          <p:cNvSpPr txBox="1"/>
          <p:nvPr userDrawn="1"/>
        </p:nvSpPr>
        <p:spPr>
          <a:xfrm>
            <a:off x="-1224174" y="6266695"/>
            <a:ext cx="1170000" cy="226591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r"/>
            <a:r>
              <a:rPr lang="en-GB" sz="1000" smtClean="0">
                <a:solidFill>
                  <a:srgbClr val="333333"/>
                </a:solidFill>
              </a:rPr>
              <a:t>Min. height</a:t>
            </a:r>
          </a:p>
        </p:txBody>
      </p:sp>
      <p:cxnSp>
        <p:nvCxnSpPr>
          <p:cNvPr id="31" name="Straight Connector 30"/>
          <p:cNvCxnSpPr/>
          <p:nvPr userDrawn="1"/>
        </p:nvCxnSpPr>
        <p:spPr>
          <a:xfrm>
            <a:off x="-346674" y="5242062"/>
            <a:ext cx="2925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TextBox 31"/>
          <p:cNvSpPr txBox="1"/>
          <p:nvPr userDrawn="1"/>
        </p:nvSpPr>
        <p:spPr>
          <a:xfrm>
            <a:off x="-1224174" y="5297121"/>
            <a:ext cx="1170000" cy="226591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r"/>
            <a:r>
              <a:rPr lang="en-GB" sz="1000" smtClean="0">
                <a:solidFill>
                  <a:srgbClr val="333333"/>
                </a:solidFill>
              </a:rPr>
              <a:t>Max. height</a:t>
            </a:r>
          </a:p>
        </p:txBody>
      </p:sp>
      <p:cxnSp>
        <p:nvCxnSpPr>
          <p:cNvPr id="33" name="Straight Connector 32"/>
          <p:cNvCxnSpPr/>
          <p:nvPr userDrawn="1"/>
        </p:nvCxnSpPr>
        <p:spPr>
          <a:xfrm>
            <a:off x="681038" y="6953250"/>
            <a:ext cx="0" cy="360000"/>
          </a:xfrm>
          <a:prstGeom prst="line">
            <a:avLst/>
          </a:prstGeom>
          <a:ln>
            <a:head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traight Connector 33"/>
          <p:cNvCxnSpPr/>
          <p:nvPr userDrawn="1"/>
        </p:nvCxnSpPr>
        <p:spPr>
          <a:xfrm>
            <a:off x="-346674" y="6559200"/>
            <a:ext cx="292500" cy="0"/>
          </a:xfrm>
          <a:prstGeom prst="line">
            <a:avLst/>
          </a:prstGeom>
          <a:ln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8" name="Group 57"/>
          <p:cNvGrpSpPr/>
          <p:nvPr userDrawn="1"/>
        </p:nvGrpSpPr>
        <p:grpSpPr bwMode="gray">
          <a:xfrm>
            <a:off x="-1653580" y="0"/>
            <a:ext cx="1521000" cy="4689612"/>
            <a:chOff x="-2581275" y="595116"/>
            <a:chExt cx="1872000" cy="4689612"/>
          </a:xfrm>
        </p:grpSpPr>
        <p:sp>
          <p:nvSpPr>
            <p:cNvPr id="59" name="Rectangle 104"/>
            <p:cNvSpPr>
              <a:spLocks noChangeArrowheads="1"/>
            </p:cNvSpPr>
            <p:nvPr/>
          </p:nvSpPr>
          <p:spPr bwMode="gray">
            <a:xfrm>
              <a:off x="-2581275" y="4276728"/>
              <a:ext cx="1872000" cy="100800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0" name="Rectangle 104"/>
            <p:cNvSpPr>
              <a:spLocks noChangeArrowheads="1"/>
            </p:cNvSpPr>
            <p:nvPr userDrawn="1"/>
          </p:nvSpPr>
          <p:spPr bwMode="gray">
            <a:xfrm>
              <a:off x="-2581275" y="595116"/>
              <a:ext cx="1872000" cy="3672087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1" name="Rectangle 105"/>
            <p:cNvSpPr>
              <a:spLocks noChangeArrowheads="1"/>
            </p:cNvSpPr>
            <p:nvPr userDrawn="1"/>
          </p:nvSpPr>
          <p:spPr bwMode="gray">
            <a:xfrm>
              <a:off x="-2449513" y="1136650"/>
              <a:ext cx="215900" cy="215900"/>
            </a:xfrm>
            <a:prstGeom prst="rect">
              <a:avLst/>
            </a:prstGeom>
            <a:solidFill>
              <a:srgbClr val="FF6200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2" name="Rectangle 106"/>
            <p:cNvSpPr>
              <a:spLocks noChangeArrowheads="1"/>
            </p:cNvSpPr>
            <p:nvPr userDrawn="1"/>
          </p:nvSpPr>
          <p:spPr bwMode="gray">
            <a:xfrm>
              <a:off x="-2159000" y="1146175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Orang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55, 98, 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3" name="Rectangle 107"/>
            <p:cNvSpPr>
              <a:spLocks noChangeArrowheads="1"/>
            </p:cNvSpPr>
            <p:nvPr userDrawn="1"/>
          </p:nvSpPr>
          <p:spPr bwMode="gray">
            <a:xfrm>
              <a:off x="-2449513" y="1571626"/>
              <a:ext cx="215900" cy="215900"/>
            </a:xfrm>
            <a:prstGeom prst="rect">
              <a:avLst/>
            </a:prstGeom>
            <a:solidFill>
              <a:srgbClr val="A8A8A8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4" name="Rectangle 108"/>
            <p:cNvSpPr>
              <a:spLocks noChangeArrowheads="1"/>
            </p:cNvSpPr>
            <p:nvPr userDrawn="1"/>
          </p:nvSpPr>
          <p:spPr bwMode="gray">
            <a:xfrm>
              <a:off x="-2159000" y="15970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ght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68, 168, 16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5" name="Rectangle 109"/>
            <p:cNvSpPr>
              <a:spLocks noChangeArrowheads="1"/>
            </p:cNvSpPr>
            <p:nvPr userDrawn="1"/>
          </p:nvSpPr>
          <p:spPr bwMode="gray">
            <a:xfrm>
              <a:off x="-2449513" y="2058988"/>
              <a:ext cx="215900" cy="215900"/>
            </a:xfrm>
            <a:prstGeom prst="rect">
              <a:avLst/>
            </a:prstGeom>
            <a:solidFill>
              <a:srgbClr val="52519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6" name="Rectangle 110"/>
            <p:cNvSpPr>
              <a:spLocks noChangeArrowheads="1"/>
            </p:cNvSpPr>
            <p:nvPr userDrawn="1"/>
          </p:nvSpPr>
          <p:spPr bwMode="gray">
            <a:xfrm>
              <a:off x="-2159000" y="2068513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Indigo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82, 81, 153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7" name="Rectangle 111"/>
            <p:cNvSpPr>
              <a:spLocks noChangeArrowheads="1"/>
            </p:cNvSpPr>
            <p:nvPr userDrawn="1"/>
          </p:nvSpPr>
          <p:spPr bwMode="gray">
            <a:xfrm>
              <a:off x="-2449513" y="2527301"/>
              <a:ext cx="215900" cy="215900"/>
            </a:xfrm>
            <a:prstGeom prst="rect">
              <a:avLst/>
            </a:prstGeom>
            <a:solidFill>
              <a:srgbClr val="60A6DA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8" name="Rectangle 112"/>
            <p:cNvSpPr>
              <a:spLocks noChangeArrowheads="1"/>
            </p:cNvSpPr>
            <p:nvPr userDrawn="1"/>
          </p:nvSpPr>
          <p:spPr bwMode="gray">
            <a:xfrm>
              <a:off x="-2159000" y="25368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Sk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96, 166, 2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9" name="Rectangle 113"/>
            <p:cNvSpPr>
              <a:spLocks noChangeArrowheads="1"/>
            </p:cNvSpPr>
            <p:nvPr userDrawn="1"/>
          </p:nvSpPr>
          <p:spPr bwMode="gray">
            <a:xfrm>
              <a:off x="-2449513" y="762000"/>
              <a:ext cx="1692000" cy="165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90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200" b="1" smtClean="0">
                  <a:solidFill>
                    <a:srgbClr val="333333"/>
                  </a:solidFill>
                </a:rPr>
                <a:t>Colour Guidelines</a:t>
              </a:r>
              <a:endParaRPr lang="en-GB" altLang="en-US" sz="1200" b="1">
                <a:solidFill>
                  <a:srgbClr val="333333"/>
                </a:solidFill>
              </a:endParaRPr>
            </a:p>
          </p:txBody>
        </p:sp>
        <p:sp>
          <p:nvSpPr>
            <p:cNvPr id="70" name="Rectangle 107"/>
            <p:cNvSpPr>
              <a:spLocks noChangeArrowheads="1"/>
            </p:cNvSpPr>
            <p:nvPr/>
          </p:nvSpPr>
          <p:spPr bwMode="gray">
            <a:xfrm>
              <a:off x="-2449513" y="2962277"/>
              <a:ext cx="215900" cy="215900"/>
            </a:xfrm>
            <a:prstGeom prst="rect">
              <a:avLst/>
            </a:prstGeom>
            <a:solidFill>
              <a:srgbClr val="AB006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71" name="Rectangle 108"/>
            <p:cNvSpPr>
              <a:spLocks noChangeArrowheads="1"/>
            </p:cNvSpPr>
            <p:nvPr/>
          </p:nvSpPr>
          <p:spPr bwMode="gray">
            <a:xfrm>
              <a:off x="-2159000" y="29876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Fuchsia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71, 0, 102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72" name="Rectangle 109"/>
            <p:cNvSpPr>
              <a:spLocks noChangeArrowheads="1"/>
            </p:cNvSpPr>
            <p:nvPr/>
          </p:nvSpPr>
          <p:spPr bwMode="gray">
            <a:xfrm>
              <a:off x="-2449513" y="3449639"/>
              <a:ext cx="215900" cy="215900"/>
            </a:xfrm>
            <a:prstGeom prst="rect">
              <a:avLst/>
            </a:prstGeom>
            <a:solidFill>
              <a:srgbClr val="D0D93C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73" name="Rectangle 110"/>
            <p:cNvSpPr>
              <a:spLocks noChangeArrowheads="1"/>
            </p:cNvSpPr>
            <p:nvPr/>
          </p:nvSpPr>
          <p:spPr bwMode="gray">
            <a:xfrm>
              <a:off x="-2159000" y="3459164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m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08, 217, 6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74" name="Rectangle 111"/>
            <p:cNvSpPr>
              <a:spLocks noChangeArrowheads="1"/>
            </p:cNvSpPr>
            <p:nvPr/>
          </p:nvSpPr>
          <p:spPr bwMode="gray">
            <a:xfrm>
              <a:off x="-2449513" y="3917952"/>
              <a:ext cx="215900" cy="215900"/>
            </a:xfrm>
            <a:prstGeom prst="rect">
              <a:avLst/>
            </a:prstGeom>
            <a:solidFill>
              <a:srgbClr val="01964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75" name="Rectangle 112"/>
            <p:cNvSpPr>
              <a:spLocks noChangeArrowheads="1"/>
            </p:cNvSpPr>
            <p:nvPr/>
          </p:nvSpPr>
          <p:spPr bwMode="gray">
            <a:xfrm>
              <a:off x="-2159000" y="39274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eaf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2, 150, 8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76" name="Rectangle 109"/>
            <p:cNvSpPr>
              <a:spLocks noChangeArrowheads="1"/>
            </p:cNvSpPr>
            <p:nvPr/>
          </p:nvSpPr>
          <p:spPr bwMode="gray">
            <a:xfrm>
              <a:off x="-2449513" y="4405314"/>
              <a:ext cx="215900" cy="215900"/>
            </a:xfrm>
            <a:prstGeom prst="rect">
              <a:avLst/>
            </a:prstGeom>
            <a:solidFill>
              <a:srgbClr val="76767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77" name="Rectangle 110"/>
            <p:cNvSpPr>
              <a:spLocks noChangeArrowheads="1"/>
            </p:cNvSpPr>
            <p:nvPr/>
          </p:nvSpPr>
          <p:spPr bwMode="gray">
            <a:xfrm>
              <a:off x="-2159000" y="4414839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Mid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18, 118, 1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78" name="Rectangle 111"/>
            <p:cNvSpPr>
              <a:spLocks noChangeArrowheads="1"/>
            </p:cNvSpPr>
            <p:nvPr/>
          </p:nvSpPr>
          <p:spPr bwMode="gray">
            <a:xfrm>
              <a:off x="-2449513" y="4873627"/>
              <a:ext cx="215900" cy="215900"/>
            </a:xfrm>
            <a:prstGeom prst="rect">
              <a:avLst/>
            </a:prstGeom>
            <a:solidFill>
              <a:srgbClr val="333333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79" name="Rectangle 112"/>
            <p:cNvSpPr>
              <a:spLocks noChangeArrowheads="1"/>
            </p:cNvSpPr>
            <p:nvPr/>
          </p:nvSpPr>
          <p:spPr bwMode="gray">
            <a:xfrm>
              <a:off x="-2159000" y="4883152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Text Colour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1, 51, 5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</p:grpSp>
      <p:pic>
        <p:nvPicPr>
          <p:cNvPr id="45" name="Picture 44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466554" y="4402733"/>
            <a:ext cx="125761" cy="138908"/>
          </a:xfrm>
          <a:prstGeom prst="rect">
            <a:avLst/>
          </a:prstGeom>
        </p:spPr>
      </p:pic>
      <p:sp>
        <p:nvSpPr>
          <p:cNvPr id="47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6636209" y="4291504"/>
            <a:ext cx="2427750" cy="275612"/>
          </a:xfrm>
        </p:spPr>
        <p:txBody>
          <a:bodyPr tIns="0" bIns="0"/>
          <a:lstStyle>
            <a:lvl1pPr marL="0" indent="0" algn="r">
              <a:lnSpc>
                <a:spcPct val="100000"/>
              </a:lnSpc>
              <a:buNone/>
              <a:defRPr sz="1500">
                <a:solidFill>
                  <a:srgbClr val="000000"/>
                </a:solidFill>
                <a:latin typeface="+mn-lt"/>
              </a:defRPr>
            </a:lvl1pPr>
            <a:lvl2pPr>
              <a:defRPr sz="2200">
                <a:solidFill>
                  <a:srgbClr val="000000"/>
                </a:solidFill>
              </a:defRPr>
            </a:lvl2pPr>
            <a:lvl3pPr>
              <a:defRPr sz="2200">
                <a:solidFill>
                  <a:srgbClr val="000000"/>
                </a:solidFill>
              </a:defRPr>
            </a:lvl3pPr>
            <a:lvl4pPr>
              <a:defRPr sz="2200">
                <a:solidFill>
                  <a:srgbClr val="000000"/>
                </a:solidFill>
              </a:defRPr>
            </a:lvl4pPr>
            <a:lvl5pPr>
              <a:defRPr sz="2200">
                <a:solidFill>
                  <a:srgbClr val="000000"/>
                </a:solidFill>
              </a:defRPr>
            </a:lvl5pPr>
          </a:lstStyle>
          <a:p>
            <a:pPr lvl="0"/>
            <a:r>
              <a:rPr lang="en-GB" noProof="0" dirty="0" smtClean="0"/>
              <a:t>Click to edit location and date</a:t>
            </a:r>
          </a:p>
        </p:txBody>
      </p:sp>
      <p:grpSp>
        <p:nvGrpSpPr>
          <p:cNvPr id="46" name="Group 45"/>
          <p:cNvGrpSpPr/>
          <p:nvPr userDrawn="1"/>
        </p:nvGrpSpPr>
        <p:grpSpPr>
          <a:xfrm>
            <a:off x="8733700" y="-133099"/>
            <a:ext cx="1170834" cy="1565166"/>
            <a:chOff x="5364088" y="4720073"/>
            <a:chExt cx="1441027" cy="1565166"/>
          </a:xfrm>
        </p:grpSpPr>
        <p:sp>
          <p:nvSpPr>
            <p:cNvPr id="48" name="Freeform 5"/>
            <p:cNvSpPr>
              <a:spLocks/>
            </p:cNvSpPr>
            <p:nvPr/>
          </p:nvSpPr>
          <p:spPr bwMode="gray">
            <a:xfrm>
              <a:off x="5364088" y="4844212"/>
              <a:ext cx="1441027" cy="1441027"/>
            </a:xfrm>
            <a:custGeom>
              <a:avLst/>
              <a:gdLst>
                <a:gd name="T0" fmla="*/ 0 w 810"/>
                <a:gd name="T1" fmla="*/ 0 h 810"/>
                <a:gd name="T2" fmla="*/ 810 w 810"/>
                <a:gd name="T3" fmla="*/ 810 h 810"/>
                <a:gd name="T4" fmla="*/ 810 w 810"/>
                <a:gd name="T5" fmla="*/ 536 h 810"/>
                <a:gd name="T6" fmla="*/ 274 w 810"/>
                <a:gd name="T7" fmla="*/ 0 h 810"/>
                <a:gd name="T8" fmla="*/ 0 w 810"/>
                <a:gd name="T9" fmla="*/ 0 h 8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10" h="810">
                  <a:moveTo>
                    <a:pt x="0" y="0"/>
                  </a:moveTo>
                  <a:lnTo>
                    <a:pt x="810" y="810"/>
                  </a:lnTo>
                  <a:lnTo>
                    <a:pt x="810" y="536"/>
                  </a:lnTo>
                  <a:lnTo>
                    <a:pt x="274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17A7DC"/>
            </a:solidFill>
            <a:ln w="3175">
              <a:solidFill>
                <a:srgbClr val="17A7DC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>
                <a:solidFill>
                  <a:srgbClr val="333333"/>
                </a:solidFill>
              </a:endParaRPr>
            </a:p>
          </p:txBody>
        </p:sp>
        <p:sp>
          <p:nvSpPr>
            <p:cNvPr id="49" name="Title 14"/>
            <p:cNvSpPr txBox="1">
              <a:spLocks/>
            </p:cNvSpPr>
            <p:nvPr userDrawn="1"/>
          </p:nvSpPr>
          <p:spPr bwMode="gray">
            <a:xfrm rot="2700000">
              <a:off x="5481455" y="5320862"/>
              <a:ext cx="1447800" cy="246221"/>
            </a:xfrm>
            <a:prstGeom prst="rect">
              <a:avLst/>
            </a:prstGeom>
          </p:spPr>
          <p:txBody>
            <a:bodyPr vert="horz" wrap="none" lIns="0" tIns="0" rIns="0" bIns="0" rtlCol="0" anchor="ctr" anchorCtr="0">
              <a:noAutofit/>
            </a:bodyPr>
            <a:lstStyle>
              <a:lvl1pPr algn="l" defTabSz="914400" rtl="0" eaLnBrk="1" latinLnBrk="0" hangingPunct="1">
                <a:lnSpc>
                  <a:spcPts val="4600"/>
                </a:lnSpc>
                <a:spcBef>
                  <a:spcPct val="0"/>
                </a:spcBef>
                <a:buNone/>
                <a:defRPr sz="4400" b="1" kern="1200" baseline="0">
                  <a:solidFill>
                    <a:schemeClr val="bg1"/>
                  </a:solidFill>
                  <a:latin typeface="+mj-lt"/>
                  <a:ea typeface="+mj-ea"/>
                  <a:cs typeface="Arial" panose="020B0604020202020204" pitchFamily="34" charset="0"/>
                </a:defRPr>
              </a:lvl1pPr>
            </a:lstStyle>
            <a:p>
              <a:pPr algn="ctr">
                <a:lnSpc>
                  <a:spcPct val="100000"/>
                </a:lnSpc>
              </a:pPr>
              <a:r>
                <a:rPr lang="en-US" sz="1600" smtClean="0">
                  <a:solidFill>
                    <a:prstClr val="white"/>
                  </a:solidFill>
                </a:rPr>
                <a:t>Confidential</a:t>
              </a:r>
              <a:endParaRPr lang="en-GB" sz="1600" dirty="0">
                <a:solidFill>
                  <a:prstClr val="white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738195022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1" orient="horz" pos="4135" userDrawn="1">
          <p15:clr>
            <a:srgbClr val="FBAE40"/>
          </p15:clr>
        </p15:guide>
        <p15:guide id="2" orient="horz" pos="3304" userDrawn="1">
          <p15:clr>
            <a:srgbClr val="FBAE4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Full Picture Confidenti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0" name="Group 79"/>
          <p:cNvGrpSpPr>
            <a:grpSpLocks noChangeAspect="1"/>
          </p:cNvGrpSpPr>
          <p:nvPr userDrawn="1"/>
        </p:nvGrpSpPr>
        <p:grpSpPr bwMode="gray">
          <a:xfrm>
            <a:off x="0" y="1643199"/>
            <a:ext cx="4801323" cy="3045600"/>
            <a:chOff x="3465513" y="2070100"/>
            <a:chExt cx="5260975" cy="2711450"/>
          </a:xfrm>
        </p:grpSpPr>
        <p:sp>
          <p:nvSpPr>
            <p:cNvPr id="81" name="Freeform 5"/>
            <p:cNvSpPr>
              <a:spLocks/>
            </p:cNvSpPr>
            <p:nvPr userDrawn="1"/>
          </p:nvSpPr>
          <p:spPr bwMode="gray">
            <a:xfrm>
              <a:off x="3465513" y="4095750"/>
              <a:ext cx="5260975" cy="685800"/>
            </a:xfrm>
            <a:custGeom>
              <a:avLst/>
              <a:gdLst>
                <a:gd name="T0" fmla="*/ 0 w 1400"/>
                <a:gd name="T1" fmla="*/ 0 h 182"/>
                <a:gd name="T2" fmla="*/ 0 w 1400"/>
                <a:gd name="T3" fmla="*/ 182 h 182"/>
                <a:gd name="T4" fmla="*/ 1376 w 1400"/>
                <a:gd name="T5" fmla="*/ 182 h 182"/>
                <a:gd name="T6" fmla="*/ 1400 w 1400"/>
                <a:gd name="T7" fmla="*/ 158 h 182"/>
                <a:gd name="T8" fmla="*/ 1400 w 1400"/>
                <a:gd name="T9" fmla="*/ 0 h 182"/>
                <a:gd name="T10" fmla="*/ 0 w 1400"/>
                <a:gd name="T11" fmla="*/ 0 h 1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400" h="182">
                  <a:moveTo>
                    <a:pt x="0" y="0"/>
                  </a:moveTo>
                  <a:cubicBezTo>
                    <a:pt x="0" y="182"/>
                    <a:pt x="0" y="182"/>
                    <a:pt x="0" y="182"/>
                  </a:cubicBezTo>
                  <a:cubicBezTo>
                    <a:pt x="1376" y="182"/>
                    <a:pt x="1376" y="182"/>
                    <a:pt x="1376" y="182"/>
                  </a:cubicBezTo>
                  <a:cubicBezTo>
                    <a:pt x="1376" y="182"/>
                    <a:pt x="1400" y="182"/>
                    <a:pt x="1400" y="158"/>
                  </a:cubicBezTo>
                  <a:cubicBezTo>
                    <a:pt x="1400" y="0"/>
                    <a:pt x="1400" y="0"/>
                    <a:pt x="1400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EAEAEA"/>
            </a:solidFill>
            <a:ln w="9525">
              <a:solidFill>
                <a:srgbClr val="EAEAEA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333333"/>
                </a:solidFill>
              </a:endParaRPr>
            </a:p>
          </p:txBody>
        </p:sp>
        <p:sp>
          <p:nvSpPr>
            <p:cNvPr id="85" name="Freeform 84"/>
            <p:cNvSpPr>
              <a:spLocks/>
            </p:cNvSpPr>
            <p:nvPr userDrawn="1"/>
          </p:nvSpPr>
          <p:spPr bwMode="gray">
            <a:xfrm>
              <a:off x="3465513" y="2070100"/>
              <a:ext cx="5260975" cy="2025650"/>
            </a:xfrm>
            <a:custGeom>
              <a:avLst/>
              <a:gdLst>
                <a:gd name="T0" fmla="*/ 0 w 1400"/>
                <a:gd name="T1" fmla="*/ 0 h 538"/>
                <a:gd name="T2" fmla="*/ 0 w 1400"/>
                <a:gd name="T3" fmla="*/ 538 h 538"/>
                <a:gd name="T4" fmla="*/ 1400 w 1400"/>
                <a:gd name="T5" fmla="*/ 538 h 538"/>
                <a:gd name="T6" fmla="*/ 1400 w 1400"/>
                <a:gd name="T7" fmla="*/ 24 h 538"/>
                <a:gd name="T8" fmla="*/ 1376 w 1400"/>
                <a:gd name="T9" fmla="*/ 0 h 538"/>
                <a:gd name="T10" fmla="*/ 0 w 1400"/>
                <a:gd name="T11" fmla="*/ 0 h 5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400" h="538">
                  <a:moveTo>
                    <a:pt x="0" y="0"/>
                  </a:moveTo>
                  <a:cubicBezTo>
                    <a:pt x="0" y="538"/>
                    <a:pt x="0" y="538"/>
                    <a:pt x="0" y="538"/>
                  </a:cubicBezTo>
                  <a:cubicBezTo>
                    <a:pt x="1400" y="538"/>
                    <a:pt x="1400" y="538"/>
                    <a:pt x="1400" y="538"/>
                  </a:cubicBezTo>
                  <a:cubicBezTo>
                    <a:pt x="1400" y="24"/>
                    <a:pt x="1400" y="24"/>
                    <a:pt x="1400" y="24"/>
                  </a:cubicBezTo>
                  <a:cubicBezTo>
                    <a:pt x="1400" y="24"/>
                    <a:pt x="1400" y="0"/>
                    <a:pt x="1376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F6200"/>
            </a:solidFill>
            <a:ln w="9525">
              <a:solidFill>
                <a:srgbClr val="FF6200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333333"/>
                </a:solidFill>
              </a:endParaRPr>
            </a:p>
          </p:txBody>
        </p:sp>
      </p:grpSp>
      <p:sp>
        <p:nvSpPr>
          <p:cNvPr id="9" name="Title 1"/>
          <p:cNvSpPr>
            <a:spLocks noGrp="1"/>
          </p:cNvSpPr>
          <p:nvPr>
            <p:ph type="ctrTitle"/>
          </p:nvPr>
        </p:nvSpPr>
        <p:spPr bwMode="gray">
          <a:xfrm>
            <a:off x="684479" y="2012286"/>
            <a:ext cx="3963347" cy="1461600"/>
          </a:xfrm>
        </p:spPr>
        <p:txBody>
          <a:bodyPr anchor="ctr" anchorCtr="0">
            <a:noAutofit/>
          </a:bodyPr>
          <a:lstStyle>
            <a:lvl1pPr algn="l">
              <a:lnSpc>
                <a:spcPts val="3800"/>
              </a:lnSpc>
              <a:defRPr sz="3800">
                <a:solidFill>
                  <a:schemeClr val="bg1"/>
                </a:solidFill>
              </a:defRPr>
            </a:lvl1pPr>
          </a:lstStyle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  <p:sp>
        <p:nvSpPr>
          <p:cNvPr id="10" name="Subtitle 2"/>
          <p:cNvSpPr>
            <a:spLocks noGrp="1"/>
          </p:cNvSpPr>
          <p:nvPr>
            <p:ph type="subTitle" idx="1"/>
          </p:nvPr>
        </p:nvSpPr>
        <p:spPr bwMode="gray">
          <a:xfrm>
            <a:off x="684479" y="4031478"/>
            <a:ext cx="3963347" cy="306798"/>
          </a:xfrm>
        </p:spPr>
        <p:txBody>
          <a:bodyPr anchor="ctr" anchorCtr="0">
            <a:noAutofit/>
          </a:bodyPr>
          <a:lstStyle>
            <a:lvl1pPr marL="0" indent="0" algn="l">
              <a:lnSpc>
                <a:spcPts val="2200"/>
              </a:lnSpc>
              <a:buNone/>
              <a:defRPr sz="1700" b="0" i="0"/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nl-NL" noProof="0" smtClean="0"/>
              <a:t>Klik om de ondertitelstijl van het model te bewerken</a:t>
            </a:r>
            <a:endParaRPr lang="en-GB" noProof="0" dirty="0"/>
          </a:p>
        </p:txBody>
      </p:sp>
      <p:sp>
        <p:nvSpPr>
          <p:cNvPr id="11" name="Text Placeholder 6"/>
          <p:cNvSpPr>
            <a:spLocks noGrp="1"/>
          </p:cNvSpPr>
          <p:nvPr>
            <p:ph type="body" sz="quarter" idx="11"/>
          </p:nvPr>
        </p:nvSpPr>
        <p:spPr bwMode="gray">
          <a:xfrm>
            <a:off x="684479" y="3603486"/>
            <a:ext cx="3963347" cy="290712"/>
          </a:xfrm>
        </p:spPr>
        <p:txBody>
          <a:bodyPr bIns="0">
            <a:noAutofit/>
          </a:bodyPr>
          <a:lstStyle>
            <a:lvl1pPr algn="l">
              <a:lnSpc>
                <a:spcPts val="1700"/>
              </a:lnSpc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noProof="0" smtClean="0"/>
              <a:t>Klik om de modelstijlen te bewerken</a:t>
            </a:r>
          </a:p>
        </p:txBody>
      </p:sp>
      <p:sp>
        <p:nvSpPr>
          <p:cNvPr id="12" name="Rectangle 11"/>
          <p:cNvSpPr/>
          <p:nvPr userDrawn="1"/>
        </p:nvSpPr>
        <p:spPr bwMode="gray">
          <a:xfrm>
            <a:off x="2" y="6024880"/>
            <a:ext cx="9904532" cy="8331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2400">
              <a:solidFill>
                <a:prstClr val="white"/>
              </a:solidFill>
            </a:endParaRPr>
          </a:p>
        </p:txBody>
      </p:sp>
      <p:sp>
        <p:nvSpPr>
          <p:cNvPr id="19" name="Picture Placeholder 2"/>
          <p:cNvSpPr>
            <a:spLocks noGrp="1"/>
          </p:cNvSpPr>
          <p:nvPr>
            <p:ph type="pic" sz="quarter" idx="13" hasCustomPrompt="1"/>
          </p:nvPr>
        </p:nvSpPr>
        <p:spPr>
          <a:xfrm>
            <a:off x="681038" y="6055200"/>
            <a:ext cx="1784250" cy="504000"/>
          </a:xfrm>
        </p:spPr>
        <p:txBody>
          <a:bodyPr lIns="0" anchor="ctr" anchorCtr="0"/>
          <a:lstStyle>
            <a:lvl1pPr algn="l">
              <a:lnSpc>
                <a:spcPct val="100000"/>
              </a:lnSpc>
              <a:defRPr sz="900" b="0"/>
            </a:lvl1pPr>
          </a:lstStyle>
          <a:p>
            <a:r>
              <a:rPr lang="en-GB" dirty="0" smtClean="0"/>
              <a:t>Click to insert project logo</a:t>
            </a:r>
            <a:endParaRPr lang="en-GB" dirty="0"/>
          </a:p>
        </p:txBody>
      </p:sp>
      <p:pic>
        <p:nvPicPr>
          <p:cNvPr id="18" name="Picture 1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28199" y="6203775"/>
            <a:ext cx="1233535" cy="378000"/>
          </a:xfrm>
          <a:prstGeom prst="rect">
            <a:avLst/>
          </a:prstGeom>
        </p:spPr>
      </p:pic>
      <p:cxnSp>
        <p:nvCxnSpPr>
          <p:cNvPr id="17" name="Straight Connector 16"/>
          <p:cNvCxnSpPr/>
          <p:nvPr userDrawn="1"/>
        </p:nvCxnSpPr>
        <p:spPr>
          <a:xfrm>
            <a:off x="2449809" y="6953250"/>
            <a:ext cx="0" cy="36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/>
          <p:cNvCxnSpPr/>
          <p:nvPr userDrawn="1"/>
        </p:nvCxnSpPr>
        <p:spPr>
          <a:xfrm>
            <a:off x="-346674" y="6200775"/>
            <a:ext cx="2925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Box 22"/>
          <p:cNvSpPr txBox="1"/>
          <p:nvPr userDrawn="1"/>
        </p:nvSpPr>
        <p:spPr>
          <a:xfrm>
            <a:off x="980423" y="7019958"/>
            <a:ext cx="1170000" cy="226591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ctr"/>
            <a:r>
              <a:rPr lang="en-GB" sz="1000" smtClean="0">
                <a:solidFill>
                  <a:srgbClr val="333333"/>
                </a:solidFill>
              </a:rPr>
              <a:t>Max. width</a:t>
            </a:r>
          </a:p>
        </p:txBody>
      </p:sp>
      <p:sp>
        <p:nvSpPr>
          <p:cNvPr id="27" name="TextBox 26"/>
          <p:cNvSpPr txBox="1"/>
          <p:nvPr userDrawn="1"/>
        </p:nvSpPr>
        <p:spPr>
          <a:xfrm>
            <a:off x="-1224174" y="6266695"/>
            <a:ext cx="1170000" cy="226591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r"/>
            <a:r>
              <a:rPr lang="en-GB" sz="1000" smtClean="0">
                <a:solidFill>
                  <a:srgbClr val="333333"/>
                </a:solidFill>
              </a:rPr>
              <a:t>Max. height</a:t>
            </a:r>
          </a:p>
        </p:txBody>
      </p:sp>
      <p:cxnSp>
        <p:nvCxnSpPr>
          <p:cNvPr id="28" name="Straight Connector 27"/>
          <p:cNvCxnSpPr/>
          <p:nvPr userDrawn="1"/>
        </p:nvCxnSpPr>
        <p:spPr>
          <a:xfrm>
            <a:off x="681038" y="6953250"/>
            <a:ext cx="0" cy="360000"/>
          </a:xfrm>
          <a:prstGeom prst="line">
            <a:avLst/>
          </a:prstGeom>
          <a:ln>
            <a:head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Connector 28"/>
          <p:cNvCxnSpPr/>
          <p:nvPr userDrawn="1"/>
        </p:nvCxnSpPr>
        <p:spPr>
          <a:xfrm>
            <a:off x="-346674" y="6559200"/>
            <a:ext cx="292500" cy="0"/>
          </a:xfrm>
          <a:prstGeom prst="line">
            <a:avLst/>
          </a:prstGeom>
          <a:ln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6" name="Group 55"/>
          <p:cNvGrpSpPr/>
          <p:nvPr userDrawn="1"/>
        </p:nvGrpSpPr>
        <p:grpSpPr bwMode="gray">
          <a:xfrm>
            <a:off x="-1653580" y="0"/>
            <a:ext cx="1521000" cy="4689612"/>
            <a:chOff x="-2581275" y="595116"/>
            <a:chExt cx="1872000" cy="4689612"/>
          </a:xfrm>
        </p:grpSpPr>
        <p:sp>
          <p:nvSpPr>
            <p:cNvPr id="57" name="Rectangle 104"/>
            <p:cNvSpPr>
              <a:spLocks noChangeArrowheads="1"/>
            </p:cNvSpPr>
            <p:nvPr/>
          </p:nvSpPr>
          <p:spPr bwMode="gray">
            <a:xfrm>
              <a:off x="-2581275" y="4276728"/>
              <a:ext cx="1872000" cy="100800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8" name="Rectangle 104"/>
            <p:cNvSpPr>
              <a:spLocks noChangeArrowheads="1"/>
            </p:cNvSpPr>
            <p:nvPr userDrawn="1"/>
          </p:nvSpPr>
          <p:spPr bwMode="gray">
            <a:xfrm>
              <a:off x="-2581275" y="595116"/>
              <a:ext cx="1872000" cy="3672087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9" name="Rectangle 105"/>
            <p:cNvSpPr>
              <a:spLocks noChangeArrowheads="1"/>
            </p:cNvSpPr>
            <p:nvPr userDrawn="1"/>
          </p:nvSpPr>
          <p:spPr bwMode="gray">
            <a:xfrm>
              <a:off x="-2449513" y="1136650"/>
              <a:ext cx="215900" cy="215900"/>
            </a:xfrm>
            <a:prstGeom prst="rect">
              <a:avLst/>
            </a:prstGeom>
            <a:solidFill>
              <a:srgbClr val="FF6200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0" name="Rectangle 106"/>
            <p:cNvSpPr>
              <a:spLocks noChangeArrowheads="1"/>
            </p:cNvSpPr>
            <p:nvPr userDrawn="1"/>
          </p:nvSpPr>
          <p:spPr bwMode="gray">
            <a:xfrm>
              <a:off x="-2159000" y="1146175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Orang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55, 98, 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1" name="Rectangle 107"/>
            <p:cNvSpPr>
              <a:spLocks noChangeArrowheads="1"/>
            </p:cNvSpPr>
            <p:nvPr userDrawn="1"/>
          </p:nvSpPr>
          <p:spPr bwMode="gray">
            <a:xfrm>
              <a:off x="-2449513" y="1571626"/>
              <a:ext cx="215900" cy="215900"/>
            </a:xfrm>
            <a:prstGeom prst="rect">
              <a:avLst/>
            </a:prstGeom>
            <a:solidFill>
              <a:srgbClr val="A8A8A8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2" name="Rectangle 108"/>
            <p:cNvSpPr>
              <a:spLocks noChangeArrowheads="1"/>
            </p:cNvSpPr>
            <p:nvPr userDrawn="1"/>
          </p:nvSpPr>
          <p:spPr bwMode="gray">
            <a:xfrm>
              <a:off x="-2159000" y="15970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ght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68, 168, 16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3" name="Rectangle 109"/>
            <p:cNvSpPr>
              <a:spLocks noChangeArrowheads="1"/>
            </p:cNvSpPr>
            <p:nvPr userDrawn="1"/>
          </p:nvSpPr>
          <p:spPr bwMode="gray">
            <a:xfrm>
              <a:off x="-2449513" y="2058988"/>
              <a:ext cx="215900" cy="215900"/>
            </a:xfrm>
            <a:prstGeom prst="rect">
              <a:avLst/>
            </a:prstGeom>
            <a:solidFill>
              <a:srgbClr val="52519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4" name="Rectangle 110"/>
            <p:cNvSpPr>
              <a:spLocks noChangeArrowheads="1"/>
            </p:cNvSpPr>
            <p:nvPr userDrawn="1"/>
          </p:nvSpPr>
          <p:spPr bwMode="gray">
            <a:xfrm>
              <a:off x="-2159000" y="2068513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Indigo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82, 81, 153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5" name="Rectangle 111"/>
            <p:cNvSpPr>
              <a:spLocks noChangeArrowheads="1"/>
            </p:cNvSpPr>
            <p:nvPr userDrawn="1"/>
          </p:nvSpPr>
          <p:spPr bwMode="gray">
            <a:xfrm>
              <a:off x="-2449513" y="2527301"/>
              <a:ext cx="215900" cy="215900"/>
            </a:xfrm>
            <a:prstGeom prst="rect">
              <a:avLst/>
            </a:prstGeom>
            <a:solidFill>
              <a:srgbClr val="60A6DA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6" name="Rectangle 112"/>
            <p:cNvSpPr>
              <a:spLocks noChangeArrowheads="1"/>
            </p:cNvSpPr>
            <p:nvPr userDrawn="1"/>
          </p:nvSpPr>
          <p:spPr bwMode="gray">
            <a:xfrm>
              <a:off x="-2159000" y="25368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Sk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96, 166, 2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7" name="Rectangle 113"/>
            <p:cNvSpPr>
              <a:spLocks noChangeArrowheads="1"/>
            </p:cNvSpPr>
            <p:nvPr userDrawn="1"/>
          </p:nvSpPr>
          <p:spPr bwMode="gray">
            <a:xfrm>
              <a:off x="-2449513" y="762000"/>
              <a:ext cx="1692000" cy="165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90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200" b="1" smtClean="0">
                  <a:solidFill>
                    <a:srgbClr val="333333"/>
                  </a:solidFill>
                </a:rPr>
                <a:t>Colour Guidelines</a:t>
              </a:r>
              <a:endParaRPr lang="en-GB" altLang="en-US" sz="1200" b="1">
                <a:solidFill>
                  <a:srgbClr val="333333"/>
                </a:solidFill>
              </a:endParaRPr>
            </a:p>
          </p:txBody>
        </p:sp>
        <p:sp>
          <p:nvSpPr>
            <p:cNvPr id="68" name="Rectangle 107"/>
            <p:cNvSpPr>
              <a:spLocks noChangeArrowheads="1"/>
            </p:cNvSpPr>
            <p:nvPr/>
          </p:nvSpPr>
          <p:spPr bwMode="gray">
            <a:xfrm>
              <a:off x="-2449513" y="2962277"/>
              <a:ext cx="215900" cy="215900"/>
            </a:xfrm>
            <a:prstGeom prst="rect">
              <a:avLst/>
            </a:prstGeom>
            <a:solidFill>
              <a:srgbClr val="AB006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9" name="Rectangle 108"/>
            <p:cNvSpPr>
              <a:spLocks noChangeArrowheads="1"/>
            </p:cNvSpPr>
            <p:nvPr/>
          </p:nvSpPr>
          <p:spPr bwMode="gray">
            <a:xfrm>
              <a:off x="-2159000" y="29876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Fuchsia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71, 0, 102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70" name="Rectangle 109"/>
            <p:cNvSpPr>
              <a:spLocks noChangeArrowheads="1"/>
            </p:cNvSpPr>
            <p:nvPr/>
          </p:nvSpPr>
          <p:spPr bwMode="gray">
            <a:xfrm>
              <a:off x="-2449513" y="3449639"/>
              <a:ext cx="215900" cy="215900"/>
            </a:xfrm>
            <a:prstGeom prst="rect">
              <a:avLst/>
            </a:prstGeom>
            <a:solidFill>
              <a:srgbClr val="D0D93C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71" name="Rectangle 110"/>
            <p:cNvSpPr>
              <a:spLocks noChangeArrowheads="1"/>
            </p:cNvSpPr>
            <p:nvPr/>
          </p:nvSpPr>
          <p:spPr bwMode="gray">
            <a:xfrm>
              <a:off x="-2159000" y="3459164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m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08, 217, 6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72" name="Rectangle 111"/>
            <p:cNvSpPr>
              <a:spLocks noChangeArrowheads="1"/>
            </p:cNvSpPr>
            <p:nvPr/>
          </p:nvSpPr>
          <p:spPr bwMode="gray">
            <a:xfrm>
              <a:off x="-2449513" y="3917952"/>
              <a:ext cx="215900" cy="215900"/>
            </a:xfrm>
            <a:prstGeom prst="rect">
              <a:avLst/>
            </a:prstGeom>
            <a:solidFill>
              <a:srgbClr val="01964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73" name="Rectangle 112"/>
            <p:cNvSpPr>
              <a:spLocks noChangeArrowheads="1"/>
            </p:cNvSpPr>
            <p:nvPr/>
          </p:nvSpPr>
          <p:spPr bwMode="gray">
            <a:xfrm>
              <a:off x="-2159000" y="39274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eaf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2, 150, 8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74" name="Rectangle 109"/>
            <p:cNvSpPr>
              <a:spLocks noChangeArrowheads="1"/>
            </p:cNvSpPr>
            <p:nvPr/>
          </p:nvSpPr>
          <p:spPr bwMode="gray">
            <a:xfrm>
              <a:off x="-2449513" y="4405314"/>
              <a:ext cx="215900" cy="215900"/>
            </a:xfrm>
            <a:prstGeom prst="rect">
              <a:avLst/>
            </a:prstGeom>
            <a:solidFill>
              <a:srgbClr val="76767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75" name="Rectangle 110"/>
            <p:cNvSpPr>
              <a:spLocks noChangeArrowheads="1"/>
            </p:cNvSpPr>
            <p:nvPr/>
          </p:nvSpPr>
          <p:spPr bwMode="gray">
            <a:xfrm>
              <a:off x="-2159000" y="4414839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Mid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18, 118, 1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76" name="Rectangle 111"/>
            <p:cNvSpPr>
              <a:spLocks noChangeArrowheads="1"/>
            </p:cNvSpPr>
            <p:nvPr/>
          </p:nvSpPr>
          <p:spPr bwMode="gray">
            <a:xfrm>
              <a:off x="-2449513" y="4873627"/>
              <a:ext cx="215900" cy="215900"/>
            </a:xfrm>
            <a:prstGeom prst="rect">
              <a:avLst/>
            </a:prstGeom>
            <a:solidFill>
              <a:srgbClr val="333333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77" name="Rectangle 112"/>
            <p:cNvSpPr>
              <a:spLocks noChangeArrowheads="1"/>
            </p:cNvSpPr>
            <p:nvPr/>
          </p:nvSpPr>
          <p:spPr bwMode="gray">
            <a:xfrm>
              <a:off x="-2159000" y="4883152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Text Colour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1, 51, 5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</p:grpSp>
      <p:pic>
        <p:nvPicPr>
          <p:cNvPr id="44" name="Picture 43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466554" y="4402733"/>
            <a:ext cx="125761" cy="138908"/>
          </a:xfrm>
          <a:prstGeom prst="rect">
            <a:avLst/>
          </a:prstGeom>
        </p:spPr>
      </p:pic>
      <p:sp>
        <p:nvSpPr>
          <p:cNvPr id="46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684478" y="4381898"/>
            <a:ext cx="3963375" cy="216000"/>
          </a:xfrm>
        </p:spPr>
        <p:txBody>
          <a:bodyPr tIns="0" bIns="0"/>
          <a:lstStyle>
            <a:lvl1pPr marL="0" indent="0" algn="l">
              <a:lnSpc>
                <a:spcPts val="1350"/>
              </a:lnSpc>
              <a:buNone/>
              <a:defRPr sz="1350">
                <a:solidFill>
                  <a:srgbClr val="000000"/>
                </a:solidFill>
                <a:latin typeface="+mn-lt"/>
              </a:defRPr>
            </a:lvl1pPr>
            <a:lvl2pPr>
              <a:defRPr sz="2200">
                <a:solidFill>
                  <a:srgbClr val="000000"/>
                </a:solidFill>
              </a:defRPr>
            </a:lvl2pPr>
            <a:lvl3pPr>
              <a:defRPr sz="2200">
                <a:solidFill>
                  <a:srgbClr val="000000"/>
                </a:solidFill>
              </a:defRPr>
            </a:lvl3pPr>
            <a:lvl4pPr>
              <a:defRPr sz="2200">
                <a:solidFill>
                  <a:srgbClr val="000000"/>
                </a:solidFill>
              </a:defRPr>
            </a:lvl4pPr>
            <a:lvl5pPr>
              <a:defRPr sz="2200">
                <a:solidFill>
                  <a:srgbClr val="000000"/>
                </a:solidFill>
              </a:defRPr>
            </a:lvl5pPr>
          </a:lstStyle>
          <a:p>
            <a:pPr lvl="0"/>
            <a:r>
              <a:rPr lang="en-GB" noProof="0" dirty="0" smtClean="0"/>
              <a:t>Click to edit location and date</a:t>
            </a:r>
          </a:p>
        </p:txBody>
      </p:sp>
      <p:grpSp>
        <p:nvGrpSpPr>
          <p:cNvPr id="45" name="Group 44"/>
          <p:cNvGrpSpPr/>
          <p:nvPr userDrawn="1"/>
        </p:nvGrpSpPr>
        <p:grpSpPr>
          <a:xfrm>
            <a:off x="8733700" y="-133099"/>
            <a:ext cx="1170834" cy="1565166"/>
            <a:chOff x="5364088" y="4720073"/>
            <a:chExt cx="1441027" cy="1565166"/>
          </a:xfrm>
        </p:grpSpPr>
        <p:sp>
          <p:nvSpPr>
            <p:cNvPr id="47" name="Freeform 5"/>
            <p:cNvSpPr>
              <a:spLocks/>
            </p:cNvSpPr>
            <p:nvPr/>
          </p:nvSpPr>
          <p:spPr bwMode="gray">
            <a:xfrm>
              <a:off x="5364088" y="4844212"/>
              <a:ext cx="1441027" cy="1441027"/>
            </a:xfrm>
            <a:custGeom>
              <a:avLst/>
              <a:gdLst>
                <a:gd name="T0" fmla="*/ 0 w 810"/>
                <a:gd name="T1" fmla="*/ 0 h 810"/>
                <a:gd name="T2" fmla="*/ 810 w 810"/>
                <a:gd name="T3" fmla="*/ 810 h 810"/>
                <a:gd name="T4" fmla="*/ 810 w 810"/>
                <a:gd name="T5" fmla="*/ 536 h 810"/>
                <a:gd name="T6" fmla="*/ 274 w 810"/>
                <a:gd name="T7" fmla="*/ 0 h 810"/>
                <a:gd name="T8" fmla="*/ 0 w 810"/>
                <a:gd name="T9" fmla="*/ 0 h 8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10" h="810">
                  <a:moveTo>
                    <a:pt x="0" y="0"/>
                  </a:moveTo>
                  <a:lnTo>
                    <a:pt x="810" y="810"/>
                  </a:lnTo>
                  <a:lnTo>
                    <a:pt x="810" y="536"/>
                  </a:lnTo>
                  <a:lnTo>
                    <a:pt x="274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17A7DC"/>
            </a:solidFill>
            <a:ln w="3175">
              <a:solidFill>
                <a:srgbClr val="17A7DC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>
                <a:solidFill>
                  <a:srgbClr val="333333"/>
                </a:solidFill>
              </a:endParaRPr>
            </a:p>
          </p:txBody>
        </p:sp>
        <p:sp>
          <p:nvSpPr>
            <p:cNvPr id="48" name="Title 14"/>
            <p:cNvSpPr txBox="1">
              <a:spLocks/>
            </p:cNvSpPr>
            <p:nvPr userDrawn="1"/>
          </p:nvSpPr>
          <p:spPr bwMode="gray">
            <a:xfrm rot="2700000">
              <a:off x="5481455" y="5320862"/>
              <a:ext cx="1447800" cy="246221"/>
            </a:xfrm>
            <a:prstGeom prst="rect">
              <a:avLst/>
            </a:prstGeom>
          </p:spPr>
          <p:txBody>
            <a:bodyPr vert="horz" wrap="none" lIns="0" tIns="0" rIns="0" bIns="0" rtlCol="0" anchor="ctr" anchorCtr="0">
              <a:noAutofit/>
            </a:bodyPr>
            <a:lstStyle>
              <a:lvl1pPr algn="l" defTabSz="914400" rtl="0" eaLnBrk="1" latinLnBrk="0" hangingPunct="1">
                <a:lnSpc>
                  <a:spcPts val="4600"/>
                </a:lnSpc>
                <a:spcBef>
                  <a:spcPct val="0"/>
                </a:spcBef>
                <a:buNone/>
                <a:defRPr sz="4400" b="1" kern="1200" baseline="0">
                  <a:solidFill>
                    <a:schemeClr val="bg1"/>
                  </a:solidFill>
                  <a:latin typeface="+mj-lt"/>
                  <a:ea typeface="+mj-ea"/>
                  <a:cs typeface="Arial" panose="020B0604020202020204" pitchFamily="34" charset="0"/>
                </a:defRPr>
              </a:lvl1pPr>
            </a:lstStyle>
            <a:p>
              <a:pPr algn="ctr">
                <a:lnSpc>
                  <a:spcPct val="100000"/>
                </a:lnSpc>
              </a:pPr>
              <a:r>
                <a:rPr lang="en-US" sz="1600" smtClean="0">
                  <a:solidFill>
                    <a:prstClr val="white"/>
                  </a:solidFill>
                </a:rPr>
                <a:t>Confidential</a:t>
              </a:r>
              <a:endParaRPr lang="en-GB" sz="1600" dirty="0">
                <a:solidFill>
                  <a:prstClr val="white"/>
                </a:solidFill>
              </a:endParaRPr>
            </a:p>
          </p:txBody>
        </p:sp>
      </p:grpSp>
      <p:sp>
        <p:nvSpPr>
          <p:cNvPr id="54" name="Picture Placeholder 53"/>
          <p:cNvSpPr>
            <a:spLocks noGrp="1"/>
          </p:cNvSpPr>
          <p:nvPr>
            <p:ph type="pic" sz="quarter" idx="12"/>
          </p:nvPr>
        </p:nvSpPr>
        <p:spPr bwMode="gray">
          <a:xfrm>
            <a:off x="-2579" y="4"/>
            <a:ext cx="9908580" cy="6024879"/>
          </a:xfrm>
          <a:custGeom>
            <a:avLst/>
            <a:gdLst>
              <a:gd name="connsiteX0" fmla="*/ 11239226 w 12195175"/>
              <a:gd name="connsiteY0" fmla="*/ 0 h 6024879"/>
              <a:gd name="connsiteX1" fmla="*/ 12195175 w 12195175"/>
              <a:gd name="connsiteY1" fmla="*/ 0 h 6024879"/>
              <a:gd name="connsiteX2" fmla="*/ 12195175 w 12195175"/>
              <a:gd name="connsiteY2" fmla="*/ 955949 h 6024879"/>
              <a:gd name="connsiteX3" fmla="*/ 0 w 12195175"/>
              <a:gd name="connsiteY3" fmla="*/ 0 h 6024879"/>
              <a:gd name="connsiteX4" fmla="*/ 10750550 w 12195175"/>
              <a:gd name="connsiteY4" fmla="*/ 0 h 6024879"/>
              <a:gd name="connsiteX5" fmla="*/ 12195175 w 12195175"/>
              <a:gd name="connsiteY5" fmla="*/ 1444625 h 6024879"/>
              <a:gd name="connsiteX6" fmla="*/ 12195175 w 12195175"/>
              <a:gd name="connsiteY6" fmla="*/ 6024879 h 6024879"/>
              <a:gd name="connsiteX7" fmla="*/ 0 w 12195175"/>
              <a:gd name="connsiteY7" fmla="*/ 6024879 h 6024879"/>
              <a:gd name="connsiteX8" fmla="*/ 0 w 12195175"/>
              <a:gd name="connsiteY8" fmla="*/ 4688798 h 6024879"/>
              <a:gd name="connsiteX9" fmla="*/ 3176 w 12195175"/>
              <a:gd name="connsiteY9" fmla="*/ 4688798 h 6024879"/>
              <a:gd name="connsiteX10" fmla="*/ 61412 w 12195175"/>
              <a:gd name="connsiteY10" fmla="*/ 4688798 h 6024879"/>
              <a:gd name="connsiteX11" fmla="*/ 530839 w 12195175"/>
              <a:gd name="connsiteY11" fmla="*/ 4688798 h 6024879"/>
              <a:gd name="connsiteX12" fmla="*/ 5811194 w 12195175"/>
              <a:gd name="connsiteY12" fmla="*/ 4688798 h 6024879"/>
              <a:gd name="connsiteX13" fmla="*/ 5912496 w 12195175"/>
              <a:gd name="connsiteY13" fmla="*/ 4587218 h 6024879"/>
              <a:gd name="connsiteX14" fmla="*/ 5912496 w 12195175"/>
              <a:gd name="connsiteY14" fmla="*/ 3918482 h 6024879"/>
              <a:gd name="connsiteX15" fmla="*/ 5912496 w 12195175"/>
              <a:gd name="connsiteY15" fmla="*/ 1744697 h 6024879"/>
              <a:gd name="connsiteX16" fmla="*/ 5811194 w 12195175"/>
              <a:gd name="connsiteY16" fmla="*/ 1643198 h 6024879"/>
              <a:gd name="connsiteX17" fmla="*/ 61412 w 12195175"/>
              <a:gd name="connsiteY17" fmla="*/ 1643198 h 6024879"/>
              <a:gd name="connsiteX18" fmla="*/ 3176 w 12195175"/>
              <a:gd name="connsiteY18" fmla="*/ 1643198 h 6024879"/>
              <a:gd name="connsiteX19" fmla="*/ 0 w 12195175"/>
              <a:gd name="connsiteY19" fmla="*/ 1643198 h 60248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12195175" h="6024879">
                <a:moveTo>
                  <a:pt x="11239226" y="0"/>
                </a:moveTo>
                <a:lnTo>
                  <a:pt x="12195175" y="0"/>
                </a:lnTo>
                <a:lnTo>
                  <a:pt x="12195175" y="955949"/>
                </a:lnTo>
                <a:close/>
                <a:moveTo>
                  <a:pt x="0" y="0"/>
                </a:moveTo>
                <a:lnTo>
                  <a:pt x="10750550" y="0"/>
                </a:lnTo>
                <a:lnTo>
                  <a:pt x="12195175" y="1444625"/>
                </a:lnTo>
                <a:lnTo>
                  <a:pt x="12195175" y="6024879"/>
                </a:lnTo>
                <a:lnTo>
                  <a:pt x="0" y="6024879"/>
                </a:lnTo>
                <a:lnTo>
                  <a:pt x="0" y="4688798"/>
                </a:lnTo>
                <a:lnTo>
                  <a:pt x="3176" y="4688798"/>
                </a:lnTo>
                <a:lnTo>
                  <a:pt x="61412" y="4688798"/>
                </a:lnTo>
                <a:lnTo>
                  <a:pt x="530839" y="4688798"/>
                </a:lnTo>
                <a:cubicBezTo>
                  <a:pt x="5811194" y="4688798"/>
                  <a:pt x="5811194" y="4688798"/>
                  <a:pt x="5811194" y="4688798"/>
                </a:cubicBezTo>
                <a:cubicBezTo>
                  <a:pt x="5811194" y="4688798"/>
                  <a:pt x="5912496" y="4688798"/>
                  <a:pt x="5912496" y="4587218"/>
                </a:cubicBezTo>
                <a:cubicBezTo>
                  <a:pt x="5912496" y="3918482"/>
                  <a:pt x="5912496" y="3918482"/>
                  <a:pt x="5912496" y="3918482"/>
                </a:cubicBezTo>
                <a:cubicBezTo>
                  <a:pt x="5912496" y="1744697"/>
                  <a:pt x="5912496" y="1744697"/>
                  <a:pt x="5912496" y="1744697"/>
                </a:cubicBezTo>
                <a:cubicBezTo>
                  <a:pt x="5912496" y="1744697"/>
                  <a:pt x="5912496" y="1643198"/>
                  <a:pt x="5811194" y="1643198"/>
                </a:cubicBezTo>
                <a:lnTo>
                  <a:pt x="61412" y="1643198"/>
                </a:lnTo>
                <a:lnTo>
                  <a:pt x="3176" y="1643198"/>
                </a:lnTo>
                <a:lnTo>
                  <a:pt x="0" y="1643198"/>
                </a:lnTo>
                <a:close/>
              </a:path>
            </a:pathLst>
          </a:custGeom>
          <a:solidFill>
            <a:srgbClr val="E9E9E9">
              <a:alpha val="10000"/>
            </a:srgbClr>
          </a:solidFill>
        </p:spPr>
        <p:txBody>
          <a:bodyPr wrap="square" lIns="2880000" tIns="0" anchor="ctr" anchorCtr="0">
            <a:noAutofit/>
          </a:bodyPr>
          <a:lstStyle>
            <a:lvl1pPr algn="ctr">
              <a:defRPr sz="1400" b="0"/>
            </a:lvl1pPr>
          </a:lstStyle>
          <a:p>
            <a:r>
              <a:rPr lang="nl-NL" smtClean="0"/>
              <a:t>Klik op het pictogram als u een afbeelding wilt toevoege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2015576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1" orient="horz" pos="4135" userDrawn="1">
          <p15:clr>
            <a:srgbClr val="FBAE4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F Title Slide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5" name="Group 34"/>
          <p:cNvGrpSpPr/>
          <p:nvPr userDrawn="1"/>
        </p:nvGrpSpPr>
        <p:grpSpPr bwMode="gray">
          <a:xfrm>
            <a:off x="1" y="1643202"/>
            <a:ext cx="9213354" cy="3055937"/>
            <a:chOff x="409575" y="3144838"/>
            <a:chExt cx="11339513" cy="3055937"/>
          </a:xfrm>
        </p:grpSpPr>
        <p:sp>
          <p:nvSpPr>
            <p:cNvPr id="37" name="Freeform 5"/>
            <p:cNvSpPr>
              <a:spLocks/>
            </p:cNvSpPr>
            <p:nvPr/>
          </p:nvSpPr>
          <p:spPr bwMode="gray">
            <a:xfrm>
              <a:off x="409575" y="5521325"/>
              <a:ext cx="11339513" cy="679450"/>
            </a:xfrm>
            <a:custGeom>
              <a:avLst/>
              <a:gdLst>
                <a:gd name="T0" fmla="*/ 0 w 2680"/>
                <a:gd name="T1" fmla="*/ 0 h 160"/>
                <a:gd name="T2" fmla="*/ 0 w 2680"/>
                <a:gd name="T3" fmla="*/ 160 h 160"/>
                <a:gd name="T4" fmla="*/ 2656 w 2680"/>
                <a:gd name="T5" fmla="*/ 160 h 160"/>
                <a:gd name="T6" fmla="*/ 2680 w 2680"/>
                <a:gd name="T7" fmla="*/ 136 h 160"/>
                <a:gd name="T8" fmla="*/ 2680 w 2680"/>
                <a:gd name="T9" fmla="*/ 0 h 160"/>
                <a:gd name="T10" fmla="*/ 0 w 2680"/>
                <a:gd name="T11" fmla="*/ 0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80" h="160">
                  <a:moveTo>
                    <a:pt x="0" y="0"/>
                  </a:moveTo>
                  <a:cubicBezTo>
                    <a:pt x="0" y="160"/>
                    <a:pt x="0" y="160"/>
                    <a:pt x="0" y="160"/>
                  </a:cubicBezTo>
                  <a:cubicBezTo>
                    <a:pt x="2656" y="160"/>
                    <a:pt x="2656" y="160"/>
                    <a:pt x="2656" y="160"/>
                  </a:cubicBezTo>
                  <a:cubicBezTo>
                    <a:pt x="2656" y="160"/>
                    <a:pt x="2680" y="160"/>
                    <a:pt x="2680" y="136"/>
                  </a:cubicBezTo>
                  <a:cubicBezTo>
                    <a:pt x="2680" y="0"/>
                    <a:pt x="2680" y="0"/>
                    <a:pt x="2680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EAEAE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333333"/>
                </a:solidFill>
              </a:endParaRPr>
            </a:p>
          </p:txBody>
        </p:sp>
        <p:sp>
          <p:nvSpPr>
            <p:cNvPr id="39" name="Freeform 6"/>
            <p:cNvSpPr>
              <a:spLocks/>
            </p:cNvSpPr>
            <p:nvPr/>
          </p:nvSpPr>
          <p:spPr bwMode="gray">
            <a:xfrm>
              <a:off x="409575" y="3144838"/>
              <a:ext cx="11339513" cy="2376487"/>
            </a:xfrm>
            <a:custGeom>
              <a:avLst/>
              <a:gdLst>
                <a:gd name="T0" fmla="*/ 0 w 2680"/>
                <a:gd name="T1" fmla="*/ 0 h 560"/>
                <a:gd name="T2" fmla="*/ 0 w 2680"/>
                <a:gd name="T3" fmla="*/ 560 h 560"/>
                <a:gd name="T4" fmla="*/ 2680 w 2680"/>
                <a:gd name="T5" fmla="*/ 560 h 560"/>
                <a:gd name="T6" fmla="*/ 2680 w 2680"/>
                <a:gd name="T7" fmla="*/ 24 h 560"/>
                <a:gd name="T8" fmla="*/ 2656 w 2680"/>
                <a:gd name="T9" fmla="*/ 0 h 560"/>
                <a:gd name="T10" fmla="*/ 0 w 2680"/>
                <a:gd name="T11" fmla="*/ 0 h 5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80" h="560">
                  <a:moveTo>
                    <a:pt x="0" y="0"/>
                  </a:moveTo>
                  <a:cubicBezTo>
                    <a:pt x="0" y="560"/>
                    <a:pt x="0" y="560"/>
                    <a:pt x="0" y="560"/>
                  </a:cubicBezTo>
                  <a:cubicBezTo>
                    <a:pt x="2680" y="560"/>
                    <a:pt x="2680" y="560"/>
                    <a:pt x="2680" y="560"/>
                  </a:cubicBezTo>
                  <a:cubicBezTo>
                    <a:pt x="2680" y="24"/>
                    <a:pt x="2680" y="24"/>
                    <a:pt x="2680" y="24"/>
                  </a:cubicBezTo>
                  <a:cubicBezTo>
                    <a:pt x="2680" y="24"/>
                    <a:pt x="2680" y="0"/>
                    <a:pt x="2656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F62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333333"/>
                </a:solidFill>
              </a:endParaRPr>
            </a:p>
          </p:txBody>
        </p:sp>
      </p:grpSp>
      <p:sp>
        <p:nvSpPr>
          <p:cNvPr id="8" name="Rectangle 7"/>
          <p:cNvSpPr/>
          <p:nvPr userDrawn="1"/>
        </p:nvSpPr>
        <p:spPr bwMode="gray">
          <a:xfrm>
            <a:off x="2" y="6024880"/>
            <a:ext cx="9904532" cy="8331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2400">
              <a:solidFill>
                <a:prstClr val="white"/>
              </a:solidFill>
            </a:endParaRPr>
          </a:p>
        </p:txBody>
      </p:sp>
      <p:sp>
        <p:nvSpPr>
          <p:cNvPr id="25" name="Title 1"/>
          <p:cNvSpPr>
            <a:spLocks noGrp="1"/>
          </p:cNvSpPr>
          <p:nvPr>
            <p:ph type="ctrTitle"/>
          </p:nvPr>
        </p:nvSpPr>
        <p:spPr bwMode="gray">
          <a:xfrm>
            <a:off x="684477" y="2116803"/>
            <a:ext cx="8379482" cy="1227573"/>
          </a:xfrm>
        </p:spPr>
        <p:txBody>
          <a:bodyPr anchor="ctr" anchorCtr="0">
            <a:noAutofit/>
          </a:bodyPr>
          <a:lstStyle>
            <a:lvl1pPr algn="l">
              <a:lnSpc>
                <a:spcPts val="4600"/>
              </a:lnSpc>
              <a:defRPr sz="4600">
                <a:solidFill>
                  <a:schemeClr val="bg1"/>
                </a:solidFill>
              </a:defRPr>
            </a:lvl1pPr>
          </a:lstStyle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  <p:sp>
        <p:nvSpPr>
          <p:cNvPr id="26" name="Subtitle 2"/>
          <p:cNvSpPr>
            <a:spLocks noGrp="1"/>
          </p:cNvSpPr>
          <p:nvPr>
            <p:ph type="subTitle" idx="1"/>
          </p:nvPr>
        </p:nvSpPr>
        <p:spPr bwMode="gray">
          <a:xfrm>
            <a:off x="684477" y="4240704"/>
            <a:ext cx="5754721" cy="306798"/>
          </a:xfrm>
        </p:spPr>
        <p:txBody>
          <a:bodyPr anchor="ctr" anchorCtr="0">
            <a:noAutofit/>
          </a:bodyPr>
          <a:lstStyle>
            <a:lvl1pPr marL="0" indent="0" algn="l">
              <a:lnSpc>
                <a:spcPts val="2200"/>
              </a:lnSpc>
              <a:buNone/>
              <a:defRPr sz="2000" b="0" i="0"/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nl-NL" noProof="0" smtClean="0"/>
              <a:t>Klik om de ondertitelstijl van het model te bewerken</a:t>
            </a:r>
            <a:endParaRPr lang="en-GB" noProof="0" dirty="0"/>
          </a:p>
        </p:txBody>
      </p:sp>
      <p:sp>
        <p:nvSpPr>
          <p:cNvPr id="27" name="Text Placeholder 6"/>
          <p:cNvSpPr>
            <a:spLocks noGrp="1"/>
          </p:cNvSpPr>
          <p:nvPr>
            <p:ph type="body" sz="quarter" idx="11"/>
          </p:nvPr>
        </p:nvSpPr>
        <p:spPr bwMode="gray">
          <a:xfrm>
            <a:off x="684451" y="3556803"/>
            <a:ext cx="8373361" cy="385233"/>
          </a:xfrm>
        </p:spPr>
        <p:txBody>
          <a:bodyPr>
            <a:noAutofit/>
          </a:bodyPr>
          <a:lstStyle>
            <a:lvl1pPr>
              <a:lnSpc>
                <a:spcPts val="2200"/>
              </a:lnSpc>
              <a:defRPr sz="220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noProof="0" smtClean="0"/>
              <a:t>Klik om de modelstijlen te bewerken</a:t>
            </a:r>
          </a:p>
        </p:txBody>
      </p:sp>
      <p:pic>
        <p:nvPicPr>
          <p:cNvPr id="38" name="Picture 3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28199" y="6203775"/>
            <a:ext cx="1233535" cy="378000"/>
          </a:xfrm>
          <a:prstGeom prst="rect">
            <a:avLst/>
          </a:prstGeom>
        </p:spPr>
      </p:pic>
      <p:pic>
        <p:nvPicPr>
          <p:cNvPr id="13" name="Picture Placeholder 36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/>
        </p:blipFill>
        <p:spPr bwMode="gray">
          <a:xfrm>
            <a:off x="681038" y="6291860"/>
            <a:ext cx="1784250" cy="287825"/>
          </a:xfrm>
          <a:prstGeom prst="rect">
            <a:avLst/>
          </a:prstGeom>
        </p:spPr>
      </p:pic>
      <p:grpSp>
        <p:nvGrpSpPr>
          <p:cNvPr id="44" name="Group 43"/>
          <p:cNvGrpSpPr/>
          <p:nvPr userDrawn="1"/>
        </p:nvGrpSpPr>
        <p:grpSpPr bwMode="gray">
          <a:xfrm>
            <a:off x="-1653580" y="0"/>
            <a:ext cx="1521000" cy="4689612"/>
            <a:chOff x="-2581275" y="595116"/>
            <a:chExt cx="1872000" cy="4689612"/>
          </a:xfrm>
        </p:grpSpPr>
        <p:sp>
          <p:nvSpPr>
            <p:cNvPr id="45" name="Rectangle 104"/>
            <p:cNvSpPr>
              <a:spLocks noChangeArrowheads="1"/>
            </p:cNvSpPr>
            <p:nvPr/>
          </p:nvSpPr>
          <p:spPr bwMode="gray">
            <a:xfrm>
              <a:off x="-2581275" y="4276728"/>
              <a:ext cx="1872000" cy="100800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46" name="Rectangle 104"/>
            <p:cNvSpPr>
              <a:spLocks noChangeArrowheads="1"/>
            </p:cNvSpPr>
            <p:nvPr userDrawn="1"/>
          </p:nvSpPr>
          <p:spPr bwMode="gray">
            <a:xfrm>
              <a:off x="-2581275" y="595116"/>
              <a:ext cx="1872000" cy="3672087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47" name="Rectangle 105"/>
            <p:cNvSpPr>
              <a:spLocks noChangeArrowheads="1"/>
            </p:cNvSpPr>
            <p:nvPr userDrawn="1"/>
          </p:nvSpPr>
          <p:spPr bwMode="gray">
            <a:xfrm>
              <a:off x="-2449513" y="1136650"/>
              <a:ext cx="215900" cy="215900"/>
            </a:xfrm>
            <a:prstGeom prst="rect">
              <a:avLst/>
            </a:prstGeom>
            <a:solidFill>
              <a:srgbClr val="FF6200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48" name="Rectangle 106"/>
            <p:cNvSpPr>
              <a:spLocks noChangeArrowheads="1"/>
            </p:cNvSpPr>
            <p:nvPr userDrawn="1"/>
          </p:nvSpPr>
          <p:spPr bwMode="gray">
            <a:xfrm>
              <a:off x="-2159000" y="1146175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Orang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55, 98, 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49" name="Rectangle 107"/>
            <p:cNvSpPr>
              <a:spLocks noChangeArrowheads="1"/>
            </p:cNvSpPr>
            <p:nvPr userDrawn="1"/>
          </p:nvSpPr>
          <p:spPr bwMode="gray">
            <a:xfrm>
              <a:off x="-2449513" y="1571626"/>
              <a:ext cx="215900" cy="215900"/>
            </a:xfrm>
            <a:prstGeom prst="rect">
              <a:avLst/>
            </a:prstGeom>
            <a:solidFill>
              <a:srgbClr val="A8A8A8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0" name="Rectangle 108"/>
            <p:cNvSpPr>
              <a:spLocks noChangeArrowheads="1"/>
            </p:cNvSpPr>
            <p:nvPr userDrawn="1"/>
          </p:nvSpPr>
          <p:spPr bwMode="gray">
            <a:xfrm>
              <a:off x="-2159000" y="15970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ght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68, 168, 16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1" name="Rectangle 109"/>
            <p:cNvSpPr>
              <a:spLocks noChangeArrowheads="1"/>
            </p:cNvSpPr>
            <p:nvPr userDrawn="1"/>
          </p:nvSpPr>
          <p:spPr bwMode="gray">
            <a:xfrm>
              <a:off x="-2449513" y="2058988"/>
              <a:ext cx="215900" cy="215900"/>
            </a:xfrm>
            <a:prstGeom prst="rect">
              <a:avLst/>
            </a:prstGeom>
            <a:solidFill>
              <a:srgbClr val="52519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2" name="Rectangle 110"/>
            <p:cNvSpPr>
              <a:spLocks noChangeArrowheads="1"/>
            </p:cNvSpPr>
            <p:nvPr userDrawn="1"/>
          </p:nvSpPr>
          <p:spPr bwMode="gray">
            <a:xfrm>
              <a:off x="-2159000" y="2068513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Indigo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82, 81, 153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3" name="Rectangle 111"/>
            <p:cNvSpPr>
              <a:spLocks noChangeArrowheads="1"/>
            </p:cNvSpPr>
            <p:nvPr userDrawn="1"/>
          </p:nvSpPr>
          <p:spPr bwMode="gray">
            <a:xfrm>
              <a:off x="-2449513" y="2527301"/>
              <a:ext cx="215900" cy="215900"/>
            </a:xfrm>
            <a:prstGeom prst="rect">
              <a:avLst/>
            </a:prstGeom>
            <a:solidFill>
              <a:srgbClr val="60A6DA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4" name="Rectangle 112"/>
            <p:cNvSpPr>
              <a:spLocks noChangeArrowheads="1"/>
            </p:cNvSpPr>
            <p:nvPr userDrawn="1"/>
          </p:nvSpPr>
          <p:spPr bwMode="gray">
            <a:xfrm>
              <a:off x="-2159000" y="25368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Sk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96, 166, 2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5" name="Rectangle 113"/>
            <p:cNvSpPr>
              <a:spLocks noChangeArrowheads="1"/>
            </p:cNvSpPr>
            <p:nvPr userDrawn="1"/>
          </p:nvSpPr>
          <p:spPr bwMode="gray">
            <a:xfrm>
              <a:off x="-2449513" y="762000"/>
              <a:ext cx="1692000" cy="165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90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200" b="1" smtClean="0">
                  <a:solidFill>
                    <a:srgbClr val="333333"/>
                  </a:solidFill>
                </a:rPr>
                <a:t>Colour Guidelines</a:t>
              </a:r>
              <a:endParaRPr lang="en-GB" altLang="en-US" sz="1200" b="1">
                <a:solidFill>
                  <a:srgbClr val="333333"/>
                </a:solidFill>
              </a:endParaRPr>
            </a:p>
          </p:txBody>
        </p:sp>
        <p:sp>
          <p:nvSpPr>
            <p:cNvPr id="56" name="Rectangle 107"/>
            <p:cNvSpPr>
              <a:spLocks noChangeArrowheads="1"/>
            </p:cNvSpPr>
            <p:nvPr/>
          </p:nvSpPr>
          <p:spPr bwMode="gray">
            <a:xfrm>
              <a:off x="-2449513" y="2962277"/>
              <a:ext cx="215900" cy="215900"/>
            </a:xfrm>
            <a:prstGeom prst="rect">
              <a:avLst/>
            </a:prstGeom>
            <a:solidFill>
              <a:srgbClr val="AB006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7" name="Rectangle 108"/>
            <p:cNvSpPr>
              <a:spLocks noChangeArrowheads="1"/>
            </p:cNvSpPr>
            <p:nvPr/>
          </p:nvSpPr>
          <p:spPr bwMode="gray">
            <a:xfrm>
              <a:off x="-2159000" y="29876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Fuchsia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71, 0, 102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8" name="Rectangle 109"/>
            <p:cNvSpPr>
              <a:spLocks noChangeArrowheads="1"/>
            </p:cNvSpPr>
            <p:nvPr/>
          </p:nvSpPr>
          <p:spPr bwMode="gray">
            <a:xfrm>
              <a:off x="-2449513" y="3449639"/>
              <a:ext cx="215900" cy="215900"/>
            </a:xfrm>
            <a:prstGeom prst="rect">
              <a:avLst/>
            </a:prstGeom>
            <a:solidFill>
              <a:srgbClr val="D0D93C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9" name="Rectangle 110"/>
            <p:cNvSpPr>
              <a:spLocks noChangeArrowheads="1"/>
            </p:cNvSpPr>
            <p:nvPr/>
          </p:nvSpPr>
          <p:spPr bwMode="gray">
            <a:xfrm>
              <a:off x="-2159000" y="3459164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m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08, 217, 6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0" name="Rectangle 111"/>
            <p:cNvSpPr>
              <a:spLocks noChangeArrowheads="1"/>
            </p:cNvSpPr>
            <p:nvPr/>
          </p:nvSpPr>
          <p:spPr bwMode="gray">
            <a:xfrm>
              <a:off x="-2449513" y="3917952"/>
              <a:ext cx="215900" cy="215900"/>
            </a:xfrm>
            <a:prstGeom prst="rect">
              <a:avLst/>
            </a:prstGeom>
            <a:solidFill>
              <a:srgbClr val="01964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1" name="Rectangle 112"/>
            <p:cNvSpPr>
              <a:spLocks noChangeArrowheads="1"/>
            </p:cNvSpPr>
            <p:nvPr/>
          </p:nvSpPr>
          <p:spPr bwMode="gray">
            <a:xfrm>
              <a:off x="-2159000" y="39274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eaf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2, 150, 8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2" name="Rectangle 109"/>
            <p:cNvSpPr>
              <a:spLocks noChangeArrowheads="1"/>
            </p:cNvSpPr>
            <p:nvPr/>
          </p:nvSpPr>
          <p:spPr bwMode="gray">
            <a:xfrm>
              <a:off x="-2449513" y="4405314"/>
              <a:ext cx="215900" cy="215900"/>
            </a:xfrm>
            <a:prstGeom prst="rect">
              <a:avLst/>
            </a:prstGeom>
            <a:solidFill>
              <a:srgbClr val="76767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3" name="Rectangle 110"/>
            <p:cNvSpPr>
              <a:spLocks noChangeArrowheads="1"/>
            </p:cNvSpPr>
            <p:nvPr/>
          </p:nvSpPr>
          <p:spPr bwMode="gray">
            <a:xfrm>
              <a:off x="-2159000" y="4414839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Mid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18, 118, 1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4" name="Rectangle 111"/>
            <p:cNvSpPr>
              <a:spLocks noChangeArrowheads="1"/>
            </p:cNvSpPr>
            <p:nvPr/>
          </p:nvSpPr>
          <p:spPr bwMode="gray">
            <a:xfrm>
              <a:off x="-2449513" y="4873627"/>
              <a:ext cx="215900" cy="215900"/>
            </a:xfrm>
            <a:prstGeom prst="rect">
              <a:avLst/>
            </a:prstGeom>
            <a:solidFill>
              <a:srgbClr val="333333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5" name="Rectangle 112"/>
            <p:cNvSpPr>
              <a:spLocks noChangeArrowheads="1"/>
            </p:cNvSpPr>
            <p:nvPr/>
          </p:nvSpPr>
          <p:spPr bwMode="gray">
            <a:xfrm>
              <a:off x="-2159000" y="4883152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Text Colour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1, 51, 5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</p:grpSp>
      <p:pic>
        <p:nvPicPr>
          <p:cNvPr id="34" name="Picture 33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466554" y="4402733"/>
            <a:ext cx="125761" cy="138908"/>
          </a:xfrm>
          <a:prstGeom prst="rect">
            <a:avLst/>
          </a:prstGeom>
        </p:spPr>
      </p:pic>
      <p:sp>
        <p:nvSpPr>
          <p:cNvPr id="36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6636209" y="4291504"/>
            <a:ext cx="2427750" cy="275612"/>
          </a:xfrm>
        </p:spPr>
        <p:txBody>
          <a:bodyPr tIns="0" bIns="0"/>
          <a:lstStyle>
            <a:lvl1pPr marL="0" indent="0" algn="r">
              <a:lnSpc>
                <a:spcPct val="100000"/>
              </a:lnSpc>
              <a:buNone/>
              <a:defRPr sz="1500">
                <a:solidFill>
                  <a:srgbClr val="000000"/>
                </a:solidFill>
                <a:latin typeface="+mn-lt"/>
              </a:defRPr>
            </a:lvl1pPr>
            <a:lvl2pPr>
              <a:defRPr sz="2200">
                <a:solidFill>
                  <a:srgbClr val="000000"/>
                </a:solidFill>
              </a:defRPr>
            </a:lvl2pPr>
            <a:lvl3pPr>
              <a:defRPr sz="2200">
                <a:solidFill>
                  <a:srgbClr val="000000"/>
                </a:solidFill>
              </a:defRPr>
            </a:lvl3pPr>
            <a:lvl4pPr>
              <a:defRPr sz="2200">
                <a:solidFill>
                  <a:srgbClr val="000000"/>
                </a:solidFill>
              </a:defRPr>
            </a:lvl4pPr>
            <a:lvl5pPr>
              <a:defRPr sz="2200">
                <a:solidFill>
                  <a:srgbClr val="000000"/>
                </a:solidFill>
              </a:defRPr>
            </a:lvl5pPr>
          </a:lstStyle>
          <a:p>
            <a:pPr lvl="0"/>
            <a:r>
              <a:rPr lang="en-GB" noProof="0" dirty="0" smtClean="0"/>
              <a:t>Click to edit location and date</a:t>
            </a:r>
          </a:p>
        </p:txBody>
      </p:sp>
    </p:spTree>
    <p:extLst>
      <p:ext uri="{BB962C8B-B14F-4D97-AF65-F5344CB8AC3E}">
        <p14:creationId xmlns:p14="http://schemas.microsoft.com/office/powerpoint/2010/main" val="3398824370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1" orient="horz" pos="4135">
          <p15:clr>
            <a:srgbClr val="FBAE40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F Title Slide Full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4" name="Group 73"/>
          <p:cNvGrpSpPr>
            <a:grpSpLocks noChangeAspect="1"/>
          </p:cNvGrpSpPr>
          <p:nvPr userDrawn="1"/>
        </p:nvGrpSpPr>
        <p:grpSpPr bwMode="gray">
          <a:xfrm>
            <a:off x="0" y="1643199"/>
            <a:ext cx="4801323" cy="3045600"/>
            <a:chOff x="3465513" y="2070100"/>
            <a:chExt cx="5260975" cy="2711450"/>
          </a:xfrm>
        </p:grpSpPr>
        <p:sp>
          <p:nvSpPr>
            <p:cNvPr id="75" name="Freeform 5"/>
            <p:cNvSpPr>
              <a:spLocks/>
            </p:cNvSpPr>
            <p:nvPr userDrawn="1"/>
          </p:nvSpPr>
          <p:spPr bwMode="gray">
            <a:xfrm>
              <a:off x="3465513" y="4095750"/>
              <a:ext cx="5260975" cy="685800"/>
            </a:xfrm>
            <a:custGeom>
              <a:avLst/>
              <a:gdLst>
                <a:gd name="T0" fmla="*/ 0 w 1400"/>
                <a:gd name="T1" fmla="*/ 0 h 182"/>
                <a:gd name="T2" fmla="*/ 0 w 1400"/>
                <a:gd name="T3" fmla="*/ 182 h 182"/>
                <a:gd name="T4" fmla="*/ 1376 w 1400"/>
                <a:gd name="T5" fmla="*/ 182 h 182"/>
                <a:gd name="T6" fmla="*/ 1400 w 1400"/>
                <a:gd name="T7" fmla="*/ 158 h 182"/>
                <a:gd name="T8" fmla="*/ 1400 w 1400"/>
                <a:gd name="T9" fmla="*/ 0 h 182"/>
                <a:gd name="T10" fmla="*/ 0 w 1400"/>
                <a:gd name="T11" fmla="*/ 0 h 1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400" h="182">
                  <a:moveTo>
                    <a:pt x="0" y="0"/>
                  </a:moveTo>
                  <a:cubicBezTo>
                    <a:pt x="0" y="182"/>
                    <a:pt x="0" y="182"/>
                    <a:pt x="0" y="182"/>
                  </a:cubicBezTo>
                  <a:cubicBezTo>
                    <a:pt x="1376" y="182"/>
                    <a:pt x="1376" y="182"/>
                    <a:pt x="1376" y="182"/>
                  </a:cubicBezTo>
                  <a:cubicBezTo>
                    <a:pt x="1376" y="182"/>
                    <a:pt x="1400" y="182"/>
                    <a:pt x="1400" y="158"/>
                  </a:cubicBezTo>
                  <a:cubicBezTo>
                    <a:pt x="1400" y="0"/>
                    <a:pt x="1400" y="0"/>
                    <a:pt x="1400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EAEAEA"/>
            </a:solidFill>
            <a:ln w="9525">
              <a:solidFill>
                <a:srgbClr val="EAEAEA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333333"/>
                </a:solidFill>
              </a:endParaRPr>
            </a:p>
          </p:txBody>
        </p:sp>
        <p:sp>
          <p:nvSpPr>
            <p:cNvPr id="76" name="Freeform 75"/>
            <p:cNvSpPr>
              <a:spLocks/>
            </p:cNvSpPr>
            <p:nvPr userDrawn="1"/>
          </p:nvSpPr>
          <p:spPr bwMode="gray">
            <a:xfrm>
              <a:off x="3465513" y="2070100"/>
              <a:ext cx="5260975" cy="2025650"/>
            </a:xfrm>
            <a:custGeom>
              <a:avLst/>
              <a:gdLst>
                <a:gd name="T0" fmla="*/ 0 w 1400"/>
                <a:gd name="T1" fmla="*/ 0 h 538"/>
                <a:gd name="T2" fmla="*/ 0 w 1400"/>
                <a:gd name="T3" fmla="*/ 538 h 538"/>
                <a:gd name="T4" fmla="*/ 1400 w 1400"/>
                <a:gd name="T5" fmla="*/ 538 h 538"/>
                <a:gd name="T6" fmla="*/ 1400 w 1400"/>
                <a:gd name="T7" fmla="*/ 24 h 538"/>
                <a:gd name="T8" fmla="*/ 1376 w 1400"/>
                <a:gd name="T9" fmla="*/ 0 h 538"/>
                <a:gd name="T10" fmla="*/ 0 w 1400"/>
                <a:gd name="T11" fmla="*/ 0 h 5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400" h="538">
                  <a:moveTo>
                    <a:pt x="0" y="0"/>
                  </a:moveTo>
                  <a:cubicBezTo>
                    <a:pt x="0" y="538"/>
                    <a:pt x="0" y="538"/>
                    <a:pt x="0" y="538"/>
                  </a:cubicBezTo>
                  <a:cubicBezTo>
                    <a:pt x="1400" y="538"/>
                    <a:pt x="1400" y="538"/>
                    <a:pt x="1400" y="538"/>
                  </a:cubicBezTo>
                  <a:cubicBezTo>
                    <a:pt x="1400" y="24"/>
                    <a:pt x="1400" y="24"/>
                    <a:pt x="1400" y="24"/>
                  </a:cubicBezTo>
                  <a:cubicBezTo>
                    <a:pt x="1400" y="24"/>
                    <a:pt x="1400" y="0"/>
                    <a:pt x="1376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F6200"/>
            </a:solidFill>
            <a:ln w="9525">
              <a:solidFill>
                <a:srgbClr val="FF6200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333333"/>
                </a:solidFill>
              </a:endParaRPr>
            </a:p>
          </p:txBody>
        </p:sp>
      </p:grpSp>
      <p:sp>
        <p:nvSpPr>
          <p:cNvPr id="9" name="Title 1"/>
          <p:cNvSpPr>
            <a:spLocks noGrp="1"/>
          </p:cNvSpPr>
          <p:nvPr>
            <p:ph type="ctrTitle"/>
          </p:nvPr>
        </p:nvSpPr>
        <p:spPr bwMode="gray">
          <a:xfrm>
            <a:off x="684479" y="2012286"/>
            <a:ext cx="3963347" cy="1461600"/>
          </a:xfrm>
        </p:spPr>
        <p:txBody>
          <a:bodyPr anchor="ctr" anchorCtr="0">
            <a:noAutofit/>
          </a:bodyPr>
          <a:lstStyle>
            <a:lvl1pPr algn="l">
              <a:lnSpc>
                <a:spcPts val="3800"/>
              </a:lnSpc>
              <a:defRPr sz="3800">
                <a:solidFill>
                  <a:schemeClr val="bg1"/>
                </a:solidFill>
              </a:defRPr>
            </a:lvl1pPr>
          </a:lstStyle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  <p:sp>
        <p:nvSpPr>
          <p:cNvPr id="10" name="Subtitle 2"/>
          <p:cNvSpPr>
            <a:spLocks noGrp="1"/>
          </p:cNvSpPr>
          <p:nvPr>
            <p:ph type="subTitle" idx="1"/>
          </p:nvPr>
        </p:nvSpPr>
        <p:spPr bwMode="gray">
          <a:xfrm>
            <a:off x="684479" y="4031478"/>
            <a:ext cx="3963347" cy="306798"/>
          </a:xfrm>
        </p:spPr>
        <p:txBody>
          <a:bodyPr anchor="ctr" anchorCtr="0">
            <a:noAutofit/>
          </a:bodyPr>
          <a:lstStyle>
            <a:lvl1pPr marL="0" indent="0" algn="l">
              <a:lnSpc>
                <a:spcPts val="2200"/>
              </a:lnSpc>
              <a:buNone/>
              <a:defRPr sz="1700" b="0" i="0"/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nl-NL" noProof="0" smtClean="0"/>
              <a:t>Klik om de ondertitelstijl van het model te bewerken</a:t>
            </a:r>
            <a:endParaRPr lang="en-GB" noProof="0" dirty="0"/>
          </a:p>
        </p:txBody>
      </p:sp>
      <p:sp>
        <p:nvSpPr>
          <p:cNvPr id="11" name="Text Placeholder 6"/>
          <p:cNvSpPr>
            <a:spLocks noGrp="1"/>
          </p:cNvSpPr>
          <p:nvPr>
            <p:ph type="body" sz="quarter" idx="11"/>
          </p:nvPr>
        </p:nvSpPr>
        <p:spPr bwMode="gray">
          <a:xfrm>
            <a:off x="684479" y="3603486"/>
            <a:ext cx="3963347" cy="290712"/>
          </a:xfrm>
        </p:spPr>
        <p:txBody>
          <a:bodyPr bIns="0">
            <a:noAutofit/>
          </a:bodyPr>
          <a:lstStyle>
            <a:lvl1pPr algn="l">
              <a:lnSpc>
                <a:spcPts val="1700"/>
              </a:lnSpc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noProof="0" smtClean="0"/>
              <a:t>Klik om de modelstijlen te bewerken</a:t>
            </a:r>
          </a:p>
        </p:txBody>
      </p:sp>
      <p:sp>
        <p:nvSpPr>
          <p:cNvPr id="12" name="Rectangle 11"/>
          <p:cNvSpPr/>
          <p:nvPr userDrawn="1"/>
        </p:nvSpPr>
        <p:spPr bwMode="gray">
          <a:xfrm>
            <a:off x="2" y="6024880"/>
            <a:ext cx="9904532" cy="8331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2400">
              <a:solidFill>
                <a:prstClr val="white"/>
              </a:solidFill>
            </a:endParaRPr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28199" y="6203775"/>
            <a:ext cx="1233535" cy="378000"/>
          </a:xfrm>
          <a:prstGeom prst="rect">
            <a:avLst/>
          </a:prstGeom>
        </p:spPr>
      </p:pic>
      <p:pic>
        <p:nvPicPr>
          <p:cNvPr id="19" name="Picture Placeholder 36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/>
        </p:blipFill>
        <p:spPr bwMode="gray">
          <a:xfrm>
            <a:off x="681038" y="6291860"/>
            <a:ext cx="1784250" cy="287825"/>
          </a:xfrm>
          <a:prstGeom prst="rect">
            <a:avLst/>
          </a:prstGeom>
        </p:spPr>
      </p:pic>
      <p:grpSp>
        <p:nvGrpSpPr>
          <p:cNvPr id="42" name="Group 41"/>
          <p:cNvGrpSpPr/>
          <p:nvPr userDrawn="1"/>
        </p:nvGrpSpPr>
        <p:grpSpPr bwMode="gray">
          <a:xfrm>
            <a:off x="-1653580" y="0"/>
            <a:ext cx="1521000" cy="4689612"/>
            <a:chOff x="-2581275" y="595116"/>
            <a:chExt cx="1872000" cy="4689612"/>
          </a:xfrm>
        </p:grpSpPr>
        <p:sp>
          <p:nvSpPr>
            <p:cNvPr id="43" name="Rectangle 104"/>
            <p:cNvSpPr>
              <a:spLocks noChangeArrowheads="1"/>
            </p:cNvSpPr>
            <p:nvPr/>
          </p:nvSpPr>
          <p:spPr bwMode="gray">
            <a:xfrm>
              <a:off x="-2581275" y="4276728"/>
              <a:ext cx="1872000" cy="100800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44" name="Rectangle 104"/>
            <p:cNvSpPr>
              <a:spLocks noChangeArrowheads="1"/>
            </p:cNvSpPr>
            <p:nvPr userDrawn="1"/>
          </p:nvSpPr>
          <p:spPr bwMode="gray">
            <a:xfrm>
              <a:off x="-2581275" y="595116"/>
              <a:ext cx="1872000" cy="3672087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45" name="Rectangle 105"/>
            <p:cNvSpPr>
              <a:spLocks noChangeArrowheads="1"/>
            </p:cNvSpPr>
            <p:nvPr userDrawn="1"/>
          </p:nvSpPr>
          <p:spPr bwMode="gray">
            <a:xfrm>
              <a:off x="-2449513" y="1136650"/>
              <a:ext cx="215900" cy="215900"/>
            </a:xfrm>
            <a:prstGeom prst="rect">
              <a:avLst/>
            </a:prstGeom>
            <a:solidFill>
              <a:srgbClr val="FF6200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46" name="Rectangle 106"/>
            <p:cNvSpPr>
              <a:spLocks noChangeArrowheads="1"/>
            </p:cNvSpPr>
            <p:nvPr userDrawn="1"/>
          </p:nvSpPr>
          <p:spPr bwMode="gray">
            <a:xfrm>
              <a:off x="-2159000" y="1146175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Orang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55, 98, 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47" name="Rectangle 107"/>
            <p:cNvSpPr>
              <a:spLocks noChangeArrowheads="1"/>
            </p:cNvSpPr>
            <p:nvPr userDrawn="1"/>
          </p:nvSpPr>
          <p:spPr bwMode="gray">
            <a:xfrm>
              <a:off x="-2449513" y="1571626"/>
              <a:ext cx="215900" cy="215900"/>
            </a:xfrm>
            <a:prstGeom prst="rect">
              <a:avLst/>
            </a:prstGeom>
            <a:solidFill>
              <a:srgbClr val="A8A8A8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48" name="Rectangle 108"/>
            <p:cNvSpPr>
              <a:spLocks noChangeArrowheads="1"/>
            </p:cNvSpPr>
            <p:nvPr userDrawn="1"/>
          </p:nvSpPr>
          <p:spPr bwMode="gray">
            <a:xfrm>
              <a:off x="-2159000" y="15970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ght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68, 168, 16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49" name="Rectangle 109"/>
            <p:cNvSpPr>
              <a:spLocks noChangeArrowheads="1"/>
            </p:cNvSpPr>
            <p:nvPr userDrawn="1"/>
          </p:nvSpPr>
          <p:spPr bwMode="gray">
            <a:xfrm>
              <a:off x="-2449513" y="2058988"/>
              <a:ext cx="215900" cy="215900"/>
            </a:xfrm>
            <a:prstGeom prst="rect">
              <a:avLst/>
            </a:prstGeom>
            <a:solidFill>
              <a:srgbClr val="52519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0" name="Rectangle 110"/>
            <p:cNvSpPr>
              <a:spLocks noChangeArrowheads="1"/>
            </p:cNvSpPr>
            <p:nvPr userDrawn="1"/>
          </p:nvSpPr>
          <p:spPr bwMode="gray">
            <a:xfrm>
              <a:off x="-2159000" y="2068513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Indigo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82, 81, 153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1" name="Rectangle 111"/>
            <p:cNvSpPr>
              <a:spLocks noChangeArrowheads="1"/>
            </p:cNvSpPr>
            <p:nvPr userDrawn="1"/>
          </p:nvSpPr>
          <p:spPr bwMode="gray">
            <a:xfrm>
              <a:off x="-2449513" y="2527301"/>
              <a:ext cx="215900" cy="215900"/>
            </a:xfrm>
            <a:prstGeom prst="rect">
              <a:avLst/>
            </a:prstGeom>
            <a:solidFill>
              <a:srgbClr val="60A6DA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2" name="Rectangle 112"/>
            <p:cNvSpPr>
              <a:spLocks noChangeArrowheads="1"/>
            </p:cNvSpPr>
            <p:nvPr userDrawn="1"/>
          </p:nvSpPr>
          <p:spPr bwMode="gray">
            <a:xfrm>
              <a:off x="-2159000" y="25368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Sk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96, 166, 2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3" name="Rectangle 113"/>
            <p:cNvSpPr>
              <a:spLocks noChangeArrowheads="1"/>
            </p:cNvSpPr>
            <p:nvPr userDrawn="1"/>
          </p:nvSpPr>
          <p:spPr bwMode="gray">
            <a:xfrm>
              <a:off x="-2449513" y="762000"/>
              <a:ext cx="1692000" cy="165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90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200" b="1" smtClean="0">
                  <a:solidFill>
                    <a:srgbClr val="333333"/>
                  </a:solidFill>
                </a:rPr>
                <a:t>Colour Guidelines</a:t>
              </a:r>
              <a:endParaRPr lang="en-GB" altLang="en-US" sz="1200" b="1">
                <a:solidFill>
                  <a:srgbClr val="333333"/>
                </a:solidFill>
              </a:endParaRPr>
            </a:p>
          </p:txBody>
        </p:sp>
        <p:sp>
          <p:nvSpPr>
            <p:cNvPr id="54" name="Rectangle 107"/>
            <p:cNvSpPr>
              <a:spLocks noChangeArrowheads="1"/>
            </p:cNvSpPr>
            <p:nvPr/>
          </p:nvSpPr>
          <p:spPr bwMode="gray">
            <a:xfrm>
              <a:off x="-2449513" y="2962277"/>
              <a:ext cx="215900" cy="215900"/>
            </a:xfrm>
            <a:prstGeom prst="rect">
              <a:avLst/>
            </a:prstGeom>
            <a:solidFill>
              <a:srgbClr val="AB006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5" name="Rectangle 108"/>
            <p:cNvSpPr>
              <a:spLocks noChangeArrowheads="1"/>
            </p:cNvSpPr>
            <p:nvPr/>
          </p:nvSpPr>
          <p:spPr bwMode="gray">
            <a:xfrm>
              <a:off x="-2159000" y="29876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Fuchsia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71, 0, 102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6" name="Rectangle 109"/>
            <p:cNvSpPr>
              <a:spLocks noChangeArrowheads="1"/>
            </p:cNvSpPr>
            <p:nvPr/>
          </p:nvSpPr>
          <p:spPr bwMode="gray">
            <a:xfrm>
              <a:off x="-2449513" y="3449639"/>
              <a:ext cx="215900" cy="215900"/>
            </a:xfrm>
            <a:prstGeom prst="rect">
              <a:avLst/>
            </a:prstGeom>
            <a:solidFill>
              <a:srgbClr val="D0D93C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7" name="Rectangle 110"/>
            <p:cNvSpPr>
              <a:spLocks noChangeArrowheads="1"/>
            </p:cNvSpPr>
            <p:nvPr/>
          </p:nvSpPr>
          <p:spPr bwMode="gray">
            <a:xfrm>
              <a:off x="-2159000" y="3459164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m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08, 217, 6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8" name="Rectangle 111"/>
            <p:cNvSpPr>
              <a:spLocks noChangeArrowheads="1"/>
            </p:cNvSpPr>
            <p:nvPr/>
          </p:nvSpPr>
          <p:spPr bwMode="gray">
            <a:xfrm>
              <a:off x="-2449513" y="3917952"/>
              <a:ext cx="215900" cy="215900"/>
            </a:xfrm>
            <a:prstGeom prst="rect">
              <a:avLst/>
            </a:prstGeom>
            <a:solidFill>
              <a:srgbClr val="01964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9" name="Rectangle 112"/>
            <p:cNvSpPr>
              <a:spLocks noChangeArrowheads="1"/>
            </p:cNvSpPr>
            <p:nvPr/>
          </p:nvSpPr>
          <p:spPr bwMode="gray">
            <a:xfrm>
              <a:off x="-2159000" y="39274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eaf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2, 150, 8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0" name="Rectangle 109"/>
            <p:cNvSpPr>
              <a:spLocks noChangeArrowheads="1"/>
            </p:cNvSpPr>
            <p:nvPr/>
          </p:nvSpPr>
          <p:spPr bwMode="gray">
            <a:xfrm>
              <a:off x="-2449513" y="4405314"/>
              <a:ext cx="215900" cy="215900"/>
            </a:xfrm>
            <a:prstGeom prst="rect">
              <a:avLst/>
            </a:prstGeom>
            <a:solidFill>
              <a:srgbClr val="76767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1" name="Rectangle 110"/>
            <p:cNvSpPr>
              <a:spLocks noChangeArrowheads="1"/>
            </p:cNvSpPr>
            <p:nvPr/>
          </p:nvSpPr>
          <p:spPr bwMode="gray">
            <a:xfrm>
              <a:off x="-2159000" y="4414839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Mid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18, 118, 1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2" name="Rectangle 111"/>
            <p:cNvSpPr>
              <a:spLocks noChangeArrowheads="1"/>
            </p:cNvSpPr>
            <p:nvPr/>
          </p:nvSpPr>
          <p:spPr bwMode="gray">
            <a:xfrm>
              <a:off x="-2449513" y="4873627"/>
              <a:ext cx="215900" cy="215900"/>
            </a:xfrm>
            <a:prstGeom prst="rect">
              <a:avLst/>
            </a:prstGeom>
            <a:solidFill>
              <a:srgbClr val="333333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3" name="Rectangle 112"/>
            <p:cNvSpPr>
              <a:spLocks noChangeArrowheads="1"/>
            </p:cNvSpPr>
            <p:nvPr/>
          </p:nvSpPr>
          <p:spPr bwMode="gray">
            <a:xfrm>
              <a:off x="-2159000" y="4883152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Text Colour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1, 51, 5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</p:grpSp>
      <p:pic>
        <p:nvPicPr>
          <p:cNvPr id="35" name="Picture 34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466554" y="4402733"/>
            <a:ext cx="125761" cy="138908"/>
          </a:xfrm>
          <a:prstGeom prst="rect">
            <a:avLst/>
          </a:prstGeom>
        </p:spPr>
      </p:pic>
      <p:sp>
        <p:nvSpPr>
          <p:cNvPr id="37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684478" y="4381898"/>
            <a:ext cx="3963375" cy="216000"/>
          </a:xfrm>
        </p:spPr>
        <p:txBody>
          <a:bodyPr tIns="0" bIns="0"/>
          <a:lstStyle>
            <a:lvl1pPr marL="0" indent="0" algn="l">
              <a:lnSpc>
                <a:spcPts val="1350"/>
              </a:lnSpc>
              <a:buNone/>
              <a:defRPr sz="1350">
                <a:solidFill>
                  <a:srgbClr val="000000"/>
                </a:solidFill>
                <a:latin typeface="+mn-lt"/>
              </a:defRPr>
            </a:lvl1pPr>
            <a:lvl2pPr>
              <a:defRPr sz="2200">
                <a:solidFill>
                  <a:srgbClr val="000000"/>
                </a:solidFill>
              </a:defRPr>
            </a:lvl2pPr>
            <a:lvl3pPr>
              <a:defRPr sz="2200">
                <a:solidFill>
                  <a:srgbClr val="000000"/>
                </a:solidFill>
              </a:defRPr>
            </a:lvl3pPr>
            <a:lvl4pPr>
              <a:defRPr sz="2200">
                <a:solidFill>
                  <a:srgbClr val="000000"/>
                </a:solidFill>
              </a:defRPr>
            </a:lvl4pPr>
            <a:lvl5pPr>
              <a:defRPr sz="2200">
                <a:solidFill>
                  <a:srgbClr val="000000"/>
                </a:solidFill>
              </a:defRPr>
            </a:lvl5pPr>
          </a:lstStyle>
          <a:p>
            <a:pPr lvl="0"/>
            <a:r>
              <a:rPr lang="en-GB" noProof="0" dirty="0" smtClean="0"/>
              <a:t>Click to edit location and date</a:t>
            </a:r>
          </a:p>
        </p:txBody>
      </p:sp>
      <p:sp>
        <p:nvSpPr>
          <p:cNvPr id="38" name="Picture Placeholder 37"/>
          <p:cNvSpPr>
            <a:spLocks noGrp="1"/>
          </p:cNvSpPr>
          <p:nvPr>
            <p:ph type="pic" sz="quarter" idx="12"/>
          </p:nvPr>
        </p:nvSpPr>
        <p:spPr bwMode="gray">
          <a:xfrm>
            <a:off x="-2579" y="4"/>
            <a:ext cx="9908580" cy="6024879"/>
          </a:xfrm>
          <a:custGeom>
            <a:avLst/>
            <a:gdLst>
              <a:gd name="connsiteX0" fmla="*/ 0 w 12195175"/>
              <a:gd name="connsiteY0" fmla="*/ 0 h 6024879"/>
              <a:gd name="connsiteX1" fmla="*/ 12195175 w 12195175"/>
              <a:gd name="connsiteY1" fmla="*/ 0 h 6024879"/>
              <a:gd name="connsiteX2" fmla="*/ 12195175 w 12195175"/>
              <a:gd name="connsiteY2" fmla="*/ 6024879 h 6024879"/>
              <a:gd name="connsiteX3" fmla="*/ 0 w 12195175"/>
              <a:gd name="connsiteY3" fmla="*/ 6024879 h 6024879"/>
              <a:gd name="connsiteX4" fmla="*/ 0 w 12195175"/>
              <a:gd name="connsiteY4" fmla="*/ 4688798 h 6024879"/>
              <a:gd name="connsiteX5" fmla="*/ 3176 w 12195175"/>
              <a:gd name="connsiteY5" fmla="*/ 4688798 h 6024879"/>
              <a:gd name="connsiteX6" fmla="*/ 61412 w 12195175"/>
              <a:gd name="connsiteY6" fmla="*/ 4688798 h 6024879"/>
              <a:gd name="connsiteX7" fmla="*/ 530839 w 12195175"/>
              <a:gd name="connsiteY7" fmla="*/ 4688798 h 6024879"/>
              <a:gd name="connsiteX8" fmla="*/ 5811194 w 12195175"/>
              <a:gd name="connsiteY8" fmla="*/ 4688798 h 6024879"/>
              <a:gd name="connsiteX9" fmla="*/ 5912496 w 12195175"/>
              <a:gd name="connsiteY9" fmla="*/ 4587218 h 6024879"/>
              <a:gd name="connsiteX10" fmla="*/ 5912496 w 12195175"/>
              <a:gd name="connsiteY10" fmla="*/ 3918482 h 6024879"/>
              <a:gd name="connsiteX11" fmla="*/ 5912496 w 12195175"/>
              <a:gd name="connsiteY11" fmla="*/ 1744697 h 6024879"/>
              <a:gd name="connsiteX12" fmla="*/ 5811194 w 12195175"/>
              <a:gd name="connsiteY12" fmla="*/ 1643198 h 6024879"/>
              <a:gd name="connsiteX13" fmla="*/ 61412 w 12195175"/>
              <a:gd name="connsiteY13" fmla="*/ 1643198 h 6024879"/>
              <a:gd name="connsiteX14" fmla="*/ 3176 w 12195175"/>
              <a:gd name="connsiteY14" fmla="*/ 1643198 h 6024879"/>
              <a:gd name="connsiteX15" fmla="*/ 0 w 12195175"/>
              <a:gd name="connsiteY15" fmla="*/ 1643198 h 60248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2195175" h="6024879">
                <a:moveTo>
                  <a:pt x="0" y="0"/>
                </a:moveTo>
                <a:lnTo>
                  <a:pt x="12195175" y="0"/>
                </a:lnTo>
                <a:lnTo>
                  <a:pt x="12195175" y="6024879"/>
                </a:lnTo>
                <a:lnTo>
                  <a:pt x="0" y="6024879"/>
                </a:lnTo>
                <a:lnTo>
                  <a:pt x="0" y="4688798"/>
                </a:lnTo>
                <a:lnTo>
                  <a:pt x="3176" y="4688798"/>
                </a:lnTo>
                <a:lnTo>
                  <a:pt x="61412" y="4688798"/>
                </a:lnTo>
                <a:lnTo>
                  <a:pt x="530839" y="4688798"/>
                </a:lnTo>
                <a:cubicBezTo>
                  <a:pt x="5811194" y="4688798"/>
                  <a:pt x="5811194" y="4688798"/>
                  <a:pt x="5811194" y="4688798"/>
                </a:cubicBezTo>
                <a:cubicBezTo>
                  <a:pt x="5811194" y="4688798"/>
                  <a:pt x="5912496" y="4688798"/>
                  <a:pt x="5912496" y="4587218"/>
                </a:cubicBezTo>
                <a:cubicBezTo>
                  <a:pt x="5912496" y="3918482"/>
                  <a:pt x="5912496" y="3918482"/>
                  <a:pt x="5912496" y="3918482"/>
                </a:cubicBezTo>
                <a:cubicBezTo>
                  <a:pt x="5912496" y="1744697"/>
                  <a:pt x="5912496" y="1744697"/>
                  <a:pt x="5912496" y="1744697"/>
                </a:cubicBezTo>
                <a:cubicBezTo>
                  <a:pt x="5912496" y="1744697"/>
                  <a:pt x="5912496" y="1643198"/>
                  <a:pt x="5811194" y="1643198"/>
                </a:cubicBezTo>
                <a:lnTo>
                  <a:pt x="61412" y="1643198"/>
                </a:lnTo>
                <a:lnTo>
                  <a:pt x="3176" y="1643198"/>
                </a:lnTo>
                <a:lnTo>
                  <a:pt x="0" y="1643198"/>
                </a:lnTo>
                <a:close/>
              </a:path>
            </a:pathLst>
          </a:custGeom>
          <a:solidFill>
            <a:srgbClr val="E9E9E9">
              <a:alpha val="10000"/>
            </a:srgbClr>
          </a:solidFill>
        </p:spPr>
        <p:txBody>
          <a:bodyPr wrap="square" lIns="2880000" tIns="0" anchor="ctr" anchorCtr="0">
            <a:noAutofit/>
          </a:bodyPr>
          <a:lstStyle>
            <a:lvl1pPr algn="ctr">
              <a:defRPr sz="1400" b="0"/>
            </a:lvl1pPr>
          </a:lstStyle>
          <a:p>
            <a:r>
              <a:rPr lang="nl-NL" smtClean="0"/>
              <a:t>Klik op het pictogram als u een afbeelding wilt toevoege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52898481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1" orient="horz" pos="4135">
          <p15:clr>
            <a:srgbClr val="FBAE4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F Title Slide Confidential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8" name="Group 37"/>
          <p:cNvGrpSpPr/>
          <p:nvPr userDrawn="1"/>
        </p:nvGrpSpPr>
        <p:grpSpPr bwMode="gray">
          <a:xfrm>
            <a:off x="1" y="1643202"/>
            <a:ext cx="9213354" cy="3055937"/>
            <a:chOff x="409575" y="3144838"/>
            <a:chExt cx="11339513" cy="3055937"/>
          </a:xfrm>
        </p:grpSpPr>
        <p:sp>
          <p:nvSpPr>
            <p:cNvPr id="40" name="Freeform 5"/>
            <p:cNvSpPr>
              <a:spLocks/>
            </p:cNvSpPr>
            <p:nvPr/>
          </p:nvSpPr>
          <p:spPr bwMode="gray">
            <a:xfrm>
              <a:off x="409575" y="5521325"/>
              <a:ext cx="11339513" cy="679450"/>
            </a:xfrm>
            <a:custGeom>
              <a:avLst/>
              <a:gdLst>
                <a:gd name="T0" fmla="*/ 0 w 2680"/>
                <a:gd name="T1" fmla="*/ 0 h 160"/>
                <a:gd name="T2" fmla="*/ 0 w 2680"/>
                <a:gd name="T3" fmla="*/ 160 h 160"/>
                <a:gd name="T4" fmla="*/ 2656 w 2680"/>
                <a:gd name="T5" fmla="*/ 160 h 160"/>
                <a:gd name="T6" fmla="*/ 2680 w 2680"/>
                <a:gd name="T7" fmla="*/ 136 h 160"/>
                <a:gd name="T8" fmla="*/ 2680 w 2680"/>
                <a:gd name="T9" fmla="*/ 0 h 160"/>
                <a:gd name="T10" fmla="*/ 0 w 2680"/>
                <a:gd name="T11" fmla="*/ 0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80" h="160">
                  <a:moveTo>
                    <a:pt x="0" y="0"/>
                  </a:moveTo>
                  <a:cubicBezTo>
                    <a:pt x="0" y="160"/>
                    <a:pt x="0" y="160"/>
                    <a:pt x="0" y="160"/>
                  </a:cubicBezTo>
                  <a:cubicBezTo>
                    <a:pt x="2656" y="160"/>
                    <a:pt x="2656" y="160"/>
                    <a:pt x="2656" y="160"/>
                  </a:cubicBezTo>
                  <a:cubicBezTo>
                    <a:pt x="2656" y="160"/>
                    <a:pt x="2680" y="160"/>
                    <a:pt x="2680" y="136"/>
                  </a:cubicBezTo>
                  <a:cubicBezTo>
                    <a:pt x="2680" y="0"/>
                    <a:pt x="2680" y="0"/>
                    <a:pt x="2680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EAEAE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333333"/>
                </a:solidFill>
              </a:endParaRPr>
            </a:p>
          </p:txBody>
        </p:sp>
        <p:sp>
          <p:nvSpPr>
            <p:cNvPr id="41" name="Freeform 6"/>
            <p:cNvSpPr>
              <a:spLocks/>
            </p:cNvSpPr>
            <p:nvPr/>
          </p:nvSpPr>
          <p:spPr bwMode="gray">
            <a:xfrm>
              <a:off x="409575" y="3144838"/>
              <a:ext cx="11339513" cy="2376487"/>
            </a:xfrm>
            <a:custGeom>
              <a:avLst/>
              <a:gdLst>
                <a:gd name="T0" fmla="*/ 0 w 2680"/>
                <a:gd name="T1" fmla="*/ 0 h 560"/>
                <a:gd name="T2" fmla="*/ 0 w 2680"/>
                <a:gd name="T3" fmla="*/ 560 h 560"/>
                <a:gd name="T4" fmla="*/ 2680 w 2680"/>
                <a:gd name="T5" fmla="*/ 560 h 560"/>
                <a:gd name="T6" fmla="*/ 2680 w 2680"/>
                <a:gd name="T7" fmla="*/ 24 h 560"/>
                <a:gd name="T8" fmla="*/ 2656 w 2680"/>
                <a:gd name="T9" fmla="*/ 0 h 560"/>
                <a:gd name="T10" fmla="*/ 0 w 2680"/>
                <a:gd name="T11" fmla="*/ 0 h 5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80" h="560">
                  <a:moveTo>
                    <a:pt x="0" y="0"/>
                  </a:moveTo>
                  <a:cubicBezTo>
                    <a:pt x="0" y="560"/>
                    <a:pt x="0" y="560"/>
                    <a:pt x="0" y="560"/>
                  </a:cubicBezTo>
                  <a:cubicBezTo>
                    <a:pt x="2680" y="560"/>
                    <a:pt x="2680" y="560"/>
                    <a:pt x="2680" y="560"/>
                  </a:cubicBezTo>
                  <a:cubicBezTo>
                    <a:pt x="2680" y="24"/>
                    <a:pt x="2680" y="24"/>
                    <a:pt x="2680" y="24"/>
                  </a:cubicBezTo>
                  <a:cubicBezTo>
                    <a:pt x="2680" y="24"/>
                    <a:pt x="2680" y="0"/>
                    <a:pt x="2656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F62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333333"/>
                </a:solidFill>
              </a:endParaRPr>
            </a:p>
          </p:txBody>
        </p:sp>
      </p:grpSp>
      <p:sp>
        <p:nvSpPr>
          <p:cNvPr id="8" name="Rectangle 7"/>
          <p:cNvSpPr/>
          <p:nvPr userDrawn="1"/>
        </p:nvSpPr>
        <p:spPr bwMode="gray">
          <a:xfrm>
            <a:off x="2" y="6024880"/>
            <a:ext cx="9904532" cy="8331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2400">
              <a:solidFill>
                <a:prstClr val="white"/>
              </a:solidFill>
            </a:endParaRPr>
          </a:p>
        </p:txBody>
      </p:sp>
      <p:sp>
        <p:nvSpPr>
          <p:cNvPr id="25" name="Title 1"/>
          <p:cNvSpPr>
            <a:spLocks noGrp="1"/>
          </p:cNvSpPr>
          <p:nvPr>
            <p:ph type="ctrTitle"/>
          </p:nvPr>
        </p:nvSpPr>
        <p:spPr bwMode="gray">
          <a:xfrm>
            <a:off x="684477" y="2116803"/>
            <a:ext cx="8379482" cy="1227573"/>
          </a:xfrm>
        </p:spPr>
        <p:txBody>
          <a:bodyPr anchor="ctr" anchorCtr="0">
            <a:noAutofit/>
          </a:bodyPr>
          <a:lstStyle>
            <a:lvl1pPr algn="l">
              <a:lnSpc>
                <a:spcPts val="4600"/>
              </a:lnSpc>
              <a:defRPr sz="4600">
                <a:solidFill>
                  <a:schemeClr val="bg1"/>
                </a:solidFill>
              </a:defRPr>
            </a:lvl1pPr>
          </a:lstStyle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  <p:sp>
        <p:nvSpPr>
          <p:cNvPr id="26" name="Subtitle 2"/>
          <p:cNvSpPr>
            <a:spLocks noGrp="1"/>
          </p:cNvSpPr>
          <p:nvPr>
            <p:ph type="subTitle" idx="1"/>
          </p:nvPr>
        </p:nvSpPr>
        <p:spPr bwMode="gray">
          <a:xfrm>
            <a:off x="684477" y="4240704"/>
            <a:ext cx="5754721" cy="306798"/>
          </a:xfrm>
        </p:spPr>
        <p:txBody>
          <a:bodyPr anchor="ctr" anchorCtr="0">
            <a:noAutofit/>
          </a:bodyPr>
          <a:lstStyle>
            <a:lvl1pPr marL="0" indent="0" algn="l">
              <a:lnSpc>
                <a:spcPts val="2200"/>
              </a:lnSpc>
              <a:buNone/>
              <a:defRPr sz="2000" b="0" i="0"/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nl-NL" noProof="0" smtClean="0"/>
              <a:t>Klik om de ondertitelstijl van het model te bewerken</a:t>
            </a:r>
            <a:endParaRPr lang="en-GB" noProof="0" dirty="0"/>
          </a:p>
        </p:txBody>
      </p:sp>
      <p:sp>
        <p:nvSpPr>
          <p:cNvPr id="27" name="Text Placeholder 6"/>
          <p:cNvSpPr>
            <a:spLocks noGrp="1"/>
          </p:cNvSpPr>
          <p:nvPr>
            <p:ph type="body" sz="quarter" idx="11"/>
          </p:nvPr>
        </p:nvSpPr>
        <p:spPr bwMode="gray">
          <a:xfrm>
            <a:off x="684451" y="3556803"/>
            <a:ext cx="8373361" cy="385233"/>
          </a:xfrm>
        </p:spPr>
        <p:txBody>
          <a:bodyPr>
            <a:noAutofit/>
          </a:bodyPr>
          <a:lstStyle>
            <a:lvl1pPr>
              <a:lnSpc>
                <a:spcPts val="2200"/>
              </a:lnSpc>
              <a:defRPr sz="220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noProof="0" smtClean="0"/>
              <a:t>Klik om de modelstijlen te bewerken</a:t>
            </a:r>
          </a:p>
        </p:txBody>
      </p:sp>
      <p:pic>
        <p:nvPicPr>
          <p:cNvPr id="30" name="Picture 29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28199" y="6203775"/>
            <a:ext cx="1233535" cy="378000"/>
          </a:xfrm>
          <a:prstGeom prst="rect">
            <a:avLst/>
          </a:prstGeom>
        </p:spPr>
      </p:pic>
      <p:pic>
        <p:nvPicPr>
          <p:cNvPr id="35" name="Picture Placeholder 36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/>
        </p:blipFill>
        <p:spPr bwMode="gray">
          <a:xfrm>
            <a:off x="681039" y="6291860"/>
            <a:ext cx="1778050" cy="287825"/>
          </a:xfrm>
          <a:prstGeom prst="rect">
            <a:avLst/>
          </a:prstGeom>
        </p:spPr>
      </p:pic>
      <p:grpSp>
        <p:nvGrpSpPr>
          <p:cNvPr id="48" name="Group 47"/>
          <p:cNvGrpSpPr/>
          <p:nvPr userDrawn="1"/>
        </p:nvGrpSpPr>
        <p:grpSpPr bwMode="gray">
          <a:xfrm>
            <a:off x="-1653580" y="0"/>
            <a:ext cx="1521000" cy="4689612"/>
            <a:chOff x="-2581275" y="595116"/>
            <a:chExt cx="1872000" cy="4689612"/>
          </a:xfrm>
        </p:grpSpPr>
        <p:sp>
          <p:nvSpPr>
            <p:cNvPr id="49" name="Rectangle 104"/>
            <p:cNvSpPr>
              <a:spLocks noChangeArrowheads="1"/>
            </p:cNvSpPr>
            <p:nvPr/>
          </p:nvSpPr>
          <p:spPr bwMode="gray">
            <a:xfrm>
              <a:off x="-2581275" y="4276728"/>
              <a:ext cx="1872000" cy="100800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0" name="Rectangle 104"/>
            <p:cNvSpPr>
              <a:spLocks noChangeArrowheads="1"/>
            </p:cNvSpPr>
            <p:nvPr userDrawn="1"/>
          </p:nvSpPr>
          <p:spPr bwMode="gray">
            <a:xfrm>
              <a:off x="-2581275" y="595116"/>
              <a:ext cx="1872000" cy="3672087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1" name="Rectangle 105"/>
            <p:cNvSpPr>
              <a:spLocks noChangeArrowheads="1"/>
            </p:cNvSpPr>
            <p:nvPr userDrawn="1"/>
          </p:nvSpPr>
          <p:spPr bwMode="gray">
            <a:xfrm>
              <a:off x="-2449513" y="1136650"/>
              <a:ext cx="215900" cy="215900"/>
            </a:xfrm>
            <a:prstGeom prst="rect">
              <a:avLst/>
            </a:prstGeom>
            <a:solidFill>
              <a:srgbClr val="FF6200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2" name="Rectangle 106"/>
            <p:cNvSpPr>
              <a:spLocks noChangeArrowheads="1"/>
            </p:cNvSpPr>
            <p:nvPr userDrawn="1"/>
          </p:nvSpPr>
          <p:spPr bwMode="gray">
            <a:xfrm>
              <a:off x="-2159000" y="1146175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Orang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55, 98, 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3" name="Rectangle 107"/>
            <p:cNvSpPr>
              <a:spLocks noChangeArrowheads="1"/>
            </p:cNvSpPr>
            <p:nvPr userDrawn="1"/>
          </p:nvSpPr>
          <p:spPr bwMode="gray">
            <a:xfrm>
              <a:off x="-2449513" y="1571626"/>
              <a:ext cx="215900" cy="215900"/>
            </a:xfrm>
            <a:prstGeom prst="rect">
              <a:avLst/>
            </a:prstGeom>
            <a:solidFill>
              <a:srgbClr val="A8A8A8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4" name="Rectangle 108"/>
            <p:cNvSpPr>
              <a:spLocks noChangeArrowheads="1"/>
            </p:cNvSpPr>
            <p:nvPr userDrawn="1"/>
          </p:nvSpPr>
          <p:spPr bwMode="gray">
            <a:xfrm>
              <a:off x="-2159000" y="15970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ght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68, 168, 16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5" name="Rectangle 109"/>
            <p:cNvSpPr>
              <a:spLocks noChangeArrowheads="1"/>
            </p:cNvSpPr>
            <p:nvPr userDrawn="1"/>
          </p:nvSpPr>
          <p:spPr bwMode="gray">
            <a:xfrm>
              <a:off x="-2449513" y="2058988"/>
              <a:ext cx="215900" cy="215900"/>
            </a:xfrm>
            <a:prstGeom prst="rect">
              <a:avLst/>
            </a:prstGeom>
            <a:solidFill>
              <a:srgbClr val="52519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6" name="Rectangle 110"/>
            <p:cNvSpPr>
              <a:spLocks noChangeArrowheads="1"/>
            </p:cNvSpPr>
            <p:nvPr userDrawn="1"/>
          </p:nvSpPr>
          <p:spPr bwMode="gray">
            <a:xfrm>
              <a:off x="-2159000" y="2068513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Indigo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82, 81, 153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7" name="Rectangle 111"/>
            <p:cNvSpPr>
              <a:spLocks noChangeArrowheads="1"/>
            </p:cNvSpPr>
            <p:nvPr userDrawn="1"/>
          </p:nvSpPr>
          <p:spPr bwMode="gray">
            <a:xfrm>
              <a:off x="-2449513" y="2527301"/>
              <a:ext cx="215900" cy="215900"/>
            </a:xfrm>
            <a:prstGeom prst="rect">
              <a:avLst/>
            </a:prstGeom>
            <a:solidFill>
              <a:srgbClr val="60A6DA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8" name="Rectangle 112"/>
            <p:cNvSpPr>
              <a:spLocks noChangeArrowheads="1"/>
            </p:cNvSpPr>
            <p:nvPr userDrawn="1"/>
          </p:nvSpPr>
          <p:spPr bwMode="gray">
            <a:xfrm>
              <a:off x="-2159000" y="25368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Sk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96, 166, 2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9" name="Rectangle 113"/>
            <p:cNvSpPr>
              <a:spLocks noChangeArrowheads="1"/>
            </p:cNvSpPr>
            <p:nvPr userDrawn="1"/>
          </p:nvSpPr>
          <p:spPr bwMode="gray">
            <a:xfrm>
              <a:off x="-2449513" y="762000"/>
              <a:ext cx="1692000" cy="165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90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200" b="1" smtClean="0">
                  <a:solidFill>
                    <a:srgbClr val="333333"/>
                  </a:solidFill>
                </a:rPr>
                <a:t>Colour Guidelines</a:t>
              </a:r>
              <a:endParaRPr lang="en-GB" altLang="en-US" sz="1200" b="1">
                <a:solidFill>
                  <a:srgbClr val="333333"/>
                </a:solidFill>
              </a:endParaRPr>
            </a:p>
          </p:txBody>
        </p:sp>
        <p:sp>
          <p:nvSpPr>
            <p:cNvPr id="60" name="Rectangle 107"/>
            <p:cNvSpPr>
              <a:spLocks noChangeArrowheads="1"/>
            </p:cNvSpPr>
            <p:nvPr/>
          </p:nvSpPr>
          <p:spPr bwMode="gray">
            <a:xfrm>
              <a:off x="-2449513" y="2962277"/>
              <a:ext cx="215900" cy="215900"/>
            </a:xfrm>
            <a:prstGeom prst="rect">
              <a:avLst/>
            </a:prstGeom>
            <a:solidFill>
              <a:srgbClr val="AB006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1" name="Rectangle 108"/>
            <p:cNvSpPr>
              <a:spLocks noChangeArrowheads="1"/>
            </p:cNvSpPr>
            <p:nvPr/>
          </p:nvSpPr>
          <p:spPr bwMode="gray">
            <a:xfrm>
              <a:off x="-2159000" y="29876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Fuchsia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71, 0, 102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2" name="Rectangle 109"/>
            <p:cNvSpPr>
              <a:spLocks noChangeArrowheads="1"/>
            </p:cNvSpPr>
            <p:nvPr/>
          </p:nvSpPr>
          <p:spPr bwMode="gray">
            <a:xfrm>
              <a:off x="-2449513" y="3449639"/>
              <a:ext cx="215900" cy="215900"/>
            </a:xfrm>
            <a:prstGeom prst="rect">
              <a:avLst/>
            </a:prstGeom>
            <a:solidFill>
              <a:srgbClr val="D0D93C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3" name="Rectangle 110"/>
            <p:cNvSpPr>
              <a:spLocks noChangeArrowheads="1"/>
            </p:cNvSpPr>
            <p:nvPr/>
          </p:nvSpPr>
          <p:spPr bwMode="gray">
            <a:xfrm>
              <a:off x="-2159000" y="3459164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m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08, 217, 6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4" name="Rectangle 111"/>
            <p:cNvSpPr>
              <a:spLocks noChangeArrowheads="1"/>
            </p:cNvSpPr>
            <p:nvPr/>
          </p:nvSpPr>
          <p:spPr bwMode="gray">
            <a:xfrm>
              <a:off x="-2449513" y="3917952"/>
              <a:ext cx="215900" cy="215900"/>
            </a:xfrm>
            <a:prstGeom prst="rect">
              <a:avLst/>
            </a:prstGeom>
            <a:solidFill>
              <a:srgbClr val="01964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5" name="Rectangle 112"/>
            <p:cNvSpPr>
              <a:spLocks noChangeArrowheads="1"/>
            </p:cNvSpPr>
            <p:nvPr/>
          </p:nvSpPr>
          <p:spPr bwMode="gray">
            <a:xfrm>
              <a:off x="-2159000" y="39274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eaf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2, 150, 8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6" name="Rectangle 109"/>
            <p:cNvSpPr>
              <a:spLocks noChangeArrowheads="1"/>
            </p:cNvSpPr>
            <p:nvPr/>
          </p:nvSpPr>
          <p:spPr bwMode="gray">
            <a:xfrm>
              <a:off x="-2449513" y="4405314"/>
              <a:ext cx="215900" cy="215900"/>
            </a:xfrm>
            <a:prstGeom prst="rect">
              <a:avLst/>
            </a:prstGeom>
            <a:solidFill>
              <a:srgbClr val="76767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7" name="Rectangle 110"/>
            <p:cNvSpPr>
              <a:spLocks noChangeArrowheads="1"/>
            </p:cNvSpPr>
            <p:nvPr/>
          </p:nvSpPr>
          <p:spPr bwMode="gray">
            <a:xfrm>
              <a:off x="-2159000" y="4414839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Mid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18, 118, 1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8" name="Rectangle 111"/>
            <p:cNvSpPr>
              <a:spLocks noChangeArrowheads="1"/>
            </p:cNvSpPr>
            <p:nvPr/>
          </p:nvSpPr>
          <p:spPr bwMode="gray">
            <a:xfrm>
              <a:off x="-2449513" y="4873627"/>
              <a:ext cx="215900" cy="215900"/>
            </a:xfrm>
            <a:prstGeom prst="rect">
              <a:avLst/>
            </a:prstGeom>
            <a:solidFill>
              <a:srgbClr val="333333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9" name="Rectangle 112"/>
            <p:cNvSpPr>
              <a:spLocks noChangeArrowheads="1"/>
            </p:cNvSpPr>
            <p:nvPr/>
          </p:nvSpPr>
          <p:spPr bwMode="gray">
            <a:xfrm>
              <a:off x="-2159000" y="4883152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Text Colour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1, 51, 5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</p:grpSp>
      <p:pic>
        <p:nvPicPr>
          <p:cNvPr id="37" name="Picture 36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466554" y="4402733"/>
            <a:ext cx="125761" cy="138908"/>
          </a:xfrm>
          <a:prstGeom prst="rect">
            <a:avLst/>
          </a:prstGeom>
        </p:spPr>
      </p:pic>
      <p:sp>
        <p:nvSpPr>
          <p:cNvPr id="39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6636209" y="4291504"/>
            <a:ext cx="2427750" cy="275612"/>
          </a:xfrm>
        </p:spPr>
        <p:txBody>
          <a:bodyPr tIns="0" bIns="0"/>
          <a:lstStyle>
            <a:lvl1pPr marL="0" indent="0" algn="r">
              <a:lnSpc>
                <a:spcPct val="100000"/>
              </a:lnSpc>
              <a:buNone/>
              <a:defRPr sz="1500">
                <a:solidFill>
                  <a:srgbClr val="000000"/>
                </a:solidFill>
                <a:latin typeface="+mn-lt"/>
              </a:defRPr>
            </a:lvl1pPr>
            <a:lvl2pPr>
              <a:defRPr sz="2200">
                <a:solidFill>
                  <a:srgbClr val="000000"/>
                </a:solidFill>
              </a:defRPr>
            </a:lvl2pPr>
            <a:lvl3pPr>
              <a:defRPr sz="2200">
                <a:solidFill>
                  <a:srgbClr val="000000"/>
                </a:solidFill>
              </a:defRPr>
            </a:lvl3pPr>
            <a:lvl4pPr>
              <a:defRPr sz="2200">
                <a:solidFill>
                  <a:srgbClr val="000000"/>
                </a:solidFill>
              </a:defRPr>
            </a:lvl4pPr>
            <a:lvl5pPr>
              <a:defRPr sz="2200">
                <a:solidFill>
                  <a:srgbClr val="000000"/>
                </a:solidFill>
              </a:defRPr>
            </a:lvl5pPr>
          </a:lstStyle>
          <a:p>
            <a:pPr lvl="0"/>
            <a:r>
              <a:rPr lang="en-GB" noProof="0" dirty="0" smtClean="0"/>
              <a:t>Click to edit location and date</a:t>
            </a:r>
          </a:p>
        </p:txBody>
      </p:sp>
      <p:grpSp>
        <p:nvGrpSpPr>
          <p:cNvPr id="42" name="Group 41"/>
          <p:cNvGrpSpPr/>
          <p:nvPr userDrawn="1"/>
        </p:nvGrpSpPr>
        <p:grpSpPr>
          <a:xfrm>
            <a:off x="8733700" y="-133099"/>
            <a:ext cx="1170834" cy="1565166"/>
            <a:chOff x="5364088" y="4720073"/>
            <a:chExt cx="1441027" cy="1565166"/>
          </a:xfrm>
        </p:grpSpPr>
        <p:sp>
          <p:nvSpPr>
            <p:cNvPr id="43" name="Freeform 5"/>
            <p:cNvSpPr>
              <a:spLocks/>
            </p:cNvSpPr>
            <p:nvPr/>
          </p:nvSpPr>
          <p:spPr bwMode="gray">
            <a:xfrm>
              <a:off x="5364088" y="4844212"/>
              <a:ext cx="1441027" cy="1441027"/>
            </a:xfrm>
            <a:custGeom>
              <a:avLst/>
              <a:gdLst>
                <a:gd name="T0" fmla="*/ 0 w 810"/>
                <a:gd name="T1" fmla="*/ 0 h 810"/>
                <a:gd name="T2" fmla="*/ 810 w 810"/>
                <a:gd name="T3" fmla="*/ 810 h 810"/>
                <a:gd name="T4" fmla="*/ 810 w 810"/>
                <a:gd name="T5" fmla="*/ 536 h 810"/>
                <a:gd name="T6" fmla="*/ 274 w 810"/>
                <a:gd name="T7" fmla="*/ 0 h 810"/>
                <a:gd name="T8" fmla="*/ 0 w 810"/>
                <a:gd name="T9" fmla="*/ 0 h 8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10" h="810">
                  <a:moveTo>
                    <a:pt x="0" y="0"/>
                  </a:moveTo>
                  <a:lnTo>
                    <a:pt x="810" y="810"/>
                  </a:lnTo>
                  <a:lnTo>
                    <a:pt x="810" y="536"/>
                  </a:lnTo>
                  <a:lnTo>
                    <a:pt x="274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17A7DC"/>
            </a:solidFill>
            <a:ln w="3175">
              <a:solidFill>
                <a:srgbClr val="17A7DC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>
                <a:solidFill>
                  <a:srgbClr val="333333"/>
                </a:solidFill>
              </a:endParaRPr>
            </a:p>
          </p:txBody>
        </p:sp>
        <p:sp>
          <p:nvSpPr>
            <p:cNvPr id="44" name="Title 14"/>
            <p:cNvSpPr txBox="1">
              <a:spLocks/>
            </p:cNvSpPr>
            <p:nvPr userDrawn="1"/>
          </p:nvSpPr>
          <p:spPr bwMode="gray">
            <a:xfrm rot="2700000">
              <a:off x="5481455" y="5320862"/>
              <a:ext cx="1447800" cy="246221"/>
            </a:xfrm>
            <a:prstGeom prst="rect">
              <a:avLst/>
            </a:prstGeom>
          </p:spPr>
          <p:txBody>
            <a:bodyPr vert="horz" wrap="none" lIns="0" tIns="0" rIns="0" bIns="0" rtlCol="0" anchor="ctr" anchorCtr="0">
              <a:noAutofit/>
            </a:bodyPr>
            <a:lstStyle>
              <a:lvl1pPr algn="l" defTabSz="914400" rtl="0" eaLnBrk="1" latinLnBrk="0" hangingPunct="1">
                <a:lnSpc>
                  <a:spcPts val="4600"/>
                </a:lnSpc>
                <a:spcBef>
                  <a:spcPct val="0"/>
                </a:spcBef>
                <a:buNone/>
                <a:defRPr sz="4400" b="1" kern="1200" baseline="0">
                  <a:solidFill>
                    <a:schemeClr val="bg1"/>
                  </a:solidFill>
                  <a:latin typeface="+mj-lt"/>
                  <a:ea typeface="+mj-ea"/>
                  <a:cs typeface="Arial" panose="020B0604020202020204" pitchFamily="34" charset="0"/>
                </a:defRPr>
              </a:lvl1pPr>
            </a:lstStyle>
            <a:p>
              <a:pPr algn="ctr">
                <a:lnSpc>
                  <a:spcPct val="100000"/>
                </a:lnSpc>
              </a:pPr>
              <a:r>
                <a:rPr lang="en-US" sz="1600" smtClean="0">
                  <a:solidFill>
                    <a:prstClr val="white"/>
                  </a:solidFill>
                </a:rPr>
                <a:t>Confidential</a:t>
              </a:r>
              <a:endParaRPr lang="en-GB" sz="1600" dirty="0">
                <a:solidFill>
                  <a:prstClr val="white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881924562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1" orient="horz" pos="4135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Content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2"/>
          <p:cNvSpPr>
            <a:spLocks noGrp="1"/>
          </p:cNvSpPr>
          <p:nvPr>
            <p:ph idx="1"/>
          </p:nvPr>
        </p:nvSpPr>
        <p:spPr bwMode="gray">
          <a:xfrm>
            <a:off x="687031" y="1278387"/>
            <a:ext cx="8522455" cy="492239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‹#›</a:t>
            </a:fld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00268622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F Title Slide Alt Confidenti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9" name="Group 78"/>
          <p:cNvGrpSpPr>
            <a:grpSpLocks noChangeAspect="1"/>
          </p:cNvGrpSpPr>
          <p:nvPr userDrawn="1"/>
        </p:nvGrpSpPr>
        <p:grpSpPr bwMode="gray">
          <a:xfrm>
            <a:off x="0" y="1643199"/>
            <a:ext cx="4801323" cy="3045600"/>
            <a:chOff x="3465513" y="2070100"/>
            <a:chExt cx="5260975" cy="2711450"/>
          </a:xfrm>
        </p:grpSpPr>
        <p:sp>
          <p:nvSpPr>
            <p:cNvPr id="80" name="Freeform 5"/>
            <p:cNvSpPr>
              <a:spLocks/>
            </p:cNvSpPr>
            <p:nvPr userDrawn="1"/>
          </p:nvSpPr>
          <p:spPr bwMode="gray">
            <a:xfrm>
              <a:off x="3465513" y="4095750"/>
              <a:ext cx="5260975" cy="685800"/>
            </a:xfrm>
            <a:custGeom>
              <a:avLst/>
              <a:gdLst>
                <a:gd name="T0" fmla="*/ 0 w 1400"/>
                <a:gd name="T1" fmla="*/ 0 h 182"/>
                <a:gd name="T2" fmla="*/ 0 w 1400"/>
                <a:gd name="T3" fmla="*/ 182 h 182"/>
                <a:gd name="T4" fmla="*/ 1376 w 1400"/>
                <a:gd name="T5" fmla="*/ 182 h 182"/>
                <a:gd name="T6" fmla="*/ 1400 w 1400"/>
                <a:gd name="T7" fmla="*/ 158 h 182"/>
                <a:gd name="T8" fmla="*/ 1400 w 1400"/>
                <a:gd name="T9" fmla="*/ 0 h 182"/>
                <a:gd name="T10" fmla="*/ 0 w 1400"/>
                <a:gd name="T11" fmla="*/ 0 h 1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400" h="182">
                  <a:moveTo>
                    <a:pt x="0" y="0"/>
                  </a:moveTo>
                  <a:cubicBezTo>
                    <a:pt x="0" y="182"/>
                    <a:pt x="0" y="182"/>
                    <a:pt x="0" y="182"/>
                  </a:cubicBezTo>
                  <a:cubicBezTo>
                    <a:pt x="1376" y="182"/>
                    <a:pt x="1376" y="182"/>
                    <a:pt x="1376" y="182"/>
                  </a:cubicBezTo>
                  <a:cubicBezTo>
                    <a:pt x="1376" y="182"/>
                    <a:pt x="1400" y="182"/>
                    <a:pt x="1400" y="158"/>
                  </a:cubicBezTo>
                  <a:cubicBezTo>
                    <a:pt x="1400" y="0"/>
                    <a:pt x="1400" y="0"/>
                    <a:pt x="1400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EAEAEA"/>
            </a:solidFill>
            <a:ln w="9525">
              <a:solidFill>
                <a:srgbClr val="EAEAEA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333333"/>
                </a:solidFill>
              </a:endParaRPr>
            </a:p>
          </p:txBody>
        </p:sp>
        <p:sp>
          <p:nvSpPr>
            <p:cNvPr id="81" name="Freeform 80"/>
            <p:cNvSpPr>
              <a:spLocks/>
            </p:cNvSpPr>
            <p:nvPr userDrawn="1"/>
          </p:nvSpPr>
          <p:spPr bwMode="gray">
            <a:xfrm>
              <a:off x="3465513" y="2070100"/>
              <a:ext cx="5260975" cy="2025650"/>
            </a:xfrm>
            <a:custGeom>
              <a:avLst/>
              <a:gdLst>
                <a:gd name="T0" fmla="*/ 0 w 1400"/>
                <a:gd name="T1" fmla="*/ 0 h 538"/>
                <a:gd name="T2" fmla="*/ 0 w 1400"/>
                <a:gd name="T3" fmla="*/ 538 h 538"/>
                <a:gd name="T4" fmla="*/ 1400 w 1400"/>
                <a:gd name="T5" fmla="*/ 538 h 538"/>
                <a:gd name="T6" fmla="*/ 1400 w 1400"/>
                <a:gd name="T7" fmla="*/ 24 h 538"/>
                <a:gd name="T8" fmla="*/ 1376 w 1400"/>
                <a:gd name="T9" fmla="*/ 0 h 538"/>
                <a:gd name="T10" fmla="*/ 0 w 1400"/>
                <a:gd name="T11" fmla="*/ 0 h 5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400" h="538">
                  <a:moveTo>
                    <a:pt x="0" y="0"/>
                  </a:moveTo>
                  <a:cubicBezTo>
                    <a:pt x="0" y="538"/>
                    <a:pt x="0" y="538"/>
                    <a:pt x="0" y="538"/>
                  </a:cubicBezTo>
                  <a:cubicBezTo>
                    <a:pt x="1400" y="538"/>
                    <a:pt x="1400" y="538"/>
                    <a:pt x="1400" y="538"/>
                  </a:cubicBezTo>
                  <a:cubicBezTo>
                    <a:pt x="1400" y="24"/>
                    <a:pt x="1400" y="24"/>
                    <a:pt x="1400" y="24"/>
                  </a:cubicBezTo>
                  <a:cubicBezTo>
                    <a:pt x="1400" y="24"/>
                    <a:pt x="1400" y="0"/>
                    <a:pt x="1376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F6200"/>
            </a:solidFill>
            <a:ln w="9525">
              <a:solidFill>
                <a:srgbClr val="FF6200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333333"/>
                </a:solidFill>
              </a:endParaRPr>
            </a:p>
          </p:txBody>
        </p:sp>
      </p:grpSp>
      <p:sp>
        <p:nvSpPr>
          <p:cNvPr id="9" name="Title 1"/>
          <p:cNvSpPr>
            <a:spLocks noGrp="1"/>
          </p:cNvSpPr>
          <p:nvPr>
            <p:ph type="ctrTitle"/>
          </p:nvPr>
        </p:nvSpPr>
        <p:spPr bwMode="gray">
          <a:xfrm>
            <a:off x="684479" y="2012286"/>
            <a:ext cx="3963347" cy="1461600"/>
          </a:xfrm>
        </p:spPr>
        <p:txBody>
          <a:bodyPr anchor="ctr" anchorCtr="0">
            <a:noAutofit/>
          </a:bodyPr>
          <a:lstStyle>
            <a:lvl1pPr algn="l">
              <a:lnSpc>
                <a:spcPts val="3800"/>
              </a:lnSpc>
              <a:defRPr sz="3800">
                <a:solidFill>
                  <a:schemeClr val="bg1"/>
                </a:solidFill>
              </a:defRPr>
            </a:lvl1pPr>
          </a:lstStyle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  <p:sp>
        <p:nvSpPr>
          <p:cNvPr id="10" name="Subtitle 2"/>
          <p:cNvSpPr>
            <a:spLocks noGrp="1"/>
          </p:cNvSpPr>
          <p:nvPr>
            <p:ph type="subTitle" idx="1"/>
          </p:nvPr>
        </p:nvSpPr>
        <p:spPr bwMode="gray">
          <a:xfrm>
            <a:off x="684479" y="4031478"/>
            <a:ext cx="3963347" cy="306798"/>
          </a:xfrm>
        </p:spPr>
        <p:txBody>
          <a:bodyPr anchor="ctr" anchorCtr="0">
            <a:noAutofit/>
          </a:bodyPr>
          <a:lstStyle>
            <a:lvl1pPr marL="0" indent="0" algn="l">
              <a:lnSpc>
                <a:spcPts val="2200"/>
              </a:lnSpc>
              <a:buNone/>
              <a:defRPr sz="1700" b="0" i="0"/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nl-NL" noProof="0" smtClean="0"/>
              <a:t>Klik om de ondertitelstijl van het model te bewerken</a:t>
            </a:r>
            <a:endParaRPr lang="en-GB" noProof="0" dirty="0"/>
          </a:p>
        </p:txBody>
      </p:sp>
      <p:sp>
        <p:nvSpPr>
          <p:cNvPr id="11" name="Text Placeholder 6"/>
          <p:cNvSpPr>
            <a:spLocks noGrp="1"/>
          </p:cNvSpPr>
          <p:nvPr>
            <p:ph type="body" sz="quarter" idx="11"/>
          </p:nvPr>
        </p:nvSpPr>
        <p:spPr bwMode="gray">
          <a:xfrm>
            <a:off x="684479" y="3603486"/>
            <a:ext cx="3963347" cy="290712"/>
          </a:xfrm>
        </p:spPr>
        <p:txBody>
          <a:bodyPr bIns="0">
            <a:noAutofit/>
          </a:bodyPr>
          <a:lstStyle>
            <a:lvl1pPr algn="l">
              <a:lnSpc>
                <a:spcPts val="1700"/>
              </a:lnSpc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noProof="0" smtClean="0"/>
              <a:t>Klik om de modelstijlen te bewerken</a:t>
            </a:r>
          </a:p>
        </p:txBody>
      </p:sp>
      <p:sp>
        <p:nvSpPr>
          <p:cNvPr id="12" name="Rectangle 11"/>
          <p:cNvSpPr/>
          <p:nvPr userDrawn="1"/>
        </p:nvSpPr>
        <p:spPr bwMode="gray">
          <a:xfrm>
            <a:off x="2" y="6024880"/>
            <a:ext cx="9904532" cy="8331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2400">
              <a:solidFill>
                <a:prstClr val="white"/>
              </a:solidFill>
            </a:endParaRPr>
          </a:p>
        </p:txBody>
      </p:sp>
      <p:pic>
        <p:nvPicPr>
          <p:cNvPr id="18" name="Picture 1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28199" y="6203775"/>
            <a:ext cx="1233535" cy="378000"/>
          </a:xfrm>
          <a:prstGeom prst="rect">
            <a:avLst/>
          </a:prstGeom>
        </p:spPr>
      </p:pic>
      <p:pic>
        <p:nvPicPr>
          <p:cNvPr id="30" name="Picture Placeholder 36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/>
        </p:blipFill>
        <p:spPr bwMode="gray">
          <a:xfrm>
            <a:off x="681039" y="6291860"/>
            <a:ext cx="1778050" cy="287825"/>
          </a:xfrm>
          <a:prstGeom prst="rect">
            <a:avLst/>
          </a:prstGeom>
        </p:spPr>
      </p:pic>
      <p:grpSp>
        <p:nvGrpSpPr>
          <p:cNvPr id="48" name="Group 47"/>
          <p:cNvGrpSpPr/>
          <p:nvPr userDrawn="1"/>
        </p:nvGrpSpPr>
        <p:grpSpPr bwMode="gray">
          <a:xfrm>
            <a:off x="-1653580" y="0"/>
            <a:ext cx="1521000" cy="4689612"/>
            <a:chOff x="-2581275" y="595116"/>
            <a:chExt cx="1872000" cy="4689612"/>
          </a:xfrm>
        </p:grpSpPr>
        <p:sp>
          <p:nvSpPr>
            <p:cNvPr id="49" name="Rectangle 104"/>
            <p:cNvSpPr>
              <a:spLocks noChangeArrowheads="1"/>
            </p:cNvSpPr>
            <p:nvPr/>
          </p:nvSpPr>
          <p:spPr bwMode="gray">
            <a:xfrm>
              <a:off x="-2581275" y="4276728"/>
              <a:ext cx="1872000" cy="100800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0" name="Rectangle 104"/>
            <p:cNvSpPr>
              <a:spLocks noChangeArrowheads="1"/>
            </p:cNvSpPr>
            <p:nvPr userDrawn="1"/>
          </p:nvSpPr>
          <p:spPr bwMode="gray">
            <a:xfrm>
              <a:off x="-2581275" y="595116"/>
              <a:ext cx="1872000" cy="3672087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1" name="Rectangle 105"/>
            <p:cNvSpPr>
              <a:spLocks noChangeArrowheads="1"/>
            </p:cNvSpPr>
            <p:nvPr userDrawn="1"/>
          </p:nvSpPr>
          <p:spPr bwMode="gray">
            <a:xfrm>
              <a:off x="-2449513" y="1136650"/>
              <a:ext cx="215900" cy="215900"/>
            </a:xfrm>
            <a:prstGeom prst="rect">
              <a:avLst/>
            </a:prstGeom>
            <a:solidFill>
              <a:srgbClr val="FF6200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2" name="Rectangle 106"/>
            <p:cNvSpPr>
              <a:spLocks noChangeArrowheads="1"/>
            </p:cNvSpPr>
            <p:nvPr userDrawn="1"/>
          </p:nvSpPr>
          <p:spPr bwMode="gray">
            <a:xfrm>
              <a:off x="-2159000" y="1146175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Orang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55, 98, 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3" name="Rectangle 107"/>
            <p:cNvSpPr>
              <a:spLocks noChangeArrowheads="1"/>
            </p:cNvSpPr>
            <p:nvPr userDrawn="1"/>
          </p:nvSpPr>
          <p:spPr bwMode="gray">
            <a:xfrm>
              <a:off x="-2449513" y="1571626"/>
              <a:ext cx="215900" cy="215900"/>
            </a:xfrm>
            <a:prstGeom prst="rect">
              <a:avLst/>
            </a:prstGeom>
            <a:solidFill>
              <a:srgbClr val="A8A8A8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4" name="Rectangle 108"/>
            <p:cNvSpPr>
              <a:spLocks noChangeArrowheads="1"/>
            </p:cNvSpPr>
            <p:nvPr userDrawn="1"/>
          </p:nvSpPr>
          <p:spPr bwMode="gray">
            <a:xfrm>
              <a:off x="-2159000" y="15970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ght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68, 168, 16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5" name="Rectangle 109"/>
            <p:cNvSpPr>
              <a:spLocks noChangeArrowheads="1"/>
            </p:cNvSpPr>
            <p:nvPr userDrawn="1"/>
          </p:nvSpPr>
          <p:spPr bwMode="gray">
            <a:xfrm>
              <a:off x="-2449513" y="2058988"/>
              <a:ext cx="215900" cy="215900"/>
            </a:xfrm>
            <a:prstGeom prst="rect">
              <a:avLst/>
            </a:prstGeom>
            <a:solidFill>
              <a:srgbClr val="52519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6" name="Rectangle 110"/>
            <p:cNvSpPr>
              <a:spLocks noChangeArrowheads="1"/>
            </p:cNvSpPr>
            <p:nvPr userDrawn="1"/>
          </p:nvSpPr>
          <p:spPr bwMode="gray">
            <a:xfrm>
              <a:off x="-2159000" y="2068513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Indigo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82, 81, 153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7" name="Rectangle 111"/>
            <p:cNvSpPr>
              <a:spLocks noChangeArrowheads="1"/>
            </p:cNvSpPr>
            <p:nvPr userDrawn="1"/>
          </p:nvSpPr>
          <p:spPr bwMode="gray">
            <a:xfrm>
              <a:off x="-2449513" y="2527301"/>
              <a:ext cx="215900" cy="215900"/>
            </a:xfrm>
            <a:prstGeom prst="rect">
              <a:avLst/>
            </a:prstGeom>
            <a:solidFill>
              <a:srgbClr val="60A6DA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8" name="Rectangle 112"/>
            <p:cNvSpPr>
              <a:spLocks noChangeArrowheads="1"/>
            </p:cNvSpPr>
            <p:nvPr userDrawn="1"/>
          </p:nvSpPr>
          <p:spPr bwMode="gray">
            <a:xfrm>
              <a:off x="-2159000" y="25368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Sk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96, 166, 2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9" name="Rectangle 113"/>
            <p:cNvSpPr>
              <a:spLocks noChangeArrowheads="1"/>
            </p:cNvSpPr>
            <p:nvPr userDrawn="1"/>
          </p:nvSpPr>
          <p:spPr bwMode="gray">
            <a:xfrm>
              <a:off x="-2449513" y="762000"/>
              <a:ext cx="1692000" cy="165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90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200" b="1" smtClean="0">
                  <a:solidFill>
                    <a:srgbClr val="333333"/>
                  </a:solidFill>
                </a:rPr>
                <a:t>Colour Guidelines</a:t>
              </a:r>
              <a:endParaRPr lang="en-GB" altLang="en-US" sz="1200" b="1">
                <a:solidFill>
                  <a:srgbClr val="333333"/>
                </a:solidFill>
              </a:endParaRPr>
            </a:p>
          </p:txBody>
        </p:sp>
        <p:sp>
          <p:nvSpPr>
            <p:cNvPr id="60" name="Rectangle 107"/>
            <p:cNvSpPr>
              <a:spLocks noChangeArrowheads="1"/>
            </p:cNvSpPr>
            <p:nvPr/>
          </p:nvSpPr>
          <p:spPr bwMode="gray">
            <a:xfrm>
              <a:off x="-2449513" y="2962277"/>
              <a:ext cx="215900" cy="215900"/>
            </a:xfrm>
            <a:prstGeom prst="rect">
              <a:avLst/>
            </a:prstGeom>
            <a:solidFill>
              <a:srgbClr val="AB006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1" name="Rectangle 108"/>
            <p:cNvSpPr>
              <a:spLocks noChangeArrowheads="1"/>
            </p:cNvSpPr>
            <p:nvPr/>
          </p:nvSpPr>
          <p:spPr bwMode="gray">
            <a:xfrm>
              <a:off x="-2159000" y="29876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Fuchsia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71, 0, 102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2" name="Rectangle 109"/>
            <p:cNvSpPr>
              <a:spLocks noChangeArrowheads="1"/>
            </p:cNvSpPr>
            <p:nvPr/>
          </p:nvSpPr>
          <p:spPr bwMode="gray">
            <a:xfrm>
              <a:off x="-2449513" y="3449639"/>
              <a:ext cx="215900" cy="215900"/>
            </a:xfrm>
            <a:prstGeom prst="rect">
              <a:avLst/>
            </a:prstGeom>
            <a:solidFill>
              <a:srgbClr val="D0D93C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3" name="Rectangle 110"/>
            <p:cNvSpPr>
              <a:spLocks noChangeArrowheads="1"/>
            </p:cNvSpPr>
            <p:nvPr/>
          </p:nvSpPr>
          <p:spPr bwMode="gray">
            <a:xfrm>
              <a:off x="-2159000" y="3459164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m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08, 217, 6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4" name="Rectangle 111"/>
            <p:cNvSpPr>
              <a:spLocks noChangeArrowheads="1"/>
            </p:cNvSpPr>
            <p:nvPr/>
          </p:nvSpPr>
          <p:spPr bwMode="gray">
            <a:xfrm>
              <a:off x="-2449513" y="3917952"/>
              <a:ext cx="215900" cy="215900"/>
            </a:xfrm>
            <a:prstGeom prst="rect">
              <a:avLst/>
            </a:prstGeom>
            <a:solidFill>
              <a:srgbClr val="01964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5" name="Rectangle 112"/>
            <p:cNvSpPr>
              <a:spLocks noChangeArrowheads="1"/>
            </p:cNvSpPr>
            <p:nvPr/>
          </p:nvSpPr>
          <p:spPr bwMode="gray">
            <a:xfrm>
              <a:off x="-2159000" y="39274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eaf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2, 150, 8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6" name="Rectangle 109"/>
            <p:cNvSpPr>
              <a:spLocks noChangeArrowheads="1"/>
            </p:cNvSpPr>
            <p:nvPr/>
          </p:nvSpPr>
          <p:spPr bwMode="gray">
            <a:xfrm>
              <a:off x="-2449513" y="4405314"/>
              <a:ext cx="215900" cy="215900"/>
            </a:xfrm>
            <a:prstGeom prst="rect">
              <a:avLst/>
            </a:prstGeom>
            <a:solidFill>
              <a:srgbClr val="76767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7" name="Rectangle 110"/>
            <p:cNvSpPr>
              <a:spLocks noChangeArrowheads="1"/>
            </p:cNvSpPr>
            <p:nvPr/>
          </p:nvSpPr>
          <p:spPr bwMode="gray">
            <a:xfrm>
              <a:off x="-2159000" y="4414839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Mid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18, 118, 1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8" name="Rectangle 111"/>
            <p:cNvSpPr>
              <a:spLocks noChangeArrowheads="1"/>
            </p:cNvSpPr>
            <p:nvPr/>
          </p:nvSpPr>
          <p:spPr bwMode="gray">
            <a:xfrm>
              <a:off x="-2449513" y="4873627"/>
              <a:ext cx="215900" cy="215900"/>
            </a:xfrm>
            <a:prstGeom prst="rect">
              <a:avLst/>
            </a:prstGeom>
            <a:solidFill>
              <a:srgbClr val="333333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9" name="Rectangle 112"/>
            <p:cNvSpPr>
              <a:spLocks noChangeArrowheads="1"/>
            </p:cNvSpPr>
            <p:nvPr/>
          </p:nvSpPr>
          <p:spPr bwMode="gray">
            <a:xfrm>
              <a:off x="-2159000" y="4883152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Text Colour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1, 51, 5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</p:grpSp>
      <p:pic>
        <p:nvPicPr>
          <p:cNvPr id="38" name="Picture 37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466554" y="4402733"/>
            <a:ext cx="125761" cy="138908"/>
          </a:xfrm>
          <a:prstGeom prst="rect">
            <a:avLst/>
          </a:prstGeom>
        </p:spPr>
      </p:pic>
      <p:sp>
        <p:nvSpPr>
          <p:cNvPr id="39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684478" y="4381898"/>
            <a:ext cx="3963375" cy="216000"/>
          </a:xfrm>
        </p:spPr>
        <p:txBody>
          <a:bodyPr tIns="0" bIns="0"/>
          <a:lstStyle>
            <a:lvl1pPr marL="0" indent="0" algn="l">
              <a:lnSpc>
                <a:spcPts val="1350"/>
              </a:lnSpc>
              <a:buNone/>
              <a:defRPr sz="1350">
                <a:solidFill>
                  <a:srgbClr val="000000"/>
                </a:solidFill>
                <a:latin typeface="+mn-lt"/>
              </a:defRPr>
            </a:lvl1pPr>
            <a:lvl2pPr>
              <a:defRPr sz="2200">
                <a:solidFill>
                  <a:srgbClr val="000000"/>
                </a:solidFill>
              </a:defRPr>
            </a:lvl2pPr>
            <a:lvl3pPr>
              <a:defRPr sz="2200">
                <a:solidFill>
                  <a:srgbClr val="000000"/>
                </a:solidFill>
              </a:defRPr>
            </a:lvl3pPr>
            <a:lvl4pPr>
              <a:defRPr sz="2200">
                <a:solidFill>
                  <a:srgbClr val="000000"/>
                </a:solidFill>
              </a:defRPr>
            </a:lvl4pPr>
            <a:lvl5pPr>
              <a:defRPr sz="2200">
                <a:solidFill>
                  <a:srgbClr val="000000"/>
                </a:solidFill>
              </a:defRPr>
            </a:lvl5pPr>
          </a:lstStyle>
          <a:p>
            <a:pPr lvl="0"/>
            <a:r>
              <a:rPr lang="en-GB" noProof="0" dirty="0" smtClean="0"/>
              <a:t>Click to edit location and date</a:t>
            </a:r>
          </a:p>
        </p:txBody>
      </p:sp>
      <p:sp>
        <p:nvSpPr>
          <p:cNvPr id="70" name="Picture Placeholder 69"/>
          <p:cNvSpPr>
            <a:spLocks noGrp="1"/>
          </p:cNvSpPr>
          <p:nvPr>
            <p:ph type="pic" sz="quarter" idx="12"/>
          </p:nvPr>
        </p:nvSpPr>
        <p:spPr bwMode="gray">
          <a:xfrm>
            <a:off x="-2579" y="4"/>
            <a:ext cx="9908580" cy="6024879"/>
          </a:xfrm>
          <a:custGeom>
            <a:avLst/>
            <a:gdLst>
              <a:gd name="connsiteX0" fmla="*/ 11239226 w 12195175"/>
              <a:gd name="connsiteY0" fmla="*/ 0 h 6024879"/>
              <a:gd name="connsiteX1" fmla="*/ 12195175 w 12195175"/>
              <a:gd name="connsiteY1" fmla="*/ 0 h 6024879"/>
              <a:gd name="connsiteX2" fmla="*/ 12195175 w 12195175"/>
              <a:gd name="connsiteY2" fmla="*/ 955949 h 6024879"/>
              <a:gd name="connsiteX3" fmla="*/ 0 w 12195175"/>
              <a:gd name="connsiteY3" fmla="*/ 0 h 6024879"/>
              <a:gd name="connsiteX4" fmla="*/ 10750550 w 12195175"/>
              <a:gd name="connsiteY4" fmla="*/ 0 h 6024879"/>
              <a:gd name="connsiteX5" fmla="*/ 12195175 w 12195175"/>
              <a:gd name="connsiteY5" fmla="*/ 1444625 h 6024879"/>
              <a:gd name="connsiteX6" fmla="*/ 12195175 w 12195175"/>
              <a:gd name="connsiteY6" fmla="*/ 6024879 h 6024879"/>
              <a:gd name="connsiteX7" fmla="*/ 0 w 12195175"/>
              <a:gd name="connsiteY7" fmla="*/ 6024879 h 6024879"/>
              <a:gd name="connsiteX8" fmla="*/ 0 w 12195175"/>
              <a:gd name="connsiteY8" fmla="*/ 4688798 h 6024879"/>
              <a:gd name="connsiteX9" fmla="*/ 3176 w 12195175"/>
              <a:gd name="connsiteY9" fmla="*/ 4688798 h 6024879"/>
              <a:gd name="connsiteX10" fmla="*/ 61412 w 12195175"/>
              <a:gd name="connsiteY10" fmla="*/ 4688798 h 6024879"/>
              <a:gd name="connsiteX11" fmla="*/ 530839 w 12195175"/>
              <a:gd name="connsiteY11" fmla="*/ 4688798 h 6024879"/>
              <a:gd name="connsiteX12" fmla="*/ 5811194 w 12195175"/>
              <a:gd name="connsiteY12" fmla="*/ 4688798 h 6024879"/>
              <a:gd name="connsiteX13" fmla="*/ 5912496 w 12195175"/>
              <a:gd name="connsiteY13" fmla="*/ 4587218 h 6024879"/>
              <a:gd name="connsiteX14" fmla="*/ 5912496 w 12195175"/>
              <a:gd name="connsiteY14" fmla="*/ 3918482 h 6024879"/>
              <a:gd name="connsiteX15" fmla="*/ 5912496 w 12195175"/>
              <a:gd name="connsiteY15" fmla="*/ 1744697 h 6024879"/>
              <a:gd name="connsiteX16" fmla="*/ 5811194 w 12195175"/>
              <a:gd name="connsiteY16" fmla="*/ 1643198 h 6024879"/>
              <a:gd name="connsiteX17" fmla="*/ 61412 w 12195175"/>
              <a:gd name="connsiteY17" fmla="*/ 1643198 h 6024879"/>
              <a:gd name="connsiteX18" fmla="*/ 3176 w 12195175"/>
              <a:gd name="connsiteY18" fmla="*/ 1643198 h 6024879"/>
              <a:gd name="connsiteX19" fmla="*/ 0 w 12195175"/>
              <a:gd name="connsiteY19" fmla="*/ 1643198 h 60248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12195175" h="6024879">
                <a:moveTo>
                  <a:pt x="11239226" y="0"/>
                </a:moveTo>
                <a:lnTo>
                  <a:pt x="12195175" y="0"/>
                </a:lnTo>
                <a:lnTo>
                  <a:pt x="12195175" y="955949"/>
                </a:lnTo>
                <a:close/>
                <a:moveTo>
                  <a:pt x="0" y="0"/>
                </a:moveTo>
                <a:lnTo>
                  <a:pt x="10750550" y="0"/>
                </a:lnTo>
                <a:lnTo>
                  <a:pt x="12195175" y="1444625"/>
                </a:lnTo>
                <a:lnTo>
                  <a:pt x="12195175" y="6024879"/>
                </a:lnTo>
                <a:lnTo>
                  <a:pt x="0" y="6024879"/>
                </a:lnTo>
                <a:lnTo>
                  <a:pt x="0" y="4688798"/>
                </a:lnTo>
                <a:lnTo>
                  <a:pt x="3176" y="4688798"/>
                </a:lnTo>
                <a:lnTo>
                  <a:pt x="61412" y="4688798"/>
                </a:lnTo>
                <a:lnTo>
                  <a:pt x="530839" y="4688798"/>
                </a:lnTo>
                <a:cubicBezTo>
                  <a:pt x="5811194" y="4688798"/>
                  <a:pt x="5811194" y="4688798"/>
                  <a:pt x="5811194" y="4688798"/>
                </a:cubicBezTo>
                <a:cubicBezTo>
                  <a:pt x="5811194" y="4688798"/>
                  <a:pt x="5912496" y="4688798"/>
                  <a:pt x="5912496" y="4587218"/>
                </a:cubicBezTo>
                <a:cubicBezTo>
                  <a:pt x="5912496" y="3918482"/>
                  <a:pt x="5912496" y="3918482"/>
                  <a:pt x="5912496" y="3918482"/>
                </a:cubicBezTo>
                <a:cubicBezTo>
                  <a:pt x="5912496" y="1744697"/>
                  <a:pt x="5912496" y="1744697"/>
                  <a:pt x="5912496" y="1744697"/>
                </a:cubicBezTo>
                <a:cubicBezTo>
                  <a:pt x="5912496" y="1744697"/>
                  <a:pt x="5912496" y="1643198"/>
                  <a:pt x="5811194" y="1643198"/>
                </a:cubicBezTo>
                <a:lnTo>
                  <a:pt x="61412" y="1643198"/>
                </a:lnTo>
                <a:lnTo>
                  <a:pt x="3176" y="1643198"/>
                </a:lnTo>
                <a:lnTo>
                  <a:pt x="0" y="1643198"/>
                </a:lnTo>
                <a:close/>
              </a:path>
            </a:pathLst>
          </a:custGeom>
          <a:solidFill>
            <a:srgbClr val="E9E9E9">
              <a:alpha val="10000"/>
            </a:srgbClr>
          </a:solidFill>
        </p:spPr>
        <p:txBody>
          <a:bodyPr wrap="square" lIns="2880000" tIns="0" anchor="ctr" anchorCtr="0">
            <a:noAutofit/>
          </a:bodyPr>
          <a:lstStyle>
            <a:lvl1pPr algn="ctr">
              <a:defRPr sz="1400" b="0"/>
            </a:lvl1pPr>
          </a:lstStyle>
          <a:p>
            <a:r>
              <a:rPr lang="nl-NL" smtClean="0"/>
              <a:t>Klik op het pictogram als u een afbeelding wilt toevoegen</a:t>
            </a:r>
            <a:endParaRPr lang="en-GB"/>
          </a:p>
        </p:txBody>
      </p:sp>
      <p:grpSp>
        <p:nvGrpSpPr>
          <p:cNvPr id="40" name="Group 39"/>
          <p:cNvGrpSpPr/>
          <p:nvPr userDrawn="1"/>
        </p:nvGrpSpPr>
        <p:grpSpPr>
          <a:xfrm>
            <a:off x="8733700" y="-133099"/>
            <a:ext cx="1170834" cy="1565166"/>
            <a:chOff x="5364088" y="4720073"/>
            <a:chExt cx="1441027" cy="1565166"/>
          </a:xfrm>
        </p:grpSpPr>
        <p:sp>
          <p:nvSpPr>
            <p:cNvPr id="41" name="Freeform 5"/>
            <p:cNvSpPr>
              <a:spLocks/>
            </p:cNvSpPr>
            <p:nvPr/>
          </p:nvSpPr>
          <p:spPr bwMode="gray">
            <a:xfrm>
              <a:off x="5364088" y="4844212"/>
              <a:ext cx="1441027" cy="1441027"/>
            </a:xfrm>
            <a:custGeom>
              <a:avLst/>
              <a:gdLst>
                <a:gd name="T0" fmla="*/ 0 w 810"/>
                <a:gd name="T1" fmla="*/ 0 h 810"/>
                <a:gd name="T2" fmla="*/ 810 w 810"/>
                <a:gd name="T3" fmla="*/ 810 h 810"/>
                <a:gd name="T4" fmla="*/ 810 w 810"/>
                <a:gd name="T5" fmla="*/ 536 h 810"/>
                <a:gd name="T6" fmla="*/ 274 w 810"/>
                <a:gd name="T7" fmla="*/ 0 h 810"/>
                <a:gd name="T8" fmla="*/ 0 w 810"/>
                <a:gd name="T9" fmla="*/ 0 h 8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10" h="810">
                  <a:moveTo>
                    <a:pt x="0" y="0"/>
                  </a:moveTo>
                  <a:lnTo>
                    <a:pt x="810" y="810"/>
                  </a:lnTo>
                  <a:lnTo>
                    <a:pt x="810" y="536"/>
                  </a:lnTo>
                  <a:lnTo>
                    <a:pt x="274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17A7DC"/>
            </a:solidFill>
            <a:ln w="3175">
              <a:solidFill>
                <a:srgbClr val="17A7DC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>
                <a:solidFill>
                  <a:srgbClr val="333333"/>
                </a:solidFill>
              </a:endParaRPr>
            </a:p>
          </p:txBody>
        </p:sp>
        <p:sp>
          <p:nvSpPr>
            <p:cNvPr id="42" name="Title 14"/>
            <p:cNvSpPr txBox="1">
              <a:spLocks/>
            </p:cNvSpPr>
            <p:nvPr userDrawn="1"/>
          </p:nvSpPr>
          <p:spPr bwMode="gray">
            <a:xfrm rot="2700000">
              <a:off x="5481455" y="5320862"/>
              <a:ext cx="1447800" cy="246221"/>
            </a:xfrm>
            <a:prstGeom prst="rect">
              <a:avLst/>
            </a:prstGeom>
          </p:spPr>
          <p:txBody>
            <a:bodyPr vert="horz" wrap="none" lIns="0" tIns="0" rIns="0" bIns="0" rtlCol="0" anchor="ctr" anchorCtr="0">
              <a:noAutofit/>
            </a:bodyPr>
            <a:lstStyle>
              <a:lvl1pPr algn="l" defTabSz="914400" rtl="0" eaLnBrk="1" latinLnBrk="0" hangingPunct="1">
                <a:lnSpc>
                  <a:spcPts val="4600"/>
                </a:lnSpc>
                <a:spcBef>
                  <a:spcPct val="0"/>
                </a:spcBef>
                <a:buNone/>
                <a:defRPr sz="4400" b="1" kern="1200" baseline="0">
                  <a:solidFill>
                    <a:schemeClr val="bg1"/>
                  </a:solidFill>
                  <a:latin typeface="+mj-lt"/>
                  <a:ea typeface="+mj-ea"/>
                  <a:cs typeface="Arial" panose="020B0604020202020204" pitchFamily="34" charset="0"/>
                </a:defRPr>
              </a:lvl1pPr>
            </a:lstStyle>
            <a:p>
              <a:pPr algn="ctr">
                <a:lnSpc>
                  <a:spcPct val="100000"/>
                </a:lnSpc>
              </a:pPr>
              <a:r>
                <a:rPr lang="en-US" sz="1600" smtClean="0">
                  <a:solidFill>
                    <a:prstClr val="white"/>
                  </a:solidFill>
                </a:rPr>
                <a:t>Confidential</a:t>
              </a:r>
              <a:endParaRPr lang="en-GB" sz="1600" dirty="0">
                <a:solidFill>
                  <a:prstClr val="white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35226493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1" orient="horz" pos="4135">
          <p15:clr>
            <a:srgbClr val="FBAE40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ex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5"/>
          <p:cNvSpPr>
            <a:spLocks noChangeAspect="1"/>
          </p:cNvSpPr>
          <p:nvPr userDrawn="1"/>
        </p:nvSpPr>
        <p:spPr bwMode="gray">
          <a:xfrm>
            <a:off x="566241" y="1201148"/>
            <a:ext cx="9099675" cy="4999653"/>
          </a:xfrm>
          <a:custGeom>
            <a:avLst/>
            <a:gdLst>
              <a:gd name="connsiteX0" fmla="*/ 95997 w 11199600"/>
              <a:gd name="connsiteY0" fmla="*/ 0 h 4999653"/>
              <a:gd name="connsiteX1" fmla="*/ 11103603 w 11199600"/>
              <a:gd name="connsiteY1" fmla="*/ 0 h 4999653"/>
              <a:gd name="connsiteX2" fmla="*/ 11199600 w 11199600"/>
              <a:gd name="connsiteY2" fmla="*/ 96110 h 4999653"/>
              <a:gd name="connsiteX3" fmla="*/ 11199600 w 11199600"/>
              <a:gd name="connsiteY3" fmla="*/ 335165 h 4999653"/>
              <a:gd name="connsiteX4" fmla="*/ 11199600 w 11199600"/>
              <a:gd name="connsiteY4" fmla="*/ 370350 h 4999653"/>
              <a:gd name="connsiteX5" fmla="*/ 11199600 w 11199600"/>
              <a:gd name="connsiteY5" fmla="*/ 379204 h 4999653"/>
              <a:gd name="connsiteX6" fmla="*/ 11199600 w 11199600"/>
              <a:gd name="connsiteY6" fmla="*/ 400048 h 4999653"/>
              <a:gd name="connsiteX7" fmla="*/ 11199600 w 11199600"/>
              <a:gd name="connsiteY7" fmla="*/ 400232 h 4999653"/>
              <a:gd name="connsiteX8" fmla="*/ 11199600 w 11199600"/>
              <a:gd name="connsiteY8" fmla="*/ 471202 h 4999653"/>
              <a:gd name="connsiteX9" fmla="*/ 11199600 w 11199600"/>
              <a:gd name="connsiteY9" fmla="*/ 475721 h 4999653"/>
              <a:gd name="connsiteX10" fmla="*/ 11199600 w 11199600"/>
              <a:gd name="connsiteY10" fmla="*/ 508692 h 4999653"/>
              <a:gd name="connsiteX11" fmla="*/ 11199600 w 11199600"/>
              <a:gd name="connsiteY11" fmla="*/ 554484 h 4999653"/>
              <a:gd name="connsiteX12" fmla="*/ 11199600 w 11199600"/>
              <a:gd name="connsiteY12" fmla="*/ 563015 h 4999653"/>
              <a:gd name="connsiteX13" fmla="*/ 11199600 w 11199600"/>
              <a:gd name="connsiteY13" fmla="*/ 609405 h 4999653"/>
              <a:gd name="connsiteX14" fmla="*/ 11199600 w 11199600"/>
              <a:gd name="connsiteY14" fmla="*/ 662759 h 4999653"/>
              <a:gd name="connsiteX15" fmla="*/ 11199600 w 11199600"/>
              <a:gd name="connsiteY15" fmla="*/ 674288 h 4999653"/>
              <a:gd name="connsiteX16" fmla="*/ 11199600 w 11199600"/>
              <a:gd name="connsiteY16" fmla="*/ 749961 h 4999653"/>
              <a:gd name="connsiteX17" fmla="*/ 11199600 w 11199600"/>
              <a:gd name="connsiteY17" fmla="*/ 775785 h 4999653"/>
              <a:gd name="connsiteX18" fmla="*/ 11199600 w 11199600"/>
              <a:gd name="connsiteY18" fmla="*/ 837255 h 4999653"/>
              <a:gd name="connsiteX19" fmla="*/ 11199600 w 11199600"/>
              <a:gd name="connsiteY19" fmla="*/ 902921 h 4999653"/>
              <a:gd name="connsiteX20" fmla="*/ 11199600 w 11199600"/>
              <a:gd name="connsiteY20" fmla="*/ 936999 h 4999653"/>
              <a:gd name="connsiteX21" fmla="*/ 11199600 w 11199600"/>
              <a:gd name="connsiteY21" fmla="*/ 1044999 h 4999653"/>
              <a:gd name="connsiteX22" fmla="*/ 11199600 w 11199600"/>
              <a:gd name="connsiteY22" fmla="*/ 1050025 h 4999653"/>
              <a:gd name="connsiteX23" fmla="*/ 11199600 w 11199600"/>
              <a:gd name="connsiteY23" fmla="*/ 1177161 h 4999653"/>
              <a:gd name="connsiteX24" fmla="*/ 11199600 w 11199600"/>
              <a:gd name="connsiteY24" fmla="*/ 1202847 h 4999653"/>
              <a:gd name="connsiteX25" fmla="*/ 11199600 w 11199600"/>
              <a:gd name="connsiteY25" fmla="*/ 1319239 h 4999653"/>
              <a:gd name="connsiteX26" fmla="*/ 11199600 w 11199600"/>
              <a:gd name="connsiteY26" fmla="*/ 1377296 h 4999653"/>
              <a:gd name="connsiteX27" fmla="*/ 11199600 w 11199600"/>
              <a:gd name="connsiteY27" fmla="*/ 1477087 h 4999653"/>
              <a:gd name="connsiteX28" fmla="*/ 11199600 w 11199600"/>
              <a:gd name="connsiteY28" fmla="*/ 1569177 h 4999653"/>
              <a:gd name="connsiteX29" fmla="*/ 11199600 w 11199600"/>
              <a:gd name="connsiteY29" fmla="*/ 1651536 h 4999653"/>
              <a:gd name="connsiteX30" fmla="*/ 11199600 w 11199600"/>
              <a:gd name="connsiteY30" fmla="*/ 1779318 h 4999653"/>
              <a:gd name="connsiteX31" fmla="*/ 11199600 w 11199600"/>
              <a:gd name="connsiteY31" fmla="*/ 1843417 h 4999653"/>
              <a:gd name="connsiteX32" fmla="*/ 11199600 w 11199600"/>
              <a:gd name="connsiteY32" fmla="*/ 2008551 h 4999653"/>
              <a:gd name="connsiteX33" fmla="*/ 11199600 w 11199600"/>
              <a:gd name="connsiteY33" fmla="*/ 2053558 h 4999653"/>
              <a:gd name="connsiteX34" fmla="*/ 11199600 w 11199600"/>
              <a:gd name="connsiteY34" fmla="*/ 2257705 h 4999653"/>
              <a:gd name="connsiteX35" fmla="*/ 11199600 w 11199600"/>
              <a:gd name="connsiteY35" fmla="*/ 2282791 h 4999653"/>
              <a:gd name="connsiteX36" fmla="*/ 11199600 w 11199600"/>
              <a:gd name="connsiteY36" fmla="*/ 2527610 h 4999653"/>
              <a:gd name="connsiteX37" fmla="*/ 11199600 w 11199600"/>
              <a:gd name="connsiteY37" fmla="*/ 2531945 h 4999653"/>
              <a:gd name="connsiteX38" fmla="*/ 11199600 w 11199600"/>
              <a:gd name="connsiteY38" fmla="*/ 2801851 h 4999653"/>
              <a:gd name="connsiteX39" fmla="*/ 11199600 w 11199600"/>
              <a:gd name="connsiteY39" fmla="*/ 2819097 h 4999653"/>
              <a:gd name="connsiteX40" fmla="*/ 11199600 w 11199600"/>
              <a:gd name="connsiteY40" fmla="*/ 3093337 h 4999653"/>
              <a:gd name="connsiteX41" fmla="*/ 11199600 w 11199600"/>
              <a:gd name="connsiteY41" fmla="*/ 3132995 h 4999653"/>
              <a:gd name="connsiteX42" fmla="*/ 11199600 w 11199600"/>
              <a:gd name="connsiteY42" fmla="*/ 3407236 h 4999653"/>
              <a:gd name="connsiteX43" fmla="*/ 11199600 w 11199600"/>
              <a:gd name="connsiteY43" fmla="*/ 3470135 h 4999653"/>
              <a:gd name="connsiteX44" fmla="*/ 11199600 w 11199600"/>
              <a:gd name="connsiteY44" fmla="*/ 3744375 h 4999653"/>
              <a:gd name="connsiteX45" fmla="*/ 11199600 w 11199600"/>
              <a:gd name="connsiteY45" fmla="*/ 3831346 h 4999653"/>
              <a:gd name="connsiteX46" fmla="*/ 11199600 w 11199600"/>
              <a:gd name="connsiteY46" fmla="*/ 4105586 h 4999653"/>
              <a:gd name="connsiteX47" fmla="*/ 11199600 w 11199600"/>
              <a:gd name="connsiteY47" fmla="*/ 4217459 h 4999653"/>
              <a:gd name="connsiteX48" fmla="*/ 11199600 w 11199600"/>
              <a:gd name="connsiteY48" fmla="*/ 4491699 h 4999653"/>
              <a:gd name="connsiteX49" fmla="*/ 11199600 w 11199600"/>
              <a:gd name="connsiteY49" fmla="*/ 4629303 h 4999653"/>
              <a:gd name="connsiteX50" fmla="*/ 11199600 w 11199600"/>
              <a:gd name="connsiteY50" fmla="*/ 4903543 h 4999653"/>
              <a:gd name="connsiteX51" fmla="*/ 11103603 w 11199600"/>
              <a:gd name="connsiteY51" fmla="*/ 4999653 h 4999653"/>
              <a:gd name="connsiteX52" fmla="*/ 95997 w 11199600"/>
              <a:gd name="connsiteY52" fmla="*/ 4999653 h 4999653"/>
              <a:gd name="connsiteX53" fmla="*/ 0 w 11199600"/>
              <a:gd name="connsiteY53" fmla="*/ 4903543 h 4999653"/>
              <a:gd name="connsiteX54" fmla="*/ 0 w 11199600"/>
              <a:gd name="connsiteY54" fmla="*/ 4664488 h 4999653"/>
              <a:gd name="connsiteX55" fmla="*/ 0 w 11199600"/>
              <a:gd name="connsiteY55" fmla="*/ 4629303 h 4999653"/>
              <a:gd name="connsiteX56" fmla="*/ 0 w 11199600"/>
              <a:gd name="connsiteY56" fmla="*/ 4628197 h 4999653"/>
              <a:gd name="connsiteX57" fmla="*/ 0 w 11199600"/>
              <a:gd name="connsiteY57" fmla="*/ 4620449 h 4999653"/>
              <a:gd name="connsiteX58" fmla="*/ 0 w 11199600"/>
              <a:gd name="connsiteY58" fmla="*/ 4599606 h 4999653"/>
              <a:gd name="connsiteX59" fmla="*/ 0 w 11199600"/>
              <a:gd name="connsiteY59" fmla="*/ 4599421 h 4999653"/>
              <a:gd name="connsiteX60" fmla="*/ 0 w 11199600"/>
              <a:gd name="connsiteY60" fmla="*/ 4558472 h 4999653"/>
              <a:gd name="connsiteX61" fmla="*/ 0 w 11199600"/>
              <a:gd name="connsiteY61" fmla="*/ 4528452 h 4999653"/>
              <a:gd name="connsiteX62" fmla="*/ 0 w 11199600"/>
              <a:gd name="connsiteY62" fmla="*/ 4523933 h 4999653"/>
              <a:gd name="connsiteX63" fmla="*/ 0 w 11199600"/>
              <a:gd name="connsiteY63" fmla="*/ 4490961 h 4999653"/>
              <a:gd name="connsiteX64" fmla="*/ 0 w 11199600"/>
              <a:gd name="connsiteY64" fmla="*/ 4445170 h 4999653"/>
              <a:gd name="connsiteX65" fmla="*/ 0 w 11199600"/>
              <a:gd name="connsiteY65" fmla="*/ 4436639 h 4999653"/>
              <a:gd name="connsiteX66" fmla="*/ 0 w 11199600"/>
              <a:gd name="connsiteY66" fmla="*/ 4390248 h 4999653"/>
              <a:gd name="connsiteX67" fmla="*/ 0 w 11199600"/>
              <a:gd name="connsiteY67" fmla="*/ 4336894 h 4999653"/>
              <a:gd name="connsiteX68" fmla="*/ 0 w 11199600"/>
              <a:gd name="connsiteY68" fmla="*/ 4325366 h 4999653"/>
              <a:gd name="connsiteX69" fmla="*/ 0 w 11199600"/>
              <a:gd name="connsiteY69" fmla="*/ 4249693 h 4999653"/>
              <a:gd name="connsiteX70" fmla="*/ 0 w 11199600"/>
              <a:gd name="connsiteY70" fmla="*/ 4223869 h 4999653"/>
              <a:gd name="connsiteX71" fmla="*/ 0 w 11199600"/>
              <a:gd name="connsiteY71" fmla="*/ 4162399 h 4999653"/>
              <a:gd name="connsiteX72" fmla="*/ 0 w 11199600"/>
              <a:gd name="connsiteY72" fmla="*/ 4096732 h 4999653"/>
              <a:gd name="connsiteX73" fmla="*/ 0 w 11199600"/>
              <a:gd name="connsiteY73" fmla="*/ 4062654 h 4999653"/>
              <a:gd name="connsiteX74" fmla="*/ 0 w 11199600"/>
              <a:gd name="connsiteY74" fmla="*/ 3954655 h 4999653"/>
              <a:gd name="connsiteX75" fmla="*/ 0 w 11199600"/>
              <a:gd name="connsiteY75" fmla="*/ 3949629 h 4999653"/>
              <a:gd name="connsiteX76" fmla="*/ 0 w 11199600"/>
              <a:gd name="connsiteY76" fmla="*/ 3822492 h 4999653"/>
              <a:gd name="connsiteX77" fmla="*/ 0 w 11199600"/>
              <a:gd name="connsiteY77" fmla="*/ 3796807 h 4999653"/>
              <a:gd name="connsiteX78" fmla="*/ 0 w 11199600"/>
              <a:gd name="connsiteY78" fmla="*/ 3680415 h 4999653"/>
              <a:gd name="connsiteX79" fmla="*/ 0 w 11199600"/>
              <a:gd name="connsiteY79" fmla="*/ 3622357 h 4999653"/>
              <a:gd name="connsiteX80" fmla="*/ 0 w 11199600"/>
              <a:gd name="connsiteY80" fmla="*/ 3522567 h 4999653"/>
              <a:gd name="connsiteX81" fmla="*/ 0 w 11199600"/>
              <a:gd name="connsiteY81" fmla="*/ 3430477 h 4999653"/>
              <a:gd name="connsiteX82" fmla="*/ 0 w 11199600"/>
              <a:gd name="connsiteY82" fmla="*/ 3348117 h 4999653"/>
              <a:gd name="connsiteX83" fmla="*/ 0 w 11199600"/>
              <a:gd name="connsiteY83" fmla="*/ 3220335 h 4999653"/>
              <a:gd name="connsiteX84" fmla="*/ 0 w 11199600"/>
              <a:gd name="connsiteY84" fmla="*/ 3156237 h 4999653"/>
              <a:gd name="connsiteX85" fmla="*/ 0 w 11199600"/>
              <a:gd name="connsiteY85" fmla="*/ 2991102 h 4999653"/>
              <a:gd name="connsiteX86" fmla="*/ 0 w 11199600"/>
              <a:gd name="connsiteY86" fmla="*/ 2946095 h 4999653"/>
              <a:gd name="connsiteX87" fmla="*/ 0 w 11199600"/>
              <a:gd name="connsiteY87" fmla="*/ 2741948 h 4999653"/>
              <a:gd name="connsiteX88" fmla="*/ 0 w 11199600"/>
              <a:gd name="connsiteY88" fmla="*/ 2716862 h 4999653"/>
              <a:gd name="connsiteX89" fmla="*/ 0 w 11199600"/>
              <a:gd name="connsiteY89" fmla="*/ 2472043 h 4999653"/>
              <a:gd name="connsiteX90" fmla="*/ 0 w 11199600"/>
              <a:gd name="connsiteY90" fmla="*/ 2467708 h 4999653"/>
              <a:gd name="connsiteX91" fmla="*/ 0 w 11199600"/>
              <a:gd name="connsiteY91" fmla="*/ 2197803 h 4999653"/>
              <a:gd name="connsiteX92" fmla="*/ 0 w 11199600"/>
              <a:gd name="connsiteY92" fmla="*/ 2180556 h 4999653"/>
              <a:gd name="connsiteX93" fmla="*/ 0 w 11199600"/>
              <a:gd name="connsiteY93" fmla="*/ 1906316 h 4999653"/>
              <a:gd name="connsiteX94" fmla="*/ 0 w 11199600"/>
              <a:gd name="connsiteY94" fmla="*/ 1866658 h 4999653"/>
              <a:gd name="connsiteX95" fmla="*/ 0 w 11199600"/>
              <a:gd name="connsiteY95" fmla="*/ 1592418 h 4999653"/>
              <a:gd name="connsiteX96" fmla="*/ 0 w 11199600"/>
              <a:gd name="connsiteY96" fmla="*/ 1529519 h 4999653"/>
              <a:gd name="connsiteX97" fmla="*/ 0 w 11199600"/>
              <a:gd name="connsiteY97" fmla="*/ 1255278 h 4999653"/>
              <a:gd name="connsiteX98" fmla="*/ 0 w 11199600"/>
              <a:gd name="connsiteY98" fmla="*/ 1168307 h 4999653"/>
              <a:gd name="connsiteX99" fmla="*/ 0 w 11199600"/>
              <a:gd name="connsiteY99" fmla="*/ 894067 h 4999653"/>
              <a:gd name="connsiteX100" fmla="*/ 0 w 11199600"/>
              <a:gd name="connsiteY100" fmla="*/ 782195 h 4999653"/>
              <a:gd name="connsiteX101" fmla="*/ 0 w 11199600"/>
              <a:gd name="connsiteY101" fmla="*/ 507955 h 4999653"/>
              <a:gd name="connsiteX102" fmla="*/ 0 w 11199600"/>
              <a:gd name="connsiteY102" fmla="*/ 370350 h 4999653"/>
              <a:gd name="connsiteX103" fmla="*/ 0 w 11199600"/>
              <a:gd name="connsiteY103" fmla="*/ 96110 h 4999653"/>
              <a:gd name="connsiteX104" fmla="*/ 95997 w 11199600"/>
              <a:gd name="connsiteY104" fmla="*/ 0 h 49996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</a:cxnLst>
            <a:rect l="l" t="t" r="r" b="b"/>
            <a:pathLst>
              <a:path w="11199600" h="4999653">
                <a:moveTo>
                  <a:pt x="95997" y="0"/>
                </a:moveTo>
                <a:lnTo>
                  <a:pt x="11103603" y="0"/>
                </a:lnTo>
                <a:cubicBezTo>
                  <a:pt x="11199600" y="0"/>
                  <a:pt x="11199600" y="96110"/>
                  <a:pt x="11199600" y="96110"/>
                </a:cubicBezTo>
                <a:cubicBezTo>
                  <a:pt x="11199600" y="96110"/>
                  <a:pt x="11199600" y="96110"/>
                  <a:pt x="11199600" y="335165"/>
                </a:cubicBezTo>
                <a:lnTo>
                  <a:pt x="11199600" y="370350"/>
                </a:lnTo>
                <a:cubicBezTo>
                  <a:pt x="11199600" y="370350"/>
                  <a:pt x="11199600" y="370350"/>
                  <a:pt x="11199600" y="379204"/>
                </a:cubicBezTo>
                <a:lnTo>
                  <a:pt x="11199600" y="400048"/>
                </a:lnTo>
                <a:lnTo>
                  <a:pt x="11199600" y="400232"/>
                </a:lnTo>
                <a:cubicBezTo>
                  <a:pt x="11199600" y="415173"/>
                  <a:pt x="11199600" y="437585"/>
                  <a:pt x="11199600" y="471202"/>
                </a:cubicBezTo>
                <a:lnTo>
                  <a:pt x="11199600" y="475721"/>
                </a:lnTo>
                <a:lnTo>
                  <a:pt x="11199600" y="508692"/>
                </a:lnTo>
                <a:cubicBezTo>
                  <a:pt x="11199600" y="522527"/>
                  <a:pt x="11199600" y="537744"/>
                  <a:pt x="11199600" y="554484"/>
                </a:cubicBezTo>
                <a:lnTo>
                  <a:pt x="11199600" y="563015"/>
                </a:lnTo>
                <a:lnTo>
                  <a:pt x="11199600" y="609405"/>
                </a:lnTo>
                <a:lnTo>
                  <a:pt x="11199600" y="662759"/>
                </a:lnTo>
                <a:lnTo>
                  <a:pt x="11199600" y="674288"/>
                </a:lnTo>
                <a:cubicBezTo>
                  <a:pt x="11199600" y="697668"/>
                  <a:pt x="11199600" y="722846"/>
                  <a:pt x="11199600" y="749961"/>
                </a:cubicBezTo>
                <a:lnTo>
                  <a:pt x="11199600" y="775785"/>
                </a:lnTo>
                <a:lnTo>
                  <a:pt x="11199600" y="837255"/>
                </a:lnTo>
                <a:lnTo>
                  <a:pt x="11199600" y="902921"/>
                </a:lnTo>
                <a:lnTo>
                  <a:pt x="11199600" y="936999"/>
                </a:lnTo>
                <a:lnTo>
                  <a:pt x="11199600" y="1044999"/>
                </a:lnTo>
                <a:lnTo>
                  <a:pt x="11199600" y="1050025"/>
                </a:lnTo>
                <a:cubicBezTo>
                  <a:pt x="11199600" y="1090006"/>
                  <a:pt x="11199600" y="1132338"/>
                  <a:pt x="11199600" y="1177161"/>
                </a:cubicBezTo>
                <a:lnTo>
                  <a:pt x="11199600" y="1202847"/>
                </a:lnTo>
                <a:lnTo>
                  <a:pt x="11199600" y="1319239"/>
                </a:lnTo>
                <a:lnTo>
                  <a:pt x="11199600" y="1377296"/>
                </a:lnTo>
                <a:lnTo>
                  <a:pt x="11199600" y="1477087"/>
                </a:lnTo>
                <a:lnTo>
                  <a:pt x="11199600" y="1569177"/>
                </a:lnTo>
                <a:lnTo>
                  <a:pt x="11199600" y="1651536"/>
                </a:lnTo>
                <a:lnTo>
                  <a:pt x="11199600" y="1779318"/>
                </a:lnTo>
                <a:lnTo>
                  <a:pt x="11199600" y="1843417"/>
                </a:lnTo>
                <a:lnTo>
                  <a:pt x="11199600" y="2008551"/>
                </a:lnTo>
                <a:lnTo>
                  <a:pt x="11199600" y="2053558"/>
                </a:lnTo>
                <a:lnTo>
                  <a:pt x="11199600" y="2257705"/>
                </a:lnTo>
                <a:lnTo>
                  <a:pt x="11199600" y="2282791"/>
                </a:lnTo>
                <a:lnTo>
                  <a:pt x="11199600" y="2527610"/>
                </a:lnTo>
                <a:lnTo>
                  <a:pt x="11199600" y="2531945"/>
                </a:lnTo>
                <a:cubicBezTo>
                  <a:pt x="11199600" y="2618409"/>
                  <a:pt x="11199600" y="2708331"/>
                  <a:pt x="11199600" y="2801851"/>
                </a:cubicBezTo>
                <a:lnTo>
                  <a:pt x="11199600" y="2819097"/>
                </a:lnTo>
                <a:lnTo>
                  <a:pt x="11199600" y="3093337"/>
                </a:lnTo>
                <a:lnTo>
                  <a:pt x="11199600" y="3132995"/>
                </a:lnTo>
                <a:lnTo>
                  <a:pt x="11199600" y="3407236"/>
                </a:lnTo>
                <a:lnTo>
                  <a:pt x="11199600" y="3470135"/>
                </a:lnTo>
                <a:lnTo>
                  <a:pt x="11199600" y="3744375"/>
                </a:lnTo>
                <a:lnTo>
                  <a:pt x="11199600" y="3831346"/>
                </a:lnTo>
                <a:lnTo>
                  <a:pt x="11199600" y="4105586"/>
                </a:lnTo>
                <a:lnTo>
                  <a:pt x="11199600" y="4217459"/>
                </a:lnTo>
                <a:lnTo>
                  <a:pt x="11199600" y="4491699"/>
                </a:lnTo>
                <a:lnTo>
                  <a:pt x="11199600" y="4629303"/>
                </a:lnTo>
                <a:lnTo>
                  <a:pt x="11199600" y="4903543"/>
                </a:lnTo>
                <a:cubicBezTo>
                  <a:pt x="11199600" y="4999653"/>
                  <a:pt x="11103603" y="4999653"/>
                  <a:pt x="11103603" y="4999653"/>
                </a:cubicBezTo>
                <a:cubicBezTo>
                  <a:pt x="11103603" y="4999653"/>
                  <a:pt x="11103603" y="4999653"/>
                  <a:pt x="95997" y="4999653"/>
                </a:cubicBezTo>
                <a:cubicBezTo>
                  <a:pt x="0" y="4999653"/>
                  <a:pt x="0" y="4903543"/>
                  <a:pt x="0" y="4903543"/>
                </a:cubicBezTo>
                <a:cubicBezTo>
                  <a:pt x="0" y="4903543"/>
                  <a:pt x="0" y="4903543"/>
                  <a:pt x="0" y="4664488"/>
                </a:cubicBezTo>
                <a:lnTo>
                  <a:pt x="0" y="4629303"/>
                </a:lnTo>
                <a:lnTo>
                  <a:pt x="0" y="4628197"/>
                </a:lnTo>
                <a:lnTo>
                  <a:pt x="0" y="4620449"/>
                </a:lnTo>
                <a:lnTo>
                  <a:pt x="0" y="4599606"/>
                </a:lnTo>
                <a:lnTo>
                  <a:pt x="0" y="4599421"/>
                </a:lnTo>
                <a:lnTo>
                  <a:pt x="0" y="4558472"/>
                </a:lnTo>
                <a:lnTo>
                  <a:pt x="0" y="4528452"/>
                </a:lnTo>
                <a:lnTo>
                  <a:pt x="0" y="4523933"/>
                </a:lnTo>
                <a:lnTo>
                  <a:pt x="0" y="4490961"/>
                </a:lnTo>
                <a:lnTo>
                  <a:pt x="0" y="4445170"/>
                </a:lnTo>
                <a:lnTo>
                  <a:pt x="0" y="4436639"/>
                </a:lnTo>
                <a:lnTo>
                  <a:pt x="0" y="4390248"/>
                </a:lnTo>
                <a:lnTo>
                  <a:pt x="0" y="4336894"/>
                </a:lnTo>
                <a:lnTo>
                  <a:pt x="0" y="4325366"/>
                </a:lnTo>
                <a:lnTo>
                  <a:pt x="0" y="4249693"/>
                </a:lnTo>
                <a:lnTo>
                  <a:pt x="0" y="4223869"/>
                </a:lnTo>
                <a:lnTo>
                  <a:pt x="0" y="4162399"/>
                </a:lnTo>
                <a:lnTo>
                  <a:pt x="0" y="4096732"/>
                </a:lnTo>
                <a:lnTo>
                  <a:pt x="0" y="4062654"/>
                </a:lnTo>
                <a:lnTo>
                  <a:pt x="0" y="3954655"/>
                </a:lnTo>
                <a:lnTo>
                  <a:pt x="0" y="3949629"/>
                </a:lnTo>
                <a:lnTo>
                  <a:pt x="0" y="3822492"/>
                </a:lnTo>
                <a:lnTo>
                  <a:pt x="0" y="3796807"/>
                </a:lnTo>
                <a:lnTo>
                  <a:pt x="0" y="3680415"/>
                </a:lnTo>
                <a:lnTo>
                  <a:pt x="0" y="3622357"/>
                </a:lnTo>
                <a:lnTo>
                  <a:pt x="0" y="3522567"/>
                </a:lnTo>
                <a:lnTo>
                  <a:pt x="0" y="3430477"/>
                </a:lnTo>
                <a:lnTo>
                  <a:pt x="0" y="3348117"/>
                </a:lnTo>
                <a:lnTo>
                  <a:pt x="0" y="3220335"/>
                </a:lnTo>
                <a:lnTo>
                  <a:pt x="0" y="3156237"/>
                </a:lnTo>
                <a:lnTo>
                  <a:pt x="0" y="2991102"/>
                </a:lnTo>
                <a:lnTo>
                  <a:pt x="0" y="2946095"/>
                </a:lnTo>
                <a:lnTo>
                  <a:pt x="0" y="2741948"/>
                </a:lnTo>
                <a:lnTo>
                  <a:pt x="0" y="2716862"/>
                </a:lnTo>
                <a:lnTo>
                  <a:pt x="0" y="2472043"/>
                </a:lnTo>
                <a:lnTo>
                  <a:pt x="0" y="2467708"/>
                </a:lnTo>
                <a:lnTo>
                  <a:pt x="0" y="2197803"/>
                </a:lnTo>
                <a:lnTo>
                  <a:pt x="0" y="2180556"/>
                </a:lnTo>
                <a:lnTo>
                  <a:pt x="0" y="1906316"/>
                </a:lnTo>
                <a:lnTo>
                  <a:pt x="0" y="1866658"/>
                </a:lnTo>
                <a:lnTo>
                  <a:pt x="0" y="1592418"/>
                </a:lnTo>
                <a:lnTo>
                  <a:pt x="0" y="1529519"/>
                </a:lnTo>
                <a:lnTo>
                  <a:pt x="0" y="1255278"/>
                </a:lnTo>
                <a:lnTo>
                  <a:pt x="0" y="1168307"/>
                </a:lnTo>
                <a:lnTo>
                  <a:pt x="0" y="894067"/>
                </a:lnTo>
                <a:lnTo>
                  <a:pt x="0" y="782195"/>
                </a:lnTo>
                <a:lnTo>
                  <a:pt x="0" y="507955"/>
                </a:lnTo>
                <a:lnTo>
                  <a:pt x="0" y="370350"/>
                </a:lnTo>
                <a:lnTo>
                  <a:pt x="0" y="96110"/>
                </a:lnTo>
                <a:cubicBezTo>
                  <a:pt x="0" y="0"/>
                  <a:pt x="95997" y="0"/>
                  <a:pt x="95997" y="0"/>
                </a:cubicBezTo>
                <a:close/>
              </a:path>
            </a:pathLst>
          </a:custGeom>
          <a:solidFill>
            <a:srgbClr val="EAEAEA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GB">
              <a:solidFill>
                <a:srgbClr val="333333"/>
              </a:solidFill>
            </a:endParaRPr>
          </a:p>
        </p:txBody>
      </p:sp>
      <p:sp>
        <p:nvSpPr>
          <p:cNvPr id="13" name="Content Placeholder 2"/>
          <p:cNvSpPr>
            <a:spLocks noGrp="1"/>
          </p:cNvSpPr>
          <p:nvPr>
            <p:ph idx="1"/>
          </p:nvPr>
        </p:nvSpPr>
        <p:spPr bwMode="gray">
          <a:xfrm>
            <a:off x="687029" y="1327150"/>
            <a:ext cx="8522456" cy="4752000"/>
          </a:xfrm>
        </p:spPr>
        <p:txBody>
          <a:bodyPr>
            <a:noAutofit/>
          </a:bodyPr>
          <a:lstStyle>
            <a:lvl1pPr marL="432000" marR="0" indent="-432000" algn="l" defTabSz="914377" rtl="0" eaLnBrk="1" fontAlgn="auto" latinLnBrk="0" hangingPunct="1">
              <a:lnSpc>
                <a:spcPts val="2200"/>
              </a:lnSpc>
              <a:spcBef>
                <a:spcPts val="200"/>
              </a:spcBef>
              <a:spcAft>
                <a:spcPts val="800"/>
              </a:spcAft>
              <a:buClrTx/>
              <a:buSzTx/>
              <a:buFont typeface="+mj-lt"/>
              <a:buAutoNum type="arabicPeriod"/>
              <a:tabLst>
                <a:tab pos="355591" algn="l"/>
              </a:tabLst>
              <a:defRPr sz="2000" b="0"/>
            </a:lvl1pPr>
            <a:lvl2pPr>
              <a:defRPr sz="2000"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727535706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/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ex Slide Picture Right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Freeform 13"/>
          <p:cNvSpPr>
            <a:spLocks noChangeAspect="1"/>
          </p:cNvSpPr>
          <p:nvPr userDrawn="1"/>
        </p:nvSpPr>
        <p:spPr bwMode="gray">
          <a:xfrm>
            <a:off x="566241" y="1201148"/>
            <a:ext cx="9099675" cy="4999653"/>
          </a:xfrm>
          <a:custGeom>
            <a:avLst/>
            <a:gdLst>
              <a:gd name="connsiteX0" fmla="*/ 95997 w 11199600"/>
              <a:gd name="connsiteY0" fmla="*/ 0 h 4999653"/>
              <a:gd name="connsiteX1" fmla="*/ 11103603 w 11199600"/>
              <a:gd name="connsiteY1" fmla="*/ 0 h 4999653"/>
              <a:gd name="connsiteX2" fmla="*/ 11199600 w 11199600"/>
              <a:gd name="connsiteY2" fmla="*/ 96110 h 4999653"/>
              <a:gd name="connsiteX3" fmla="*/ 11199600 w 11199600"/>
              <a:gd name="connsiteY3" fmla="*/ 335165 h 4999653"/>
              <a:gd name="connsiteX4" fmla="*/ 11199600 w 11199600"/>
              <a:gd name="connsiteY4" fmla="*/ 370350 h 4999653"/>
              <a:gd name="connsiteX5" fmla="*/ 11199600 w 11199600"/>
              <a:gd name="connsiteY5" fmla="*/ 379204 h 4999653"/>
              <a:gd name="connsiteX6" fmla="*/ 11199600 w 11199600"/>
              <a:gd name="connsiteY6" fmla="*/ 400048 h 4999653"/>
              <a:gd name="connsiteX7" fmla="*/ 11199600 w 11199600"/>
              <a:gd name="connsiteY7" fmla="*/ 400232 h 4999653"/>
              <a:gd name="connsiteX8" fmla="*/ 11199600 w 11199600"/>
              <a:gd name="connsiteY8" fmla="*/ 471202 h 4999653"/>
              <a:gd name="connsiteX9" fmla="*/ 11199600 w 11199600"/>
              <a:gd name="connsiteY9" fmla="*/ 475721 h 4999653"/>
              <a:gd name="connsiteX10" fmla="*/ 11199600 w 11199600"/>
              <a:gd name="connsiteY10" fmla="*/ 508692 h 4999653"/>
              <a:gd name="connsiteX11" fmla="*/ 11199600 w 11199600"/>
              <a:gd name="connsiteY11" fmla="*/ 554484 h 4999653"/>
              <a:gd name="connsiteX12" fmla="*/ 11199600 w 11199600"/>
              <a:gd name="connsiteY12" fmla="*/ 563015 h 4999653"/>
              <a:gd name="connsiteX13" fmla="*/ 11199600 w 11199600"/>
              <a:gd name="connsiteY13" fmla="*/ 609405 h 4999653"/>
              <a:gd name="connsiteX14" fmla="*/ 11199600 w 11199600"/>
              <a:gd name="connsiteY14" fmla="*/ 662759 h 4999653"/>
              <a:gd name="connsiteX15" fmla="*/ 11199600 w 11199600"/>
              <a:gd name="connsiteY15" fmla="*/ 674288 h 4999653"/>
              <a:gd name="connsiteX16" fmla="*/ 11199600 w 11199600"/>
              <a:gd name="connsiteY16" fmla="*/ 749961 h 4999653"/>
              <a:gd name="connsiteX17" fmla="*/ 11199600 w 11199600"/>
              <a:gd name="connsiteY17" fmla="*/ 775785 h 4999653"/>
              <a:gd name="connsiteX18" fmla="*/ 11199600 w 11199600"/>
              <a:gd name="connsiteY18" fmla="*/ 837255 h 4999653"/>
              <a:gd name="connsiteX19" fmla="*/ 11199600 w 11199600"/>
              <a:gd name="connsiteY19" fmla="*/ 902921 h 4999653"/>
              <a:gd name="connsiteX20" fmla="*/ 11199600 w 11199600"/>
              <a:gd name="connsiteY20" fmla="*/ 936999 h 4999653"/>
              <a:gd name="connsiteX21" fmla="*/ 11199600 w 11199600"/>
              <a:gd name="connsiteY21" fmla="*/ 1044999 h 4999653"/>
              <a:gd name="connsiteX22" fmla="*/ 11199600 w 11199600"/>
              <a:gd name="connsiteY22" fmla="*/ 1050025 h 4999653"/>
              <a:gd name="connsiteX23" fmla="*/ 11199600 w 11199600"/>
              <a:gd name="connsiteY23" fmla="*/ 1177161 h 4999653"/>
              <a:gd name="connsiteX24" fmla="*/ 11199600 w 11199600"/>
              <a:gd name="connsiteY24" fmla="*/ 1202847 h 4999653"/>
              <a:gd name="connsiteX25" fmla="*/ 11199600 w 11199600"/>
              <a:gd name="connsiteY25" fmla="*/ 1319239 h 4999653"/>
              <a:gd name="connsiteX26" fmla="*/ 11199600 w 11199600"/>
              <a:gd name="connsiteY26" fmla="*/ 1377296 h 4999653"/>
              <a:gd name="connsiteX27" fmla="*/ 11199600 w 11199600"/>
              <a:gd name="connsiteY27" fmla="*/ 1477087 h 4999653"/>
              <a:gd name="connsiteX28" fmla="*/ 11199600 w 11199600"/>
              <a:gd name="connsiteY28" fmla="*/ 1569177 h 4999653"/>
              <a:gd name="connsiteX29" fmla="*/ 11199600 w 11199600"/>
              <a:gd name="connsiteY29" fmla="*/ 1651536 h 4999653"/>
              <a:gd name="connsiteX30" fmla="*/ 11199600 w 11199600"/>
              <a:gd name="connsiteY30" fmla="*/ 1779318 h 4999653"/>
              <a:gd name="connsiteX31" fmla="*/ 11199600 w 11199600"/>
              <a:gd name="connsiteY31" fmla="*/ 1843417 h 4999653"/>
              <a:gd name="connsiteX32" fmla="*/ 11199600 w 11199600"/>
              <a:gd name="connsiteY32" fmla="*/ 2008551 h 4999653"/>
              <a:gd name="connsiteX33" fmla="*/ 11199600 w 11199600"/>
              <a:gd name="connsiteY33" fmla="*/ 2053558 h 4999653"/>
              <a:gd name="connsiteX34" fmla="*/ 11199600 w 11199600"/>
              <a:gd name="connsiteY34" fmla="*/ 2257705 h 4999653"/>
              <a:gd name="connsiteX35" fmla="*/ 11199600 w 11199600"/>
              <a:gd name="connsiteY35" fmla="*/ 2282791 h 4999653"/>
              <a:gd name="connsiteX36" fmla="*/ 11199600 w 11199600"/>
              <a:gd name="connsiteY36" fmla="*/ 2527610 h 4999653"/>
              <a:gd name="connsiteX37" fmla="*/ 11199600 w 11199600"/>
              <a:gd name="connsiteY37" fmla="*/ 2531945 h 4999653"/>
              <a:gd name="connsiteX38" fmla="*/ 11199600 w 11199600"/>
              <a:gd name="connsiteY38" fmla="*/ 2801851 h 4999653"/>
              <a:gd name="connsiteX39" fmla="*/ 11199600 w 11199600"/>
              <a:gd name="connsiteY39" fmla="*/ 2819097 h 4999653"/>
              <a:gd name="connsiteX40" fmla="*/ 11199600 w 11199600"/>
              <a:gd name="connsiteY40" fmla="*/ 3093337 h 4999653"/>
              <a:gd name="connsiteX41" fmla="*/ 11199600 w 11199600"/>
              <a:gd name="connsiteY41" fmla="*/ 3132995 h 4999653"/>
              <a:gd name="connsiteX42" fmla="*/ 11199600 w 11199600"/>
              <a:gd name="connsiteY42" fmla="*/ 3407236 h 4999653"/>
              <a:gd name="connsiteX43" fmla="*/ 11199600 w 11199600"/>
              <a:gd name="connsiteY43" fmla="*/ 3470135 h 4999653"/>
              <a:gd name="connsiteX44" fmla="*/ 11199600 w 11199600"/>
              <a:gd name="connsiteY44" fmla="*/ 3744375 h 4999653"/>
              <a:gd name="connsiteX45" fmla="*/ 11199600 w 11199600"/>
              <a:gd name="connsiteY45" fmla="*/ 3831346 h 4999653"/>
              <a:gd name="connsiteX46" fmla="*/ 11199600 w 11199600"/>
              <a:gd name="connsiteY46" fmla="*/ 4105586 h 4999653"/>
              <a:gd name="connsiteX47" fmla="*/ 11199600 w 11199600"/>
              <a:gd name="connsiteY47" fmla="*/ 4217459 h 4999653"/>
              <a:gd name="connsiteX48" fmla="*/ 11199600 w 11199600"/>
              <a:gd name="connsiteY48" fmla="*/ 4491699 h 4999653"/>
              <a:gd name="connsiteX49" fmla="*/ 11199600 w 11199600"/>
              <a:gd name="connsiteY49" fmla="*/ 4629303 h 4999653"/>
              <a:gd name="connsiteX50" fmla="*/ 11199600 w 11199600"/>
              <a:gd name="connsiteY50" fmla="*/ 4903543 h 4999653"/>
              <a:gd name="connsiteX51" fmla="*/ 11103603 w 11199600"/>
              <a:gd name="connsiteY51" fmla="*/ 4999653 h 4999653"/>
              <a:gd name="connsiteX52" fmla="*/ 95997 w 11199600"/>
              <a:gd name="connsiteY52" fmla="*/ 4999653 h 4999653"/>
              <a:gd name="connsiteX53" fmla="*/ 0 w 11199600"/>
              <a:gd name="connsiteY53" fmla="*/ 4903543 h 4999653"/>
              <a:gd name="connsiteX54" fmla="*/ 0 w 11199600"/>
              <a:gd name="connsiteY54" fmla="*/ 4664488 h 4999653"/>
              <a:gd name="connsiteX55" fmla="*/ 0 w 11199600"/>
              <a:gd name="connsiteY55" fmla="*/ 4629303 h 4999653"/>
              <a:gd name="connsiteX56" fmla="*/ 0 w 11199600"/>
              <a:gd name="connsiteY56" fmla="*/ 4628197 h 4999653"/>
              <a:gd name="connsiteX57" fmla="*/ 0 w 11199600"/>
              <a:gd name="connsiteY57" fmla="*/ 4620449 h 4999653"/>
              <a:gd name="connsiteX58" fmla="*/ 0 w 11199600"/>
              <a:gd name="connsiteY58" fmla="*/ 4599606 h 4999653"/>
              <a:gd name="connsiteX59" fmla="*/ 0 w 11199600"/>
              <a:gd name="connsiteY59" fmla="*/ 4599421 h 4999653"/>
              <a:gd name="connsiteX60" fmla="*/ 0 w 11199600"/>
              <a:gd name="connsiteY60" fmla="*/ 4558472 h 4999653"/>
              <a:gd name="connsiteX61" fmla="*/ 0 w 11199600"/>
              <a:gd name="connsiteY61" fmla="*/ 4528452 h 4999653"/>
              <a:gd name="connsiteX62" fmla="*/ 0 w 11199600"/>
              <a:gd name="connsiteY62" fmla="*/ 4523933 h 4999653"/>
              <a:gd name="connsiteX63" fmla="*/ 0 w 11199600"/>
              <a:gd name="connsiteY63" fmla="*/ 4490961 h 4999653"/>
              <a:gd name="connsiteX64" fmla="*/ 0 w 11199600"/>
              <a:gd name="connsiteY64" fmla="*/ 4445170 h 4999653"/>
              <a:gd name="connsiteX65" fmla="*/ 0 w 11199600"/>
              <a:gd name="connsiteY65" fmla="*/ 4436639 h 4999653"/>
              <a:gd name="connsiteX66" fmla="*/ 0 w 11199600"/>
              <a:gd name="connsiteY66" fmla="*/ 4390248 h 4999653"/>
              <a:gd name="connsiteX67" fmla="*/ 0 w 11199600"/>
              <a:gd name="connsiteY67" fmla="*/ 4336894 h 4999653"/>
              <a:gd name="connsiteX68" fmla="*/ 0 w 11199600"/>
              <a:gd name="connsiteY68" fmla="*/ 4325366 h 4999653"/>
              <a:gd name="connsiteX69" fmla="*/ 0 w 11199600"/>
              <a:gd name="connsiteY69" fmla="*/ 4249693 h 4999653"/>
              <a:gd name="connsiteX70" fmla="*/ 0 w 11199600"/>
              <a:gd name="connsiteY70" fmla="*/ 4223869 h 4999653"/>
              <a:gd name="connsiteX71" fmla="*/ 0 w 11199600"/>
              <a:gd name="connsiteY71" fmla="*/ 4162399 h 4999653"/>
              <a:gd name="connsiteX72" fmla="*/ 0 w 11199600"/>
              <a:gd name="connsiteY72" fmla="*/ 4096732 h 4999653"/>
              <a:gd name="connsiteX73" fmla="*/ 0 w 11199600"/>
              <a:gd name="connsiteY73" fmla="*/ 4062654 h 4999653"/>
              <a:gd name="connsiteX74" fmla="*/ 0 w 11199600"/>
              <a:gd name="connsiteY74" fmla="*/ 3954655 h 4999653"/>
              <a:gd name="connsiteX75" fmla="*/ 0 w 11199600"/>
              <a:gd name="connsiteY75" fmla="*/ 3949629 h 4999653"/>
              <a:gd name="connsiteX76" fmla="*/ 0 w 11199600"/>
              <a:gd name="connsiteY76" fmla="*/ 3822492 h 4999653"/>
              <a:gd name="connsiteX77" fmla="*/ 0 w 11199600"/>
              <a:gd name="connsiteY77" fmla="*/ 3796807 h 4999653"/>
              <a:gd name="connsiteX78" fmla="*/ 0 w 11199600"/>
              <a:gd name="connsiteY78" fmla="*/ 3680415 h 4999653"/>
              <a:gd name="connsiteX79" fmla="*/ 0 w 11199600"/>
              <a:gd name="connsiteY79" fmla="*/ 3622357 h 4999653"/>
              <a:gd name="connsiteX80" fmla="*/ 0 w 11199600"/>
              <a:gd name="connsiteY80" fmla="*/ 3522567 h 4999653"/>
              <a:gd name="connsiteX81" fmla="*/ 0 w 11199600"/>
              <a:gd name="connsiteY81" fmla="*/ 3430477 h 4999653"/>
              <a:gd name="connsiteX82" fmla="*/ 0 w 11199600"/>
              <a:gd name="connsiteY82" fmla="*/ 3348117 h 4999653"/>
              <a:gd name="connsiteX83" fmla="*/ 0 w 11199600"/>
              <a:gd name="connsiteY83" fmla="*/ 3220335 h 4999653"/>
              <a:gd name="connsiteX84" fmla="*/ 0 w 11199600"/>
              <a:gd name="connsiteY84" fmla="*/ 3156237 h 4999653"/>
              <a:gd name="connsiteX85" fmla="*/ 0 w 11199600"/>
              <a:gd name="connsiteY85" fmla="*/ 2991102 h 4999653"/>
              <a:gd name="connsiteX86" fmla="*/ 0 w 11199600"/>
              <a:gd name="connsiteY86" fmla="*/ 2946095 h 4999653"/>
              <a:gd name="connsiteX87" fmla="*/ 0 w 11199600"/>
              <a:gd name="connsiteY87" fmla="*/ 2741948 h 4999653"/>
              <a:gd name="connsiteX88" fmla="*/ 0 w 11199600"/>
              <a:gd name="connsiteY88" fmla="*/ 2716862 h 4999653"/>
              <a:gd name="connsiteX89" fmla="*/ 0 w 11199600"/>
              <a:gd name="connsiteY89" fmla="*/ 2472043 h 4999653"/>
              <a:gd name="connsiteX90" fmla="*/ 0 w 11199600"/>
              <a:gd name="connsiteY90" fmla="*/ 2467708 h 4999653"/>
              <a:gd name="connsiteX91" fmla="*/ 0 w 11199600"/>
              <a:gd name="connsiteY91" fmla="*/ 2197803 h 4999653"/>
              <a:gd name="connsiteX92" fmla="*/ 0 w 11199600"/>
              <a:gd name="connsiteY92" fmla="*/ 2180556 h 4999653"/>
              <a:gd name="connsiteX93" fmla="*/ 0 w 11199600"/>
              <a:gd name="connsiteY93" fmla="*/ 1906316 h 4999653"/>
              <a:gd name="connsiteX94" fmla="*/ 0 w 11199600"/>
              <a:gd name="connsiteY94" fmla="*/ 1866658 h 4999653"/>
              <a:gd name="connsiteX95" fmla="*/ 0 w 11199600"/>
              <a:gd name="connsiteY95" fmla="*/ 1592418 h 4999653"/>
              <a:gd name="connsiteX96" fmla="*/ 0 w 11199600"/>
              <a:gd name="connsiteY96" fmla="*/ 1529519 h 4999653"/>
              <a:gd name="connsiteX97" fmla="*/ 0 w 11199600"/>
              <a:gd name="connsiteY97" fmla="*/ 1255278 h 4999653"/>
              <a:gd name="connsiteX98" fmla="*/ 0 w 11199600"/>
              <a:gd name="connsiteY98" fmla="*/ 1168307 h 4999653"/>
              <a:gd name="connsiteX99" fmla="*/ 0 w 11199600"/>
              <a:gd name="connsiteY99" fmla="*/ 894067 h 4999653"/>
              <a:gd name="connsiteX100" fmla="*/ 0 w 11199600"/>
              <a:gd name="connsiteY100" fmla="*/ 782195 h 4999653"/>
              <a:gd name="connsiteX101" fmla="*/ 0 w 11199600"/>
              <a:gd name="connsiteY101" fmla="*/ 507955 h 4999653"/>
              <a:gd name="connsiteX102" fmla="*/ 0 w 11199600"/>
              <a:gd name="connsiteY102" fmla="*/ 370350 h 4999653"/>
              <a:gd name="connsiteX103" fmla="*/ 0 w 11199600"/>
              <a:gd name="connsiteY103" fmla="*/ 96110 h 4999653"/>
              <a:gd name="connsiteX104" fmla="*/ 95997 w 11199600"/>
              <a:gd name="connsiteY104" fmla="*/ 0 h 49996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</a:cxnLst>
            <a:rect l="l" t="t" r="r" b="b"/>
            <a:pathLst>
              <a:path w="11199600" h="4999653">
                <a:moveTo>
                  <a:pt x="95997" y="0"/>
                </a:moveTo>
                <a:lnTo>
                  <a:pt x="11103603" y="0"/>
                </a:lnTo>
                <a:cubicBezTo>
                  <a:pt x="11199600" y="0"/>
                  <a:pt x="11199600" y="96110"/>
                  <a:pt x="11199600" y="96110"/>
                </a:cubicBezTo>
                <a:cubicBezTo>
                  <a:pt x="11199600" y="96110"/>
                  <a:pt x="11199600" y="96110"/>
                  <a:pt x="11199600" y="335165"/>
                </a:cubicBezTo>
                <a:lnTo>
                  <a:pt x="11199600" y="370350"/>
                </a:lnTo>
                <a:cubicBezTo>
                  <a:pt x="11199600" y="370350"/>
                  <a:pt x="11199600" y="370350"/>
                  <a:pt x="11199600" y="379204"/>
                </a:cubicBezTo>
                <a:lnTo>
                  <a:pt x="11199600" y="400048"/>
                </a:lnTo>
                <a:lnTo>
                  <a:pt x="11199600" y="400232"/>
                </a:lnTo>
                <a:cubicBezTo>
                  <a:pt x="11199600" y="415173"/>
                  <a:pt x="11199600" y="437585"/>
                  <a:pt x="11199600" y="471202"/>
                </a:cubicBezTo>
                <a:lnTo>
                  <a:pt x="11199600" y="475721"/>
                </a:lnTo>
                <a:lnTo>
                  <a:pt x="11199600" y="508692"/>
                </a:lnTo>
                <a:cubicBezTo>
                  <a:pt x="11199600" y="522527"/>
                  <a:pt x="11199600" y="537744"/>
                  <a:pt x="11199600" y="554484"/>
                </a:cubicBezTo>
                <a:lnTo>
                  <a:pt x="11199600" y="563015"/>
                </a:lnTo>
                <a:lnTo>
                  <a:pt x="11199600" y="609405"/>
                </a:lnTo>
                <a:lnTo>
                  <a:pt x="11199600" y="662759"/>
                </a:lnTo>
                <a:lnTo>
                  <a:pt x="11199600" y="674288"/>
                </a:lnTo>
                <a:cubicBezTo>
                  <a:pt x="11199600" y="697668"/>
                  <a:pt x="11199600" y="722846"/>
                  <a:pt x="11199600" y="749961"/>
                </a:cubicBezTo>
                <a:lnTo>
                  <a:pt x="11199600" y="775785"/>
                </a:lnTo>
                <a:lnTo>
                  <a:pt x="11199600" y="837255"/>
                </a:lnTo>
                <a:lnTo>
                  <a:pt x="11199600" y="902921"/>
                </a:lnTo>
                <a:lnTo>
                  <a:pt x="11199600" y="936999"/>
                </a:lnTo>
                <a:lnTo>
                  <a:pt x="11199600" y="1044999"/>
                </a:lnTo>
                <a:lnTo>
                  <a:pt x="11199600" y="1050025"/>
                </a:lnTo>
                <a:cubicBezTo>
                  <a:pt x="11199600" y="1090006"/>
                  <a:pt x="11199600" y="1132338"/>
                  <a:pt x="11199600" y="1177161"/>
                </a:cubicBezTo>
                <a:lnTo>
                  <a:pt x="11199600" y="1202847"/>
                </a:lnTo>
                <a:lnTo>
                  <a:pt x="11199600" y="1319239"/>
                </a:lnTo>
                <a:lnTo>
                  <a:pt x="11199600" y="1377296"/>
                </a:lnTo>
                <a:lnTo>
                  <a:pt x="11199600" y="1477087"/>
                </a:lnTo>
                <a:lnTo>
                  <a:pt x="11199600" y="1569177"/>
                </a:lnTo>
                <a:lnTo>
                  <a:pt x="11199600" y="1651536"/>
                </a:lnTo>
                <a:lnTo>
                  <a:pt x="11199600" y="1779318"/>
                </a:lnTo>
                <a:lnTo>
                  <a:pt x="11199600" y="1843417"/>
                </a:lnTo>
                <a:lnTo>
                  <a:pt x="11199600" y="2008551"/>
                </a:lnTo>
                <a:lnTo>
                  <a:pt x="11199600" y="2053558"/>
                </a:lnTo>
                <a:lnTo>
                  <a:pt x="11199600" y="2257705"/>
                </a:lnTo>
                <a:lnTo>
                  <a:pt x="11199600" y="2282791"/>
                </a:lnTo>
                <a:lnTo>
                  <a:pt x="11199600" y="2527610"/>
                </a:lnTo>
                <a:lnTo>
                  <a:pt x="11199600" y="2531945"/>
                </a:lnTo>
                <a:cubicBezTo>
                  <a:pt x="11199600" y="2618409"/>
                  <a:pt x="11199600" y="2708331"/>
                  <a:pt x="11199600" y="2801851"/>
                </a:cubicBezTo>
                <a:lnTo>
                  <a:pt x="11199600" y="2819097"/>
                </a:lnTo>
                <a:lnTo>
                  <a:pt x="11199600" y="3093337"/>
                </a:lnTo>
                <a:lnTo>
                  <a:pt x="11199600" y="3132995"/>
                </a:lnTo>
                <a:lnTo>
                  <a:pt x="11199600" y="3407236"/>
                </a:lnTo>
                <a:lnTo>
                  <a:pt x="11199600" y="3470135"/>
                </a:lnTo>
                <a:lnTo>
                  <a:pt x="11199600" y="3744375"/>
                </a:lnTo>
                <a:lnTo>
                  <a:pt x="11199600" y="3831346"/>
                </a:lnTo>
                <a:lnTo>
                  <a:pt x="11199600" y="4105586"/>
                </a:lnTo>
                <a:lnTo>
                  <a:pt x="11199600" y="4217459"/>
                </a:lnTo>
                <a:lnTo>
                  <a:pt x="11199600" y="4491699"/>
                </a:lnTo>
                <a:lnTo>
                  <a:pt x="11199600" y="4629303"/>
                </a:lnTo>
                <a:lnTo>
                  <a:pt x="11199600" y="4903543"/>
                </a:lnTo>
                <a:cubicBezTo>
                  <a:pt x="11199600" y="4999653"/>
                  <a:pt x="11103603" y="4999653"/>
                  <a:pt x="11103603" y="4999653"/>
                </a:cubicBezTo>
                <a:cubicBezTo>
                  <a:pt x="11103603" y="4999653"/>
                  <a:pt x="11103603" y="4999653"/>
                  <a:pt x="95997" y="4999653"/>
                </a:cubicBezTo>
                <a:cubicBezTo>
                  <a:pt x="0" y="4999653"/>
                  <a:pt x="0" y="4903543"/>
                  <a:pt x="0" y="4903543"/>
                </a:cubicBezTo>
                <a:cubicBezTo>
                  <a:pt x="0" y="4903543"/>
                  <a:pt x="0" y="4903543"/>
                  <a:pt x="0" y="4664488"/>
                </a:cubicBezTo>
                <a:lnTo>
                  <a:pt x="0" y="4629303"/>
                </a:lnTo>
                <a:lnTo>
                  <a:pt x="0" y="4628197"/>
                </a:lnTo>
                <a:lnTo>
                  <a:pt x="0" y="4620449"/>
                </a:lnTo>
                <a:lnTo>
                  <a:pt x="0" y="4599606"/>
                </a:lnTo>
                <a:lnTo>
                  <a:pt x="0" y="4599421"/>
                </a:lnTo>
                <a:lnTo>
                  <a:pt x="0" y="4558472"/>
                </a:lnTo>
                <a:lnTo>
                  <a:pt x="0" y="4528452"/>
                </a:lnTo>
                <a:lnTo>
                  <a:pt x="0" y="4523933"/>
                </a:lnTo>
                <a:lnTo>
                  <a:pt x="0" y="4490961"/>
                </a:lnTo>
                <a:lnTo>
                  <a:pt x="0" y="4445170"/>
                </a:lnTo>
                <a:lnTo>
                  <a:pt x="0" y="4436639"/>
                </a:lnTo>
                <a:lnTo>
                  <a:pt x="0" y="4390248"/>
                </a:lnTo>
                <a:lnTo>
                  <a:pt x="0" y="4336894"/>
                </a:lnTo>
                <a:lnTo>
                  <a:pt x="0" y="4325366"/>
                </a:lnTo>
                <a:lnTo>
                  <a:pt x="0" y="4249693"/>
                </a:lnTo>
                <a:lnTo>
                  <a:pt x="0" y="4223869"/>
                </a:lnTo>
                <a:lnTo>
                  <a:pt x="0" y="4162399"/>
                </a:lnTo>
                <a:lnTo>
                  <a:pt x="0" y="4096732"/>
                </a:lnTo>
                <a:lnTo>
                  <a:pt x="0" y="4062654"/>
                </a:lnTo>
                <a:lnTo>
                  <a:pt x="0" y="3954655"/>
                </a:lnTo>
                <a:lnTo>
                  <a:pt x="0" y="3949629"/>
                </a:lnTo>
                <a:lnTo>
                  <a:pt x="0" y="3822492"/>
                </a:lnTo>
                <a:lnTo>
                  <a:pt x="0" y="3796807"/>
                </a:lnTo>
                <a:lnTo>
                  <a:pt x="0" y="3680415"/>
                </a:lnTo>
                <a:lnTo>
                  <a:pt x="0" y="3622357"/>
                </a:lnTo>
                <a:lnTo>
                  <a:pt x="0" y="3522567"/>
                </a:lnTo>
                <a:lnTo>
                  <a:pt x="0" y="3430477"/>
                </a:lnTo>
                <a:lnTo>
                  <a:pt x="0" y="3348117"/>
                </a:lnTo>
                <a:lnTo>
                  <a:pt x="0" y="3220335"/>
                </a:lnTo>
                <a:lnTo>
                  <a:pt x="0" y="3156237"/>
                </a:lnTo>
                <a:lnTo>
                  <a:pt x="0" y="2991102"/>
                </a:lnTo>
                <a:lnTo>
                  <a:pt x="0" y="2946095"/>
                </a:lnTo>
                <a:lnTo>
                  <a:pt x="0" y="2741948"/>
                </a:lnTo>
                <a:lnTo>
                  <a:pt x="0" y="2716862"/>
                </a:lnTo>
                <a:lnTo>
                  <a:pt x="0" y="2472043"/>
                </a:lnTo>
                <a:lnTo>
                  <a:pt x="0" y="2467708"/>
                </a:lnTo>
                <a:lnTo>
                  <a:pt x="0" y="2197803"/>
                </a:lnTo>
                <a:lnTo>
                  <a:pt x="0" y="2180556"/>
                </a:lnTo>
                <a:lnTo>
                  <a:pt x="0" y="1906316"/>
                </a:lnTo>
                <a:lnTo>
                  <a:pt x="0" y="1866658"/>
                </a:lnTo>
                <a:lnTo>
                  <a:pt x="0" y="1592418"/>
                </a:lnTo>
                <a:lnTo>
                  <a:pt x="0" y="1529519"/>
                </a:lnTo>
                <a:lnTo>
                  <a:pt x="0" y="1255278"/>
                </a:lnTo>
                <a:lnTo>
                  <a:pt x="0" y="1168307"/>
                </a:lnTo>
                <a:lnTo>
                  <a:pt x="0" y="894067"/>
                </a:lnTo>
                <a:lnTo>
                  <a:pt x="0" y="782195"/>
                </a:lnTo>
                <a:lnTo>
                  <a:pt x="0" y="507955"/>
                </a:lnTo>
                <a:lnTo>
                  <a:pt x="0" y="370350"/>
                </a:lnTo>
                <a:lnTo>
                  <a:pt x="0" y="96110"/>
                </a:lnTo>
                <a:cubicBezTo>
                  <a:pt x="0" y="0"/>
                  <a:pt x="95997" y="0"/>
                  <a:pt x="95997" y="0"/>
                </a:cubicBezTo>
                <a:close/>
              </a:path>
            </a:pathLst>
          </a:custGeom>
          <a:solidFill>
            <a:srgbClr val="EAEAEA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GB">
              <a:solidFill>
                <a:srgbClr val="333333"/>
              </a:solidFill>
            </a:endParaRPr>
          </a:p>
        </p:txBody>
      </p:sp>
      <p:sp>
        <p:nvSpPr>
          <p:cNvPr id="13" name="Content Placeholder 2"/>
          <p:cNvSpPr>
            <a:spLocks noGrp="1"/>
          </p:cNvSpPr>
          <p:nvPr>
            <p:ph idx="1"/>
          </p:nvPr>
        </p:nvSpPr>
        <p:spPr bwMode="gray">
          <a:xfrm>
            <a:off x="687031" y="1327149"/>
            <a:ext cx="4864458" cy="4752000"/>
          </a:xfrm>
        </p:spPr>
        <p:txBody>
          <a:bodyPr>
            <a:noAutofit/>
          </a:bodyPr>
          <a:lstStyle>
            <a:lvl1pPr marL="432000" marR="0" indent="-432000" algn="l" defTabSz="914377" rtl="0" eaLnBrk="1" fontAlgn="auto" latinLnBrk="0" hangingPunct="1">
              <a:lnSpc>
                <a:spcPts val="2200"/>
              </a:lnSpc>
              <a:spcBef>
                <a:spcPts val="200"/>
              </a:spcBef>
              <a:spcAft>
                <a:spcPts val="800"/>
              </a:spcAft>
              <a:buClrTx/>
              <a:buSzTx/>
              <a:buFont typeface="+mj-lt"/>
              <a:buAutoNum type="arabicPeriod"/>
              <a:tabLst>
                <a:tab pos="355591" algn="l"/>
              </a:tabLst>
              <a:defRPr sz="2000" b="0"/>
            </a:lvl1pPr>
            <a:lvl2pPr>
              <a:defRPr sz="2000"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  <p:sp>
        <p:nvSpPr>
          <p:cNvPr id="17" name="Picture Placeholder 16"/>
          <p:cNvSpPr>
            <a:spLocks noGrp="1"/>
          </p:cNvSpPr>
          <p:nvPr>
            <p:ph type="pic" sz="quarter" idx="14"/>
          </p:nvPr>
        </p:nvSpPr>
        <p:spPr bwMode="gray">
          <a:xfrm>
            <a:off x="5928122" y="1201147"/>
            <a:ext cx="3737794" cy="4999652"/>
          </a:xfrm>
          <a:custGeom>
            <a:avLst/>
            <a:gdLst>
              <a:gd name="connsiteX0" fmla="*/ 0 w 4600362"/>
              <a:gd name="connsiteY0" fmla="*/ 0 h 4999652"/>
              <a:gd name="connsiteX1" fmla="*/ 4504373 w 4600362"/>
              <a:gd name="connsiteY1" fmla="*/ 0 h 4999652"/>
              <a:gd name="connsiteX2" fmla="*/ 4536051 w 4600362"/>
              <a:gd name="connsiteY2" fmla="*/ 4129 h 4999652"/>
              <a:gd name="connsiteX3" fmla="*/ 4600362 w 4600362"/>
              <a:gd name="connsiteY3" fmla="*/ 96109 h 4999652"/>
              <a:gd name="connsiteX4" fmla="*/ 4600362 w 4600362"/>
              <a:gd name="connsiteY4" fmla="*/ 335164 h 4999652"/>
              <a:gd name="connsiteX5" fmla="*/ 4600362 w 4600362"/>
              <a:gd name="connsiteY5" fmla="*/ 370349 h 4999652"/>
              <a:gd name="connsiteX6" fmla="*/ 4600362 w 4600362"/>
              <a:gd name="connsiteY6" fmla="*/ 379203 h 4999652"/>
              <a:gd name="connsiteX7" fmla="*/ 4600362 w 4600362"/>
              <a:gd name="connsiteY7" fmla="*/ 400047 h 4999652"/>
              <a:gd name="connsiteX8" fmla="*/ 4600362 w 4600362"/>
              <a:gd name="connsiteY8" fmla="*/ 400231 h 4999652"/>
              <a:gd name="connsiteX9" fmla="*/ 4600362 w 4600362"/>
              <a:gd name="connsiteY9" fmla="*/ 471201 h 4999652"/>
              <a:gd name="connsiteX10" fmla="*/ 4600362 w 4600362"/>
              <a:gd name="connsiteY10" fmla="*/ 475720 h 4999652"/>
              <a:gd name="connsiteX11" fmla="*/ 4600362 w 4600362"/>
              <a:gd name="connsiteY11" fmla="*/ 508691 h 4999652"/>
              <a:gd name="connsiteX12" fmla="*/ 4600362 w 4600362"/>
              <a:gd name="connsiteY12" fmla="*/ 554483 h 4999652"/>
              <a:gd name="connsiteX13" fmla="*/ 4600362 w 4600362"/>
              <a:gd name="connsiteY13" fmla="*/ 563014 h 4999652"/>
              <a:gd name="connsiteX14" fmla="*/ 4600362 w 4600362"/>
              <a:gd name="connsiteY14" fmla="*/ 609404 h 4999652"/>
              <a:gd name="connsiteX15" fmla="*/ 4600362 w 4600362"/>
              <a:gd name="connsiteY15" fmla="*/ 662758 h 4999652"/>
              <a:gd name="connsiteX16" fmla="*/ 4600362 w 4600362"/>
              <a:gd name="connsiteY16" fmla="*/ 674287 h 4999652"/>
              <a:gd name="connsiteX17" fmla="*/ 4600362 w 4600362"/>
              <a:gd name="connsiteY17" fmla="*/ 749960 h 4999652"/>
              <a:gd name="connsiteX18" fmla="*/ 4600362 w 4600362"/>
              <a:gd name="connsiteY18" fmla="*/ 775784 h 4999652"/>
              <a:gd name="connsiteX19" fmla="*/ 4600362 w 4600362"/>
              <a:gd name="connsiteY19" fmla="*/ 837254 h 4999652"/>
              <a:gd name="connsiteX20" fmla="*/ 4600362 w 4600362"/>
              <a:gd name="connsiteY20" fmla="*/ 902920 h 4999652"/>
              <a:gd name="connsiteX21" fmla="*/ 4600362 w 4600362"/>
              <a:gd name="connsiteY21" fmla="*/ 936998 h 4999652"/>
              <a:gd name="connsiteX22" fmla="*/ 4600362 w 4600362"/>
              <a:gd name="connsiteY22" fmla="*/ 1044998 h 4999652"/>
              <a:gd name="connsiteX23" fmla="*/ 4600362 w 4600362"/>
              <a:gd name="connsiteY23" fmla="*/ 1050024 h 4999652"/>
              <a:gd name="connsiteX24" fmla="*/ 4600362 w 4600362"/>
              <a:gd name="connsiteY24" fmla="*/ 1177160 h 4999652"/>
              <a:gd name="connsiteX25" fmla="*/ 4600362 w 4600362"/>
              <a:gd name="connsiteY25" fmla="*/ 1202846 h 4999652"/>
              <a:gd name="connsiteX26" fmla="*/ 4600362 w 4600362"/>
              <a:gd name="connsiteY26" fmla="*/ 1319238 h 4999652"/>
              <a:gd name="connsiteX27" fmla="*/ 4600362 w 4600362"/>
              <a:gd name="connsiteY27" fmla="*/ 1377295 h 4999652"/>
              <a:gd name="connsiteX28" fmla="*/ 4600362 w 4600362"/>
              <a:gd name="connsiteY28" fmla="*/ 1477086 h 4999652"/>
              <a:gd name="connsiteX29" fmla="*/ 4600362 w 4600362"/>
              <a:gd name="connsiteY29" fmla="*/ 1569176 h 4999652"/>
              <a:gd name="connsiteX30" fmla="*/ 4600362 w 4600362"/>
              <a:gd name="connsiteY30" fmla="*/ 1651535 h 4999652"/>
              <a:gd name="connsiteX31" fmla="*/ 4600362 w 4600362"/>
              <a:gd name="connsiteY31" fmla="*/ 1779317 h 4999652"/>
              <a:gd name="connsiteX32" fmla="*/ 4600362 w 4600362"/>
              <a:gd name="connsiteY32" fmla="*/ 1843416 h 4999652"/>
              <a:gd name="connsiteX33" fmla="*/ 4600362 w 4600362"/>
              <a:gd name="connsiteY33" fmla="*/ 2008550 h 4999652"/>
              <a:gd name="connsiteX34" fmla="*/ 4600362 w 4600362"/>
              <a:gd name="connsiteY34" fmla="*/ 2053557 h 4999652"/>
              <a:gd name="connsiteX35" fmla="*/ 4600362 w 4600362"/>
              <a:gd name="connsiteY35" fmla="*/ 2257704 h 4999652"/>
              <a:gd name="connsiteX36" fmla="*/ 4600362 w 4600362"/>
              <a:gd name="connsiteY36" fmla="*/ 2282790 h 4999652"/>
              <a:gd name="connsiteX37" fmla="*/ 4600362 w 4600362"/>
              <a:gd name="connsiteY37" fmla="*/ 2527609 h 4999652"/>
              <a:gd name="connsiteX38" fmla="*/ 4600362 w 4600362"/>
              <a:gd name="connsiteY38" fmla="*/ 2531944 h 4999652"/>
              <a:gd name="connsiteX39" fmla="*/ 4600362 w 4600362"/>
              <a:gd name="connsiteY39" fmla="*/ 2801850 h 4999652"/>
              <a:gd name="connsiteX40" fmla="*/ 4600362 w 4600362"/>
              <a:gd name="connsiteY40" fmla="*/ 2819096 h 4999652"/>
              <a:gd name="connsiteX41" fmla="*/ 4600362 w 4600362"/>
              <a:gd name="connsiteY41" fmla="*/ 3093336 h 4999652"/>
              <a:gd name="connsiteX42" fmla="*/ 4600362 w 4600362"/>
              <a:gd name="connsiteY42" fmla="*/ 3132994 h 4999652"/>
              <a:gd name="connsiteX43" fmla="*/ 4600362 w 4600362"/>
              <a:gd name="connsiteY43" fmla="*/ 3407235 h 4999652"/>
              <a:gd name="connsiteX44" fmla="*/ 4600362 w 4600362"/>
              <a:gd name="connsiteY44" fmla="*/ 3470134 h 4999652"/>
              <a:gd name="connsiteX45" fmla="*/ 4600362 w 4600362"/>
              <a:gd name="connsiteY45" fmla="*/ 3744374 h 4999652"/>
              <a:gd name="connsiteX46" fmla="*/ 4600362 w 4600362"/>
              <a:gd name="connsiteY46" fmla="*/ 3831345 h 4999652"/>
              <a:gd name="connsiteX47" fmla="*/ 4600362 w 4600362"/>
              <a:gd name="connsiteY47" fmla="*/ 4105585 h 4999652"/>
              <a:gd name="connsiteX48" fmla="*/ 4600362 w 4600362"/>
              <a:gd name="connsiteY48" fmla="*/ 4217458 h 4999652"/>
              <a:gd name="connsiteX49" fmla="*/ 4600362 w 4600362"/>
              <a:gd name="connsiteY49" fmla="*/ 4491698 h 4999652"/>
              <a:gd name="connsiteX50" fmla="*/ 4600362 w 4600362"/>
              <a:gd name="connsiteY50" fmla="*/ 4629302 h 4999652"/>
              <a:gd name="connsiteX51" fmla="*/ 4600362 w 4600362"/>
              <a:gd name="connsiteY51" fmla="*/ 4903542 h 4999652"/>
              <a:gd name="connsiteX52" fmla="*/ 4504365 w 4600362"/>
              <a:gd name="connsiteY52" fmla="*/ 4999652 h 4999652"/>
              <a:gd name="connsiteX53" fmla="*/ 144766 w 4600362"/>
              <a:gd name="connsiteY53" fmla="*/ 4999652 h 4999652"/>
              <a:gd name="connsiteX54" fmla="*/ 0 w 4600362"/>
              <a:gd name="connsiteY54" fmla="*/ 4999652 h 49996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</a:cxnLst>
            <a:rect l="l" t="t" r="r" b="b"/>
            <a:pathLst>
              <a:path w="4600362" h="4999652">
                <a:moveTo>
                  <a:pt x="0" y="0"/>
                </a:moveTo>
                <a:lnTo>
                  <a:pt x="4504373" y="0"/>
                </a:lnTo>
                <a:lnTo>
                  <a:pt x="4536051" y="4129"/>
                </a:lnTo>
                <a:cubicBezTo>
                  <a:pt x="4600362" y="22525"/>
                  <a:pt x="4600362" y="96109"/>
                  <a:pt x="4600362" y="96109"/>
                </a:cubicBezTo>
                <a:cubicBezTo>
                  <a:pt x="4600362" y="96109"/>
                  <a:pt x="4600362" y="96109"/>
                  <a:pt x="4600362" y="335164"/>
                </a:cubicBezTo>
                <a:lnTo>
                  <a:pt x="4600362" y="370349"/>
                </a:lnTo>
                <a:cubicBezTo>
                  <a:pt x="4600362" y="370349"/>
                  <a:pt x="4600362" y="370349"/>
                  <a:pt x="4600362" y="379203"/>
                </a:cubicBezTo>
                <a:lnTo>
                  <a:pt x="4600362" y="400047"/>
                </a:lnTo>
                <a:lnTo>
                  <a:pt x="4600362" y="400231"/>
                </a:lnTo>
                <a:cubicBezTo>
                  <a:pt x="4600362" y="415172"/>
                  <a:pt x="4600362" y="437584"/>
                  <a:pt x="4600362" y="471201"/>
                </a:cubicBezTo>
                <a:lnTo>
                  <a:pt x="4600362" y="475720"/>
                </a:lnTo>
                <a:lnTo>
                  <a:pt x="4600362" y="508691"/>
                </a:lnTo>
                <a:cubicBezTo>
                  <a:pt x="4600362" y="522526"/>
                  <a:pt x="4600362" y="537743"/>
                  <a:pt x="4600362" y="554483"/>
                </a:cubicBezTo>
                <a:lnTo>
                  <a:pt x="4600362" y="563014"/>
                </a:lnTo>
                <a:lnTo>
                  <a:pt x="4600362" y="609404"/>
                </a:lnTo>
                <a:lnTo>
                  <a:pt x="4600362" y="662758"/>
                </a:lnTo>
                <a:lnTo>
                  <a:pt x="4600362" y="674287"/>
                </a:lnTo>
                <a:cubicBezTo>
                  <a:pt x="4600362" y="697667"/>
                  <a:pt x="4600362" y="722845"/>
                  <a:pt x="4600362" y="749960"/>
                </a:cubicBezTo>
                <a:lnTo>
                  <a:pt x="4600362" y="775784"/>
                </a:lnTo>
                <a:lnTo>
                  <a:pt x="4600362" y="837254"/>
                </a:lnTo>
                <a:lnTo>
                  <a:pt x="4600362" y="902920"/>
                </a:lnTo>
                <a:lnTo>
                  <a:pt x="4600362" y="936998"/>
                </a:lnTo>
                <a:lnTo>
                  <a:pt x="4600362" y="1044998"/>
                </a:lnTo>
                <a:lnTo>
                  <a:pt x="4600362" y="1050024"/>
                </a:lnTo>
                <a:cubicBezTo>
                  <a:pt x="4600362" y="1090005"/>
                  <a:pt x="4600362" y="1132337"/>
                  <a:pt x="4600362" y="1177160"/>
                </a:cubicBezTo>
                <a:lnTo>
                  <a:pt x="4600362" y="1202846"/>
                </a:lnTo>
                <a:lnTo>
                  <a:pt x="4600362" y="1319238"/>
                </a:lnTo>
                <a:lnTo>
                  <a:pt x="4600362" y="1377295"/>
                </a:lnTo>
                <a:lnTo>
                  <a:pt x="4600362" y="1477086"/>
                </a:lnTo>
                <a:lnTo>
                  <a:pt x="4600362" y="1569176"/>
                </a:lnTo>
                <a:lnTo>
                  <a:pt x="4600362" y="1651535"/>
                </a:lnTo>
                <a:lnTo>
                  <a:pt x="4600362" y="1779317"/>
                </a:lnTo>
                <a:lnTo>
                  <a:pt x="4600362" y="1843416"/>
                </a:lnTo>
                <a:lnTo>
                  <a:pt x="4600362" y="2008550"/>
                </a:lnTo>
                <a:lnTo>
                  <a:pt x="4600362" y="2053557"/>
                </a:lnTo>
                <a:lnTo>
                  <a:pt x="4600362" y="2257704"/>
                </a:lnTo>
                <a:lnTo>
                  <a:pt x="4600362" y="2282790"/>
                </a:lnTo>
                <a:lnTo>
                  <a:pt x="4600362" y="2527609"/>
                </a:lnTo>
                <a:lnTo>
                  <a:pt x="4600362" y="2531944"/>
                </a:lnTo>
                <a:cubicBezTo>
                  <a:pt x="4600362" y="2618408"/>
                  <a:pt x="4600362" y="2708330"/>
                  <a:pt x="4600362" y="2801850"/>
                </a:cubicBezTo>
                <a:lnTo>
                  <a:pt x="4600362" y="2819096"/>
                </a:lnTo>
                <a:lnTo>
                  <a:pt x="4600362" y="3093336"/>
                </a:lnTo>
                <a:lnTo>
                  <a:pt x="4600362" y="3132994"/>
                </a:lnTo>
                <a:lnTo>
                  <a:pt x="4600362" y="3407235"/>
                </a:lnTo>
                <a:lnTo>
                  <a:pt x="4600362" y="3470134"/>
                </a:lnTo>
                <a:lnTo>
                  <a:pt x="4600362" y="3744374"/>
                </a:lnTo>
                <a:lnTo>
                  <a:pt x="4600362" y="3831345"/>
                </a:lnTo>
                <a:lnTo>
                  <a:pt x="4600362" y="4105585"/>
                </a:lnTo>
                <a:lnTo>
                  <a:pt x="4600362" y="4217458"/>
                </a:lnTo>
                <a:lnTo>
                  <a:pt x="4600362" y="4491698"/>
                </a:lnTo>
                <a:lnTo>
                  <a:pt x="4600362" y="4629302"/>
                </a:lnTo>
                <a:lnTo>
                  <a:pt x="4600362" y="4903542"/>
                </a:lnTo>
                <a:cubicBezTo>
                  <a:pt x="4600362" y="4999652"/>
                  <a:pt x="4504365" y="4999652"/>
                  <a:pt x="4504365" y="4999652"/>
                </a:cubicBezTo>
                <a:cubicBezTo>
                  <a:pt x="4504365" y="4999652"/>
                  <a:pt x="4504365" y="4999652"/>
                  <a:pt x="144766" y="4999652"/>
                </a:cubicBezTo>
                <a:lnTo>
                  <a:pt x="0" y="4999652"/>
                </a:lnTo>
                <a:close/>
              </a:path>
            </a:pathLst>
          </a:custGeom>
          <a:noFill/>
        </p:spPr>
        <p:txBody>
          <a:bodyPr wrap="square" tIns="108000">
            <a:noAutofit/>
          </a:bodyPr>
          <a:lstStyle/>
          <a:p>
            <a:r>
              <a:rPr lang="nl-NL" noProof="0" smtClean="0"/>
              <a:t>Klik op het pictogram als u een afbeelding wilt toevoegen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100043705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1" pos="4308" userDrawn="1">
          <p15:clr>
            <a:srgbClr val="FBAE40"/>
          </p15:clr>
        </p15:guide>
        <p15:guide id="2" pos="4596" userDrawn="1">
          <p15:clr>
            <a:srgbClr val="FBAE40"/>
          </p15:clr>
        </p15:guide>
      </p15:sldGuideLst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Header Oran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Freeform 9"/>
          <p:cNvSpPr>
            <a:spLocks noChangeAspect="1"/>
          </p:cNvSpPr>
          <p:nvPr userDrawn="1"/>
        </p:nvSpPr>
        <p:spPr bwMode="gray">
          <a:xfrm>
            <a:off x="0" y="1695450"/>
            <a:ext cx="9222525" cy="2382290"/>
          </a:xfrm>
          <a:custGeom>
            <a:avLst/>
            <a:gdLst>
              <a:gd name="T0" fmla="*/ 0 w 2680"/>
              <a:gd name="T1" fmla="*/ 560 h 560"/>
              <a:gd name="T2" fmla="*/ 2648 w 2680"/>
              <a:gd name="T3" fmla="*/ 560 h 560"/>
              <a:gd name="T4" fmla="*/ 2680 w 2680"/>
              <a:gd name="T5" fmla="*/ 528 h 560"/>
              <a:gd name="T6" fmla="*/ 2680 w 2680"/>
              <a:gd name="T7" fmla="*/ 32 h 560"/>
              <a:gd name="T8" fmla="*/ 2648 w 2680"/>
              <a:gd name="T9" fmla="*/ 0 h 560"/>
              <a:gd name="T10" fmla="*/ 0 w 2680"/>
              <a:gd name="T11" fmla="*/ 0 h 5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2680" h="560">
                <a:moveTo>
                  <a:pt x="0" y="560"/>
                </a:moveTo>
                <a:cubicBezTo>
                  <a:pt x="2648" y="560"/>
                  <a:pt x="2648" y="560"/>
                  <a:pt x="2648" y="560"/>
                </a:cubicBezTo>
                <a:cubicBezTo>
                  <a:pt x="2648" y="560"/>
                  <a:pt x="2680" y="560"/>
                  <a:pt x="2680" y="528"/>
                </a:cubicBezTo>
                <a:cubicBezTo>
                  <a:pt x="2680" y="32"/>
                  <a:pt x="2680" y="32"/>
                  <a:pt x="2680" y="32"/>
                </a:cubicBezTo>
                <a:cubicBezTo>
                  <a:pt x="2680" y="32"/>
                  <a:pt x="2680" y="0"/>
                  <a:pt x="2648" y="0"/>
                </a:cubicBezTo>
                <a:cubicBezTo>
                  <a:pt x="0" y="0"/>
                  <a:pt x="0" y="0"/>
                  <a:pt x="0" y="0"/>
                </a:cubicBezTo>
              </a:path>
            </a:pathLst>
          </a:custGeom>
          <a:solidFill>
            <a:srgbClr val="FF62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>
              <a:solidFill>
                <a:srgbClr val="333333"/>
              </a:solidFill>
            </a:endParaRPr>
          </a:p>
        </p:txBody>
      </p:sp>
      <p:sp>
        <p:nvSpPr>
          <p:cNvPr id="5" name="Title 1"/>
          <p:cNvSpPr>
            <a:spLocks noGrp="1"/>
          </p:cNvSpPr>
          <p:nvPr userDrawn="1">
            <p:ph type="ctrTitle"/>
          </p:nvPr>
        </p:nvSpPr>
        <p:spPr bwMode="gray">
          <a:xfrm>
            <a:off x="684477" y="1695454"/>
            <a:ext cx="8379482" cy="2368549"/>
          </a:xfrm>
        </p:spPr>
        <p:txBody>
          <a:bodyPr anchor="ctr" anchorCtr="0">
            <a:noAutofit/>
          </a:bodyPr>
          <a:lstStyle>
            <a:lvl1pPr algn="l">
              <a:lnSpc>
                <a:spcPts val="4600"/>
              </a:lnSpc>
              <a:defRPr sz="4600">
                <a:solidFill>
                  <a:schemeClr val="bg1"/>
                </a:solidFill>
              </a:defRPr>
            </a:lvl1pPr>
          </a:lstStyle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  <p:grpSp>
        <p:nvGrpSpPr>
          <p:cNvPr id="8" name="Group 7"/>
          <p:cNvGrpSpPr/>
          <p:nvPr userDrawn="1"/>
        </p:nvGrpSpPr>
        <p:grpSpPr bwMode="gray">
          <a:xfrm>
            <a:off x="-1653580" y="0"/>
            <a:ext cx="1521000" cy="4689612"/>
            <a:chOff x="-2581275" y="595116"/>
            <a:chExt cx="1872000" cy="4689612"/>
          </a:xfrm>
        </p:grpSpPr>
        <p:sp>
          <p:nvSpPr>
            <p:cNvPr id="9" name="Rectangle 104"/>
            <p:cNvSpPr>
              <a:spLocks noChangeArrowheads="1"/>
            </p:cNvSpPr>
            <p:nvPr/>
          </p:nvSpPr>
          <p:spPr bwMode="gray">
            <a:xfrm>
              <a:off x="-2581275" y="4276728"/>
              <a:ext cx="1872000" cy="100800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10" name="Rectangle 104"/>
            <p:cNvSpPr>
              <a:spLocks noChangeArrowheads="1"/>
            </p:cNvSpPr>
            <p:nvPr userDrawn="1"/>
          </p:nvSpPr>
          <p:spPr bwMode="gray">
            <a:xfrm>
              <a:off x="-2581275" y="595116"/>
              <a:ext cx="1872000" cy="3672087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11" name="Rectangle 105"/>
            <p:cNvSpPr>
              <a:spLocks noChangeArrowheads="1"/>
            </p:cNvSpPr>
            <p:nvPr userDrawn="1"/>
          </p:nvSpPr>
          <p:spPr bwMode="gray">
            <a:xfrm>
              <a:off x="-2449513" y="1136650"/>
              <a:ext cx="215900" cy="215900"/>
            </a:xfrm>
            <a:prstGeom prst="rect">
              <a:avLst/>
            </a:prstGeom>
            <a:solidFill>
              <a:srgbClr val="FF6200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12" name="Rectangle 106"/>
            <p:cNvSpPr>
              <a:spLocks noChangeArrowheads="1"/>
            </p:cNvSpPr>
            <p:nvPr userDrawn="1"/>
          </p:nvSpPr>
          <p:spPr bwMode="gray">
            <a:xfrm>
              <a:off x="-2159000" y="1146175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Orang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55, 98, 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13" name="Rectangle 107"/>
            <p:cNvSpPr>
              <a:spLocks noChangeArrowheads="1"/>
            </p:cNvSpPr>
            <p:nvPr userDrawn="1"/>
          </p:nvSpPr>
          <p:spPr bwMode="gray">
            <a:xfrm>
              <a:off x="-2449513" y="1571626"/>
              <a:ext cx="215900" cy="215900"/>
            </a:xfrm>
            <a:prstGeom prst="rect">
              <a:avLst/>
            </a:prstGeom>
            <a:solidFill>
              <a:srgbClr val="A8A8A8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15" name="Rectangle 108"/>
            <p:cNvSpPr>
              <a:spLocks noChangeArrowheads="1"/>
            </p:cNvSpPr>
            <p:nvPr userDrawn="1"/>
          </p:nvSpPr>
          <p:spPr bwMode="gray">
            <a:xfrm>
              <a:off x="-2159000" y="15970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ght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68, 168, 16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16" name="Rectangle 109"/>
            <p:cNvSpPr>
              <a:spLocks noChangeArrowheads="1"/>
            </p:cNvSpPr>
            <p:nvPr userDrawn="1"/>
          </p:nvSpPr>
          <p:spPr bwMode="gray">
            <a:xfrm>
              <a:off x="-2449513" y="2058988"/>
              <a:ext cx="215900" cy="215900"/>
            </a:xfrm>
            <a:prstGeom prst="rect">
              <a:avLst/>
            </a:prstGeom>
            <a:solidFill>
              <a:srgbClr val="52519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17" name="Rectangle 110"/>
            <p:cNvSpPr>
              <a:spLocks noChangeArrowheads="1"/>
            </p:cNvSpPr>
            <p:nvPr userDrawn="1"/>
          </p:nvSpPr>
          <p:spPr bwMode="gray">
            <a:xfrm>
              <a:off x="-2159000" y="2068513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Indigo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82, 81, 153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18" name="Rectangle 111"/>
            <p:cNvSpPr>
              <a:spLocks noChangeArrowheads="1"/>
            </p:cNvSpPr>
            <p:nvPr userDrawn="1"/>
          </p:nvSpPr>
          <p:spPr bwMode="gray">
            <a:xfrm>
              <a:off x="-2449513" y="2527301"/>
              <a:ext cx="215900" cy="215900"/>
            </a:xfrm>
            <a:prstGeom prst="rect">
              <a:avLst/>
            </a:prstGeom>
            <a:solidFill>
              <a:srgbClr val="60A6DA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19" name="Rectangle 112"/>
            <p:cNvSpPr>
              <a:spLocks noChangeArrowheads="1"/>
            </p:cNvSpPr>
            <p:nvPr userDrawn="1"/>
          </p:nvSpPr>
          <p:spPr bwMode="gray">
            <a:xfrm>
              <a:off x="-2159000" y="25368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Sk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96, 166, 2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20" name="Rectangle 113"/>
            <p:cNvSpPr>
              <a:spLocks noChangeArrowheads="1"/>
            </p:cNvSpPr>
            <p:nvPr userDrawn="1"/>
          </p:nvSpPr>
          <p:spPr bwMode="gray">
            <a:xfrm>
              <a:off x="-2449513" y="762000"/>
              <a:ext cx="1692000" cy="165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90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200" b="1" smtClean="0">
                  <a:solidFill>
                    <a:srgbClr val="333333"/>
                  </a:solidFill>
                </a:rPr>
                <a:t>Colour Guidelines</a:t>
              </a:r>
              <a:endParaRPr lang="en-GB" altLang="en-US" sz="1200" b="1">
                <a:solidFill>
                  <a:srgbClr val="333333"/>
                </a:solidFill>
              </a:endParaRPr>
            </a:p>
          </p:txBody>
        </p:sp>
        <p:sp>
          <p:nvSpPr>
            <p:cNvPr id="21" name="Rectangle 107"/>
            <p:cNvSpPr>
              <a:spLocks noChangeArrowheads="1"/>
            </p:cNvSpPr>
            <p:nvPr/>
          </p:nvSpPr>
          <p:spPr bwMode="gray">
            <a:xfrm>
              <a:off x="-2449513" y="2962277"/>
              <a:ext cx="215900" cy="215900"/>
            </a:xfrm>
            <a:prstGeom prst="rect">
              <a:avLst/>
            </a:prstGeom>
            <a:solidFill>
              <a:srgbClr val="AB006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22" name="Rectangle 108"/>
            <p:cNvSpPr>
              <a:spLocks noChangeArrowheads="1"/>
            </p:cNvSpPr>
            <p:nvPr/>
          </p:nvSpPr>
          <p:spPr bwMode="gray">
            <a:xfrm>
              <a:off x="-2159000" y="29876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Fuchsia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71, 0, 102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23" name="Rectangle 109"/>
            <p:cNvSpPr>
              <a:spLocks noChangeArrowheads="1"/>
            </p:cNvSpPr>
            <p:nvPr/>
          </p:nvSpPr>
          <p:spPr bwMode="gray">
            <a:xfrm>
              <a:off x="-2449513" y="3449639"/>
              <a:ext cx="215900" cy="215900"/>
            </a:xfrm>
            <a:prstGeom prst="rect">
              <a:avLst/>
            </a:prstGeom>
            <a:solidFill>
              <a:srgbClr val="D0D93C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24" name="Rectangle 110"/>
            <p:cNvSpPr>
              <a:spLocks noChangeArrowheads="1"/>
            </p:cNvSpPr>
            <p:nvPr/>
          </p:nvSpPr>
          <p:spPr bwMode="gray">
            <a:xfrm>
              <a:off x="-2159000" y="3459164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m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08, 217, 6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25" name="Rectangle 111"/>
            <p:cNvSpPr>
              <a:spLocks noChangeArrowheads="1"/>
            </p:cNvSpPr>
            <p:nvPr/>
          </p:nvSpPr>
          <p:spPr bwMode="gray">
            <a:xfrm>
              <a:off x="-2449513" y="3917952"/>
              <a:ext cx="215900" cy="215900"/>
            </a:xfrm>
            <a:prstGeom prst="rect">
              <a:avLst/>
            </a:prstGeom>
            <a:solidFill>
              <a:srgbClr val="01964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26" name="Rectangle 112"/>
            <p:cNvSpPr>
              <a:spLocks noChangeArrowheads="1"/>
            </p:cNvSpPr>
            <p:nvPr/>
          </p:nvSpPr>
          <p:spPr bwMode="gray">
            <a:xfrm>
              <a:off x="-2159000" y="39274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eaf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2, 150, 8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27" name="Rectangle 109"/>
            <p:cNvSpPr>
              <a:spLocks noChangeArrowheads="1"/>
            </p:cNvSpPr>
            <p:nvPr/>
          </p:nvSpPr>
          <p:spPr bwMode="gray">
            <a:xfrm>
              <a:off x="-2449513" y="4405314"/>
              <a:ext cx="215900" cy="215900"/>
            </a:xfrm>
            <a:prstGeom prst="rect">
              <a:avLst/>
            </a:prstGeom>
            <a:solidFill>
              <a:srgbClr val="76767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28" name="Rectangle 110"/>
            <p:cNvSpPr>
              <a:spLocks noChangeArrowheads="1"/>
            </p:cNvSpPr>
            <p:nvPr/>
          </p:nvSpPr>
          <p:spPr bwMode="gray">
            <a:xfrm>
              <a:off x="-2159000" y="4414839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Mid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18, 118, 1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29" name="Rectangle 111"/>
            <p:cNvSpPr>
              <a:spLocks noChangeArrowheads="1"/>
            </p:cNvSpPr>
            <p:nvPr/>
          </p:nvSpPr>
          <p:spPr bwMode="gray">
            <a:xfrm>
              <a:off x="-2449513" y="4873627"/>
              <a:ext cx="215900" cy="215900"/>
            </a:xfrm>
            <a:prstGeom prst="rect">
              <a:avLst/>
            </a:prstGeom>
            <a:solidFill>
              <a:srgbClr val="333333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30" name="Rectangle 112"/>
            <p:cNvSpPr>
              <a:spLocks noChangeArrowheads="1"/>
            </p:cNvSpPr>
            <p:nvPr/>
          </p:nvSpPr>
          <p:spPr bwMode="gray">
            <a:xfrm>
              <a:off x="-2159000" y="4883152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Text Colour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1, 51, 5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</p:grpSp>
      <p:pic>
        <p:nvPicPr>
          <p:cNvPr id="31" name="Picture 30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466554" y="4402733"/>
            <a:ext cx="125761" cy="138908"/>
          </a:xfrm>
          <a:prstGeom prst="rect">
            <a:avLst/>
          </a:prstGeom>
        </p:spPr>
      </p:pic>
      <p:pic>
        <p:nvPicPr>
          <p:cNvPr id="40" name="Picture 39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12789" y="6358072"/>
            <a:ext cx="961391" cy="2946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4411670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Header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Picture Placeholder 37"/>
          <p:cNvSpPr>
            <a:spLocks noGrp="1"/>
          </p:cNvSpPr>
          <p:nvPr>
            <p:ph type="pic" sz="quarter" idx="16"/>
          </p:nvPr>
        </p:nvSpPr>
        <p:spPr bwMode="gray">
          <a:xfrm>
            <a:off x="566241" y="1696718"/>
            <a:ext cx="9099675" cy="4504080"/>
          </a:xfrm>
          <a:custGeom>
            <a:avLst/>
            <a:gdLst>
              <a:gd name="connsiteX0" fmla="*/ 95997 w 11199600"/>
              <a:gd name="connsiteY0" fmla="*/ 0 h 4504080"/>
              <a:gd name="connsiteX1" fmla="*/ 11103603 w 11199600"/>
              <a:gd name="connsiteY1" fmla="*/ 0 h 4504080"/>
              <a:gd name="connsiteX2" fmla="*/ 11199600 w 11199600"/>
              <a:gd name="connsiteY2" fmla="*/ 96110 h 4504080"/>
              <a:gd name="connsiteX3" fmla="*/ 11199600 w 11199600"/>
              <a:gd name="connsiteY3" fmla="*/ 335165 h 4504080"/>
              <a:gd name="connsiteX4" fmla="*/ 11199600 w 11199600"/>
              <a:gd name="connsiteY4" fmla="*/ 370350 h 4504080"/>
              <a:gd name="connsiteX5" fmla="*/ 11199600 w 11199600"/>
              <a:gd name="connsiteY5" fmla="*/ 379204 h 4504080"/>
              <a:gd name="connsiteX6" fmla="*/ 11199600 w 11199600"/>
              <a:gd name="connsiteY6" fmla="*/ 400048 h 4504080"/>
              <a:gd name="connsiteX7" fmla="*/ 11199600 w 11199600"/>
              <a:gd name="connsiteY7" fmla="*/ 400232 h 4504080"/>
              <a:gd name="connsiteX8" fmla="*/ 11199600 w 11199600"/>
              <a:gd name="connsiteY8" fmla="*/ 471202 h 4504080"/>
              <a:gd name="connsiteX9" fmla="*/ 11199600 w 11199600"/>
              <a:gd name="connsiteY9" fmla="*/ 475721 h 4504080"/>
              <a:gd name="connsiteX10" fmla="*/ 11199600 w 11199600"/>
              <a:gd name="connsiteY10" fmla="*/ 508692 h 4504080"/>
              <a:gd name="connsiteX11" fmla="*/ 11199600 w 11199600"/>
              <a:gd name="connsiteY11" fmla="*/ 554484 h 4504080"/>
              <a:gd name="connsiteX12" fmla="*/ 11199600 w 11199600"/>
              <a:gd name="connsiteY12" fmla="*/ 563015 h 4504080"/>
              <a:gd name="connsiteX13" fmla="*/ 11199600 w 11199600"/>
              <a:gd name="connsiteY13" fmla="*/ 609405 h 4504080"/>
              <a:gd name="connsiteX14" fmla="*/ 11199600 w 11199600"/>
              <a:gd name="connsiteY14" fmla="*/ 662759 h 4504080"/>
              <a:gd name="connsiteX15" fmla="*/ 11199600 w 11199600"/>
              <a:gd name="connsiteY15" fmla="*/ 674288 h 4504080"/>
              <a:gd name="connsiteX16" fmla="*/ 11199600 w 11199600"/>
              <a:gd name="connsiteY16" fmla="*/ 749961 h 4504080"/>
              <a:gd name="connsiteX17" fmla="*/ 11199600 w 11199600"/>
              <a:gd name="connsiteY17" fmla="*/ 775785 h 4504080"/>
              <a:gd name="connsiteX18" fmla="*/ 11199600 w 11199600"/>
              <a:gd name="connsiteY18" fmla="*/ 837255 h 4504080"/>
              <a:gd name="connsiteX19" fmla="*/ 11199600 w 11199600"/>
              <a:gd name="connsiteY19" fmla="*/ 902921 h 4504080"/>
              <a:gd name="connsiteX20" fmla="*/ 11199600 w 11199600"/>
              <a:gd name="connsiteY20" fmla="*/ 936999 h 4504080"/>
              <a:gd name="connsiteX21" fmla="*/ 11199600 w 11199600"/>
              <a:gd name="connsiteY21" fmla="*/ 1044999 h 4504080"/>
              <a:gd name="connsiteX22" fmla="*/ 11199600 w 11199600"/>
              <a:gd name="connsiteY22" fmla="*/ 1050025 h 4504080"/>
              <a:gd name="connsiteX23" fmla="*/ 11199600 w 11199600"/>
              <a:gd name="connsiteY23" fmla="*/ 1177161 h 4504080"/>
              <a:gd name="connsiteX24" fmla="*/ 11199600 w 11199600"/>
              <a:gd name="connsiteY24" fmla="*/ 1202847 h 4504080"/>
              <a:gd name="connsiteX25" fmla="*/ 11199600 w 11199600"/>
              <a:gd name="connsiteY25" fmla="*/ 1319239 h 4504080"/>
              <a:gd name="connsiteX26" fmla="*/ 11199600 w 11199600"/>
              <a:gd name="connsiteY26" fmla="*/ 1377296 h 4504080"/>
              <a:gd name="connsiteX27" fmla="*/ 11199600 w 11199600"/>
              <a:gd name="connsiteY27" fmla="*/ 1477087 h 4504080"/>
              <a:gd name="connsiteX28" fmla="*/ 11199600 w 11199600"/>
              <a:gd name="connsiteY28" fmla="*/ 1569177 h 4504080"/>
              <a:gd name="connsiteX29" fmla="*/ 11199600 w 11199600"/>
              <a:gd name="connsiteY29" fmla="*/ 1626118 h 4504080"/>
              <a:gd name="connsiteX30" fmla="*/ 11199600 w 11199600"/>
              <a:gd name="connsiteY30" fmla="*/ 1651536 h 4504080"/>
              <a:gd name="connsiteX31" fmla="*/ 11199600 w 11199600"/>
              <a:gd name="connsiteY31" fmla="*/ 1762133 h 4504080"/>
              <a:gd name="connsiteX32" fmla="*/ 11199600 w 11199600"/>
              <a:gd name="connsiteY32" fmla="*/ 1779318 h 4504080"/>
              <a:gd name="connsiteX33" fmla="*/ 11199600 w 11199600"/>
              <a:gd name="connsiteY33" fmla="*/ 1787219 h 4504080"/>
              <a:gd name="connsiteX34" fmla="*/ 11199600 w 11199600"/>
              <a:gd name="connsiteY34" fmla="*/ 1843417 h 4504080"/>
              <a:gd name="connsiteX35" fmla="*/ 11199600 w 11199600"/>
              <a:gd name="connsiteY35" fmla="*/ 1984894 h 4504080"/>
              <a:gd name="connsiteX36" fmla="*/ 11199600 w 11199600"/>
              <a:gd name="connsiteY36" fmla="*/ 2032038 h 4504080"/>
              <a:gd name="connsiteX37" fmla="*/ 11199600 w 11199600"/>
              <a:gd name="connsiteY37" fmla="*/ 2036373 h 4504080"/>
              <a:gd name="connsiteX38" fmla="*/ 11199600 w 11199600"/>
              <a:gd name="connsiteY38" fmla="*/ 2306279 h 4504080"/>
              <a:gd name="connsiteX39" fmla="*/ 11199600 w 11199600"/>
              <a:gd name="connsiteY39" fmla="*/ 2323525 h 4504080"/>
              <a:gd name="connsiteX40" fmla="*/ 11199600 w 11199600"/>
              <a:gd name="connsiteY40" fmla="*/ 2597765 h 4504080"/>
              <a:gd name="connsiteX41" fmla="*/ 11199600 w 11199600"/>
              <a:gd name="connsiteY41" fmla="*/ 2637423 h 4504080"/>
              <a:gd name="connsiteX42" fmla="*/ 11199600 w 11199600"/>
              <a:gd name="connsiteY42" fmla="*/ 2911664 h 4504080"/>
              <a:gd name="connsiteX43" fmla="*/ 11199600 w 11199600"/>
              <a:gd name="connsiteY43" fmla="*/ 2974563 h 4504080"/>
              <a:gd name="connsiteX44" fmla="*/ 11199600 w 11199600"/>
              <a:gd name="connsiteY44" fmla="*/ 3248803 h 4504080"/>
              <a:gd name="connsiteX45" fmla="*/ 11199600 w 11199600"/>
              <a:gd name="connsiteY45" fmla="*/ 3335774 h 4504080"/>
              <a:gd name="connsiteX46" fmla="*/ 11199600 w 11199600"/>
              <a:gd name="connsiteY46" fmla="*/ 3610014 h 4504080"/>
              <a:gd name="connsiteX47" fmla="*/ 11199600 w 11199600"/>
              <a:gd name="connsiteY47" fmla="*/ 3721887 h 4504080"/>
              <a:gd name="connsiteX48" fmla="*/ 11199600 w 11199600"/>
              <a:gd name="connsiteY48" fmla="*/ 3996127 h 4504080"/>
              <a:gd name="connsiteX49" fmla="*/ 11199600 w 11199600"/>
              <a:gd name="connsiteY49" fmla="*/ 4133731 h 4504080"/>
              <a:gd name="connsiteX50" fmla="*/ 11199600 w 11199600"/>
              <a:gd name="connsiteY50" fmla="*/ 4407971 h 4504080"/>
              <a:gd name="connsiteX51" fmla="*/ 11118603 w 11199600"/>
              <a:gd name="connsiteY51" fmla="*/ 4502580 h 4504080"/>
              <a:gd name="connsiteX52" fmla="*/ 11103613 w 11199600"/>
              <a:gd name="connsiteY52" fmla="*/ 4504080 h 4504080"/>
              <a:gd name="connsiteX53" fmla="*/ 95989 w 11199600"/>
              <a:gd name="connsiteY53" fmla="*/ 4504080 h 4504080"/>
              <a:gd name="connsiteX54" fmla="*/ 64311 w 11199600"/>
              <a:gd name="connsiteY54" fmla="*/ 4499952 h 4504080"/>
              <a:gd name="connsiteX55" fmla="*/ 0 w 11199600"/>
              <a:gd name="connsiteY55" fmla="*/ 4407971 h 4504080"/>
              <a:gd name="connsiteX56" fmla="*/ 0 w 11199600"/>
              <a:gd name="connsiteY56" fmla="*/ 4404236 h 4504080"/>
              <a:gd name="connsiteX57" fmla="*/ 0 w 11199600"/>
              <a:gd name="connsiteY57" fmla="*/ 4395365 h 4504080"/>
              <a:gd name="connsiteX58" fmla="*/ 0 w 11199600"/>
              <a:gd name="connsiteY58" fmla="*/ 4378089 h 4504080"/>
              <a:gd name="connsiteX59" fmla="*/ 0 w 11199600"/>
              <a:gd name="connsiteY59" fmla="*/ 4349608 h 4504080"/>
              <a:gd name="connsiteX60" fmla="*/ 0 w 11199600"/>
              <a:gd name="connsiteY60" fmla="*/ 4307120 h 4504080"/>
              <a:gd name="connsiteX61" fmla="*/ 0 w 11199600"/>
              <a:gd name="connsiteY61" fmla="*/ 4247823 h 4504080"/>
              <a:gd name="connsiteX62" fmla="*/ 0 w 11199600"/>
              <a:gd name="connsiteY62" fmla="*/ 4168916 h 4504080"/>
              <a:gd name="connsiteX63" fmla="*/ 0 w 11199600"/>
              <a:gd name="connsiteY63" fmla="*/ 4133731 h 4504080"/>
              <a:gd name="connsiteX64" fmla="*/ 0 w 11199600"/>
              <a:gd name="connsiteY64" fmla="*/ 4132625 h 4504080"/>
              <a:gd name="connsiteX65" fmla="*/ 0 w 11199600"/>
              <a:gd name="connsiteY65" fmla="*/ 4124877 h 4504080"/>
              <a:gd name="connsiteX66" fmla="*/ 0 w 11199600"/>
              <a:gd name="connsiteY66" fmla="*/ 4104034 h 4504080"/>
              <a:gd name="connsiteX67" fmla="*/ 0 w 11199600"/>
              <a:gd name="connsiteY67" fmla="*/ 4103849 h 4504080"/>
              <a:gd name="connsiteX68" fmla="*/ 0 w 11199600"/>
              <a:gd name="connsiteY68" fmla="*/ 4062900 h 4504080"/>
              <a:gd name="connsiteX69" fmla="*/ 0 w 11199600"/>
              <a:gd name="connsiteY69" fmla="*/ 4032880 h 4504080"/>
              <a:gd name="connsiteX70" fmla="*/ 0 w 11199600"/>
              <a:gd name="connsiteY70" fmla="*/ 4028361 h 4504080"/>
              <a:gd name="connsiteX71" fmla="*/ 0 w 11199600"/>
              <a:gd name="connsiteY71" fmla="*/ 3995389 h 4504080"/>
              <a:gd name="connsiteX72" fmla="*/ 0 w 11199600"/>
              <a:gd name="connsiteY72" fmla="*/ 3949598 h 4504080"/>
              <a:gd name="connsiteX73" fmla="*/ 0 w 11199600"/>
              <a:gd name="connsiteY73" fmla="*/ 3941067 h 4504080"/>
              <a:gd name="connsiteX74" fmla="*/ 0 w 11199600"/>
              <a:gd name="connsiteY74" fmla="*/ 3894676 h 4504080"/>
              <a:gd name="connsiteX75" fmla="*/ 0 w 11199600"/>
              <a:gd name="connsiteY75" fmla="*/ 3841322 h 4504080"/>
              <a:gd name="connsiteX76" fmla="*/ 0 w 11199600"/>
              <a:gd name="connsiteY76" fmla="*/ 3829794 h 4504080"/>
              <a:gd name="connsiteX77" fmla="*/ 0 w 11199600"/>
              <a:gd name="connsiteY77" fmla="*/ 3754121 h 4504080"/>
              <a:gd name="connsiteX78" fmla="*/ 0 w 11199600"/>
              <a:gd name="connsiteY78" fmla="*/ 3728297 h 4504080"/>
              <a:gd name="connsiteX79" fmla="*/ 0 w 11199600"/>
              <a:gd name="connsiteY79" fmla="*/ 3666827 h 4504080"/>
              <a:gd name="connsiteX80" fmla="*/ 0 w 11199600"/>
              <a:gd name="connsiteY80" fmla="*/ 3601160 h 4504080"/>
              <a:gd name="connsiteX81" fmla="*/ 0 w 11199600"/>
              <a:gd name="connsiteY81" fmla="*/ 3567082 h 4504080"/>
              <a:gd name="connsiteX82" fmla="*/ 0 w 11199600"/>
              <a:gd name="connsiteY82" fmla="*/ 3459083 h 4504080"/>
              <a:gd name="connsiteX83" fmla="*/ 0 w 11199600"/>
              <a:gd name="connsiteY83" fmla="*/ 3454057 h 4504080"/>
              <a:gd name="connsiteX84" fmla="*/ 0 w 11199600"/>
              <a:gd name="connsiteY84" fmla="*/ 3326920 h 4504080"/>
              <a:gd name="connsiteX85" fmla="*/ 0 w 11199600"/>
              <a:gd name="connsiteY85" fmla="*/ 3301235 h 4504080"/>
              <a:gd name="connsiteX86" fmla="*/ 0 w 11199600"/>
              <a:gd name="connsiteY86" fmla="*/ 3184843 h 4504080"/>
              <a:gd name="connsiteX87" fmla="*/ 0 w 11199600"/>
              <a:gd name="connsiteY87" fmla="*/ 3126785 h 4504080"/>
              <a:gd name="connsiteX88" fmla="*/ 0 w 11199600"/>
              <a:gd name="connsiteY88" fmla="*/ 3026995 h 4504080"/>
              <a:gd name="connsiteX89" fmla="*/ 0 w 11199600"/>
              <a:gd name="connsiteY89" fmla="*/ 2934905 h 4504080"/>
              <a:gd name="connsiteX90" fmla="*/ 0 w 11199600"/>
              <a:gd name="connsiteY90" fmla="*/ 2852545 h 4504080"/>
              <a:gd name="connsiteX91" fmla="*/ 0 w 11199600"/>
              <a:gd name="connsiteY91" fmla="*/ 2724763 h 4504080"/>
              <a:gd name="connsiteX92" fmla="*/ 0 w 11199600"/>
              <a:gd name="connsiteY92" fmla="*/ 2660665 h 4504080"/>
              <a:gd name="connsiteX93" fmla="*/ 0 w 11199600"/>
              <a:gd name="connsiteY93" fmla="*/ 2495530 h 4504080"/>
              <a:gd name="connsiteX94" fmla="*/ 0 w 11199600"/>
              <a:gd name="connsiteY94" fmla="*/ 2450523 h 4504080"/>
              <a:gd name="connsiteX95" fmla="*/ 0 w 11199600"/>
              <a:gd name="connsiteY95" fmla="*/ 2246376 h 4504080"/>
              <a:gd name="connsiteX96" fmla="*/ 0 w 11199600"/>
              <a:gd name="connsiteY96" fmla="*/ 2221290 h 4504080"/>
              <a:gd name="connsiteX97" fmla="*/ 0 w 11199600"/>
              <a:gd name="connsiteY97" fmla="*/ 1984894 h 4504080"/>
              <a:gd name="connsiteX98" fmla="*/ 0 w 11199600"/>
              <a:gd name="connsiteY98" fmla="*/ 1976471 h 4504080"/>
              <a:gd name="connsiteX99" fmla="*/ 0 w 11199600"/>
              <a:gd name="connsiteY99" fmla="*/ 1972136 h 4504080"/>
              <a:gd name="connsiteX100" fmla="*/ 0 w 11199600"/>
              <a:gd name="connsiteY100" fmla="*/ 1906316 h 4504080"/>
              <a:gd name="connsiteX101" fmla="*/ 0 w 11199600"/>
              <a:gd name="connsiteY101" fmla="*/ 1866658 h 4504080"/>
              <a:gd name="connsiteX102" fmla="*/ 0 w 11199600"/>
              <a:gd name="connsiteY102" fmla="*/ 1702231 h 4504080"/>
              <a:gd name="connsiteX103" fmla="*/ 0 w 11199600"/>
              <a:gd name="connsiteY103" fmla="*/ 1684984 h 4504080"/>
              <a:gd name="connsiteX104" fmla="*/ 0 w 11199600"/>
              <a:gd name="connsiteY104" fmla="*/ 1626118 h 4504080"/>
              <a:gd name="connsiteX105" fmla="*/ 0 w 11199600"/>
              <a:gd name="connsiteY105" fmla="*/ 1592418 h 4504080"/>
              <a:gd name="connsiteX106" fmla="*/ 0 w 11199600"/>
              <a:gd name="connsiteY106" fmla="*/ 1529519 h 4504080"/>
              <a:gd name="connsiteX107" fmla="*/ 0 w 11199600"/>
              <a:gd name="connsiteY107" fmla="*/ 1255278 h 4504080"/>
              <a:gd name="connsiteX108" fmla="*/ 0 w 11199600"/>
              <a:gd name="connsiteY108" fmla="*/ 1168307 h 4504080"/>
              <a:gd name="connsiteX109" fmla="*/ 0 w 11199600"/>
              <a:gd name="connsiteY109" fmla="*/ 894067 h 4504080"/>
              <a:gd name="connsiteX110" fmla="*/ 0 w 11199600"/>
              <a:gd name="connsiteY110" fmla="*/ 782195 h 4504080"/>
              <a:gd name="connsiteX111" fmla="*/ 0 w 11199600"/>
              <a:gd name="connsiteY111" fmla="*/ 507955 h 4504080"/>
              <a:gd name="connsiteX112" fmla="*/ 0 w 11199600"/>
              <a:gd name="connsiteY112" fmla="*/ 370350 h 4504080"/>
              <a:gd name="connsiteX113" fmla="*/ 0 w 11199600"/>
              <a:gd name="connsiteY113" fmla="*/ 96110 h 4504080"/>
              <a:gd name="connsiteX114" fmla="*/ 95997 w 11199600"/>
              <a:gd name="connsiteY114" fmla="*/ 0 h 45040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</a:cxnLst>
            <a:rect l="l" t="t" r="r" b="b"/>
            <a:pathLst>
              <a:path w="11199600" h="4504080">
                <a:moveTo>
                  <a:pt x="95997" y="0"/>
                </a:moveTo>
                <a:lnTo>
                  <a:pt x="11103603" y="0"/>
                </a:lnTo>
                <a:cubicBezTo>
                  <a:pt x="11199600" y="0"/>
                  <a:pt x="11199600" y="96110"/>
                  <a:pt x="11199600" y="96110"/>
                </a:cubicBezTo>
                <a:cubicBezTo>
                  <a:pt x="11199600" y="96110"/>
                  <a:pt x="11199600" y="96110"/>
                  <a:pt x="11199600" y="335165"/>
                </a:cubicBezTo>
                <a:lnTo>
                  <a:pt x="11199600" y="370350"/>
                </a:lnTo>
                <a:cubicBezTo>
                  <a:pt x="11199600" y="370350"/>
                  <a:pt x="11199600" y="370350"/>
                  <a:pt x="11199600" y="379204"/>
                </a:cubicBezTo>
                <a:lnTo>
                  <a:pt x="11199600" y="400048"/>
                </a:lnTo>
                <a:lnTo>
                  <a:pt x="11199600" y="400232"/>
                </a:lnTo>
                <a:cubicBezTo>
                  <a:pt x="11199600" y="415173"/>
                  <a:pt x="11199600" y="437585"/>
                  <a:pt x="11199600" y="471202"/>
                </a:cubicBezTo>
                <a:lnTo>
                  <a:pt x="11199600" y="475721"/>
                </a:lnTo>
                <a:lnTo>
                  <a:pt x="11199600" y="508692"/>
                </a:lnTo>
                <a:cubicBezTo>
                  <a:pt x="11199600" y="522527"/>
                  <a:pt x="11199600" y="537744"/>
                  <a:pt x="11199600" y="554484"/>
                </a:cubicBezTo>
                <a:lnTo>
                  <a:pt x="11199600" y="563015"/>
                </a:lnTo>
                <a:lnTo>
                  <a:pt x="11199600" y="609405"/>
                </a:lnTo>
                <a:lnTo>
                  <a:pt x="11199600" y="662759"/>
                </a:lnTo>
                <a:lnTo>
                  <a:pt x="11199600" y="674288"/>
                </a:lnTo>
                <a:cubicBezTo>
                  <a:pt x="11199600" y="697668"/>
                  <a:pt x="11199600" y="722846"/>
                  <a:pt x="11199600" y="749961"/>
                </a:cubicBezTo>
                <a:lnTo>
                  <a:pt x="11199600" y="775785"/>
                </a:lnTo>
                <a:lnTo>
                  <a:pt x="11199600" y="837255"/>
                </a:lnTo>
                <a:lnTo>
                  <a:pt x="11199600" y="902921"/>
                </a:lnTo>
                <a:lnTo>
                  <a:pt x="11199600" y="936999"/>
                </a:lnTo>
                <a:lnTo>
                  <a:pt x="11199600" y="1044999"/>
                </a:lnTo>
                <a:lnTo>
                  <a:pt x="11199600" y="1050025"/>
                </a:lnTo>
                <a:cubicBezTo>
                  <a:pt x="11199600" y="1090006"/>
                  <a:pt x="11199600" y="1132338"/>
                  <a:pt x="11199600" y="1177161"/>
                </a:cubicBezTo>
                <a:lnTo>
                  <a:pt x="11199600" y="1202847"/>
                </a:lnTo>
                <a:lnTo>
                  <a:pt x="11199600" y="1319239"/>
                </a:lnTo>
                <a:lnTo>
                  <a:pt x="11199600" y="1377296"/>
                </a:lnTo>
                <a:lnTo>
                  <a:pt x="11199600" y="1477087"/>
                </a:lnTo>
                <a:lnTo>
                  <a:pt x="11199600" y="1569177"/>
                </a:lnTo>
                <a:lnTo>
                  <a:pt x="11199600" y="1626118"/>
                </a:lnTo>
                <a:lnTo>
                  <a:pt x="11199600" y="1651536"/>
                </a:lnTo>
                <a:lnTo>
                  <a:pt x="11199600" y="1762133"/>
                </a:lnTo>
                <a:lnTo>
                  <a:pt x="11199600" y="1779318"/>
                </a:lnTo>
                <a:lnTo>
                  <a:pt x="11199600" y="1787219"/>
                </a:lnTo>
                <a:lnTo>
                  <a:pt x="11199600" y="1843417"/>
                </a:lnTo>
                <a:lnTo>
                  <a:pt x="11199600" y="1984894"/>
                </a:lnTo>
                <a:lnTo>
                  <a:pt x="11199600" y="2032038"/>
                </a:lnTo>
                <a:lnTo>
                  <a:pt x="11199600" y="2036373"/>
                </a:lnTo>
                <a:cubicBezTo>
                  <a:pt x="11199600" y="2122837"/>
                  <a:pt x="11199600" y="2212759"/>
                  <a:pt x="11199600" y="2306279"/>
                </a:cubicBezTo>
                <a:lnTo>
                  <a:pt x="11199600" y="2323525"/>
                </a:lnTo>
                <a:lnTo>
                  <a:pt x="11199600" y="2597765"/>
                </a:lnTo>
                <a:lnTo>
                  <a:pt x="11199600" y="2637423"/>
                </a:lnTo>
                <a:lnTo>
                  <a:pt x="11199600" y="2911664"/>
                </a:lnTo>
                <a:lnTo>
                  <a:pt x="11199600" y="2974563"/>
                </a:lnTo>
                <a:lnTo>
                  <a:pt x="11199600" y="3248803"/>
                </a:lnTo>
                <a:lnTo>
                  <a:pt x="11199600" y="3335774"/>
                </a:lnTo>
                <a:lnTo>
                  <a:pt x="11199600" y="3610014"/>
                </a:lnTo>
                <a:lnTo>
                  <a:pt x="11199600" y="3721887"/>
                </a:lnTo>
                <a:lnTo>
                  <a:pt x="11199600" y="3996127"/>
                </a:lnTo>
                <a:lnTo>
                  <a:pt x="11199600" y="4133731"/>
                </a:lnTo>
                <a:lnTo>
                  <a:pt x="11199600" y="4407971"/>
                </a:lnTo>
                <a:cubicBezTo>
                  <a:pt x="11199600" y="4480054"/>
                  <a:pt x="11145602" y="4498074"/>
                  <a:pt x="11118603" y="4502580"/>
                </a:cubicBezTo>
                <a:lnTo>
                  <a:pt x="11103613" y="4504080"/>
                </a:lnTo>
                <a:lnTo>
                  <a:pt x="95989" y="4504080"/>
                </a:lnTo>
                <a:lnTo>
                  <a:pt x="64311" y="4499952"/>
                </a:lnTo>
                <a:cubicBezTo>
                  <a:pt x="0" y="4481555"/>
                  <a:pt x="0" y="4407971"/>
                  <a:pt x="0" y="4407971"/>
                </a:cubicBezTo>
                <a:lnTo>
                  <a:pt x="0" y="4404236"/>
                </a:lnTo>
                <a:lnTo>
                  <a:pt x="0" y="4395365"/>
                </a:lnTo>
                <a:lnTo>
                  <a:pt x="0" y="4378089"/>
                </a:lnTo>
                <a:lnTo>
                  <a:pt x="0" y="4349608"/>
                </a:lnTo>
                <a:lnTo>
                  <a:pt x="0" y="4307120"/>
                </a:lnTo>
                <a:lnTo>
                  <a:pt x="0" y="4247823"/>
                </a:lnTo>
                <a:lnTo>
                  <a:pt x="0" y="4168916"/>
                </a:lnTo>
                <a:lnTo>
                  <a:pt x="0" y="4133731"/>
                </a:lnTo>
                <a:lnTo>
                  <a:pt x="0" y="4132625"/>
                </a:lnTo>
                <a:lnTo>
                  <a:pt x="0" y="4124877"/>
                </a:lnTo>
                <a:lnTo>
                  <a:pt x="0" y="4104034"/>
                </a:lnTo>
                <a:lnTo>
                  <a:pt x="0" y="4103849"/>
                </a:lnTo>
                <a:lnTo>
                  <a:pt x="0" y="4062900"/>
                </a:lnTo>
                <a:lnTo>
                  <a:pt x="0" y="4032880"/>
                </a:lnTo>
                <a:lnTo>
                  <a:pt x="0" y="4028361"/>
                </a:lnTo>
                <a:lnTo>
                  <a:pt x="0" y="3995389"/>
                </a:lnTo>
                <a:lnTo>
                  <a:pt x="0" y="3949598"/>
                </a:lnTo>
                <a:lnTo>
                  <a:pt x="0" y="3941067"/>
                </a:lnTo>
                <a:lnTo>
                  <a:pt x="0" y="3894676"/>
                </a:lnTo>
                <a:lnTo>
                  <a:pt x="0" y="3841322"/>
                </a:lnTo>
                <a:lnTo>
                  <a:pt x="0" y="3829794"/>
                </a:lnTo>
                <a:lnTo>
                  <a:pt x="0" y="3754121"/>
                </a:lnTo>
                <a:lnTo>
                  <a:pt x="0" y="3728297"/>
                </a:lnTo>
                <a:lnTo>
                  <a:pt x="0" y="3666827"/>
                </a:lnTo>
                <a:lnTo>
                  <a:pt x="0" y="3601160"/>
                </a:lnTo>
                <a:lnTo>
                  <a:pt x="0" y="3567082"/>
                </a:lnTo>
                <a:lnTo>
                  <a:pt x="0" y="3459083"/>
                </a:lnTo>
                <a:lnTo>
                  <a:pt x="0" y="3454057"/>
                </a:lnTo>
                <a:lnTo>
                  <a:pt x="0" y="3326920"/>
                </a:lnTo>
                <a:lnTo>
                  <a:pt x="0" y="3301235"/>
                </a:lnTo>
                <a:lnTo>
                  <a:pt x="0" y="3184843"/>
                </a:lnTo>
                <a:lnTo>
                  <a:pt x="0" y="3126785"/>
                </a:lnTo>
                <a:lnTo>
                  <a:pt x="0" y="3026995"/>
                </a:lnTo>
                <a:lnTo>
                  <a:pt x="0" y="2934905"/>
                </a:lnTo>
                <a:lnTo>
                  <a:pt x="0" y="2852545"/>
                </a:lnTo>
                <a:lnTo>
                  <a:pt x="0" y="2724763"/>
                </a:lnTo>
                <a:lnTo>
                  <a:pt x="0" y="2660665"/>
                </a:lnTo>
                <a:lnTo>
                  <a:pt x="0" y="2495530"/>
                </a:lnTo>
                <a:lnTo>
                  <a:pt x="0" y="2450523"/>
                </a:lnTo>
                <a:lnTo>
                  <a:pt x="0" y="2246376"/>
                </a:lnTo>
                <a:lnTo>
                  <a:pt x="0" y="2221290"/>
                </a:lnTo>
                <a:lnTo>
                  <a:pt x="0" y="1984894"/>
                </a:lnTo>
                <a:lnTo>
                  <a:pt x="0" y="1976471"/>
                </a:lnTo>
                <a:lnTo>
                  <a:pt x="0" y="1972136"/>
                </a:lnTo>
                <a:lnTo>
                  <a:pt x="0" y="1906316"/>
                </a:lnTo>
                <a:lnTo>
                  <a:pt x="0" y="1866658"/>
                </a:lnTo>
                <a:lnTo>
                  <a:pt x="0" y="1702231"/>
                </a:lnTo>
                <a:lnTo>
                  <a:pt x="0" y="1684984"/>
                </a:lnTo>
                <a:lnTo>
                  <a:pt x="0" y="1626118"/>
                </a:lnTo>
                <a:lnTo>
                  <a:pt x="0" y="1592418"/>
                </a:lnTo>
                <a:lnTo>
                  <a:pt x="0" y="1529519"/>
                </a:lnTo>
                <a:lnTo>
                  <a:pt x="0" y="1255278"/>
                </a:lnTo>
                <a:lnTo>
                  <a:pt x="0" y="1168307"/>
                </a:lnTo>
                <a:lnTo>
                  <a:pt x="0" y="894067"/>
                </a:lnTo>
                <a:lnTo>
                  <a:pt x="0" y="782195"/>
                </a:lnTo>
                <a:lnTo>
                  <a:pt x="0" y="507955"/>
                </a:lnTo>
                <a:lnTo>
                  <a:pt x="0" y="370350"/>
                </a:lnTo>
                <a:lnTo>
                  <a:pt x="0" y="96110"/>
                </a:lnTo>
                <a:cubicBezTo>
                  <a:pt x="0" y="0"/>
                  <a:pt x="95997" y="0"/>
                  <a:pt x="95997" y="0"/>
                </a:cubicBezTo>
                <a:close/>
              </a:path>
            </a:pathLst>
          </a:custGeom>
          <a:solidFill>
            <a:schemeClr val="bg1">
              <a:lumMod val="95000"/>
              <a:alpha val="10000"/>
            </a:schemeClr>
          </a:solidFill>
        </p:spPr>
        <p:txBody>
          <a:bodyPr wrap="square" lIns="3240000" tIns="36000" rIns="36000" bIns="36000" anchor="ctr" anchorCtr="0">
            <a:noAutofit/>
          </a:bodyPr>
          <a:lstStyle>
            <a:lvl1pPr algn="ctr">
              <a:defRPr sz="1400" b="0"/>
            </a:lvl1pPr>
          </a:lstStyle>
          <a:p>
            <a:r>
              <a:rPr lang="nl-NL" smtClean="0"/>
              <a:t>Klik op het pictogram als u een afbeelding wilt toevoegen</a:t>
            </a:r>
            <a:endParaRPr lang="en-GB" dirty="0"/>
          </a:p>
        </p:txBody>
      </p:sp>
      <p:sp>
        <p:nvSpPr>
          <p:cNvPr id="6" name="Title Placeholder 1"/>
          <p:cNvSpPr>
            <a:spLocks noGrp="1"/>
          </p:cNvSpPr>
          <p:nvPr>
            <p:ph type="title" hasCustomPrompt="1"/>
          </p:nvPr>
        </p:nvSpPr>
        <p:spPr bwMode="gray">
          <a:xfrm>
            <a:off x="681038" y="257725"/>
            <a:ext cx="8985697" cy="117981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lnSpc>
                <a:spcPts val="4600"/>
              </a:lnSpc>
              <a:defRPr sz="4600"/>
            </a:lvl1pPr>
          </a:lstStyle>
          <a:p>
            <a:r>
              <a:rPr lang="en-US" noProof="0" smtClean="0"/>
              <a:t>Click to edit </a:t>
            </a:r>
            <a:br>
              <a:rPr lang="en-US" noProof="0" smtClean="0"/>
            </a:br>
            <a:r>
              <a:rPr lang="en-US" noProof="0" smtClean="0"/>
              <a:t>Master title style</a:t>
            </a:r>
            <a:endParaRPr lang="en-GB" noProof="0" dirty="0"/>
          </a:p>
        </p:txBody>
      </p:sp>
      <p:grpSp>
        <p:nvGrpSpPr>
          <p:cNvPr id="8" name="Group 7"/>
          <p:cNvGrpSpPr/>
          <p:nvPr userDrawn="1"/>
        </p:nvGrpSpPr>
        <p:grpSpPr bwMode="gray">
          <a:xfrm>
            <a:off x="-1653580" y="0"/>
            <a:ext cx="1521000" cy="4689612"/>
            <a:chOff x="-2581275" y="595116"/>
            <a:chExt cx="1872000" cy="4689612"/>
          </a:xfrm>
        </p:grpSpPr>
        <p:sp>
          <p:nvSpPr>
            <p:cNvPr id="9" name="Rectangle 104"/>
            <p:cNvSpPr>
              <a:spLocks noChangeArrowheads="1"/>
            </p:cNvSpPr>
            <p:nvPr/>
          </p:nvSpPr>
          <p:spPr bwMode="gray">
            <a:xfrm>
              <a:off x="-2581275" y="4276728"/>
              <a:ext cx="1872000" cy="100800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10" name="Rectangle 104"/>
            <p:cNvSpPr>
              <a:spLocks noChangeArrowheads="1"/>
            </p:cNvSpPr>
            <p:nvPr userDrawn="1"/>
          </p:nvSpPr>
          <p:spPr bwMode="gray">
            <a:xfrm>
              <a:off x="-2581275" y="595116"/>
              <a:ext cx="1872000" cy="3672087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11" name="Rectangle 105"/>
            <p:cNvSpPr>
              <a:spLocks noChangeArrowheads="1"/>
            </p:cNvSpPr>
            <p:nvPr userDrawn="1"/>
          </p:nvSpPr>
          <p:spPr bwMode="gray">
            <a:xfrm>
              <a:off x="-2449513" y="1136650"/>
              <a:ext cx="215900" cy="215900"/>
            </a:xfrm>
            <a:prstGeom prst="rect">
              <a:avLst/>
            </a:prstGeom>
            <a:solidFill>
              <a:srgbClr val="FF6200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12" name="Rectangle 106"/>
            <p:cNvSpPr>
              <a:spLocks noChangeArrowheads="1"/>
            </p:cNvSpPr>
            <p:nvPr userDrawn="1"/>
          </p:nvSpPr>
          <p:spPr bwMode="gray">
            <a:xfrm>
              <a:off x="-2159000" y="1146175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Orang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55, 98, 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13" name="Rectangle 107"/>
            <p:cNvSpPr>
              <a:spLocks noChangeArrowheads="1"/>
            </p:cNvSpPr>
            <p:nvPr userDrawn="1"/>
          </p:nvSpPr>
          <p:spPr bwMode="gray">
            <a:xfrm>
              <a:off x="-2449513" y="1571626"/>
              <a:ext cx="215900" cy="215900"/>
            </a:xfrm>
            <a:prstGeom prst="rect">
              <a:avLst/>
            </a:prstGeom>
            <a:solidFill>
              <a:srgbClr val="A8A8A8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14" name="Rectangle 108"/>
            <p:cNvSpPr>
              <a:spLocks noChangeArrowheads="1"/>
            </p:cNvSpPr>
            <p:nvPr userDrawn="1"/>
          </p:nvSpPr>
          <p:spPr bwMode="gray">
            <a:xfrm>
              <a:off x="-2159000" y="15970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ght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68, 168, 16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15" name="Rectangle 109"/>
            <p:cNvSpPr>
              <a:spLocks noChangeArrowheads="1"/>
            </p:cNvSpPr>
            <p:nvPr userDrawn="1"/>
          </p:nvSpPr>
          <p:spPr bwMode="gray">
            <a:xfrm>
              <a:off x="-2449513" y="2058988"/>
              <a:ext cx="215900" cy="215900"/>
            </a:xfrm>
            <a:prstGeom prst="rect">
              <a:avLst/>
            </a:prstGeom>
            <a:solidFill>
              <a:srgbClr val="52519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16" name="Rectangle 110"/>
            <p:cNvSpPr>
              <a:spLocks noChangeArrowheads="1"/>
            </p:cNvSpPr>
            <p:nvPr userDrawn="1"/>
          </p:nvSpPr>
          <p:spPr bwMode="gray">
            <a:xfrm>
              <a:off x="-2159000" y="2068513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Indigo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82, 81, 153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17" name="Rectangle 111"/>
            <p:cNvSpPr>
              <a:spLocks noChangeArrowheads="1"/>
            </p:cNvSpPr>
            <p:nvPr userDrawn="1"/>
          </p:nvSpPr>
          <p:spPr bwMode="gray">
            <a:xfrm>
              <a:off x="-2449513" y="2527301"/>
              <a:ext cx="215900" cy="215900"/>
            </a:xfrm>
            <a:prstGeom prst="rect">
              <a:avLst/>
            </a:prstGeom>
            <a:solidFill>
              <a:srgbClr val="60A6DA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18" name="Rectangle 112"/>
            <p:cNvSpPr>
              <a:spLocks noChangeArrowheads="1"/>
            </p:cNvSpPr>
            <p:nvPr userDrawn="1"/>
          </p:nvSpPr>
          <p:spPr bwMode="gray">
            <a:xfrm>
              <a:off x="-2159000" y="25368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Sk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96, 166, 2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19" name="Rectangle 113"/>
            <p:cNvSpPr>
              <a:spLocks noChangeArrowheads="1"/>
            </p:cNvSpPr>
            <p:nvPr userDrawn="1"/>
          </p:nvSpPr>
          <p:spPr bwMode="gray">
            <a:xfrm>
              <a:off x="-2449513" y="762000"/>
              <a:ext cx="1692000" cy="165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90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200" b="1" smtClean="0">
                  <a:solidFill>
                    <a:srgbClr val="333333"/>
                  </a:solidFill>
                </a:rPr>
                <a:t>Colour Guidelines</a:t>
              </a:r>
              <a:endParaRPr lang="en-GB" altLang="en-US" sz="1200" b="1">
                <a:solidFill>
                  <a:srgbClr val="333333"/>
                </a:solidFill>
              </a:endParaRPr>
            </a:p>
          </p:txBody>
        </p:sp>
        <p:sp>
          <p:nvSpPr>
            <p:cNvPr id="20" name="Rectangle 107"/>
            <p:cNvSpPr>
              <a:spLocks noChangeArrowheads="1"/>
            </p:cNvSpPr>
            <p:nvPr/>
          </p:nvSpPr>
          <p:spPr bwMode="gray">
            <a:xfrm>
              <a:off x="-2449513" y="2962277"/>
              <a:ext cx="215900" cy="215900"/>
            </a:xfrm>
            <a:prstGeom prst="rect">
              <a:avLst/>
            </a:prstGeom>
            <a:solidFill>
              <a:srgbClr val="AB006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21" name="Rectangle 108"/>
            <p:cNvSpPr>
              <a:spLocks noChangeArrowheads="1"/>
            </p:cNvSpPr>
            <p:nvPr/>
          </p:nvSpPr>
          <p:spPr bwMode="gray">
            <a:xfrm>
              <a:off x="-2159000" y="29876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Fuchsia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71, 0, 102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22" name="Rectangle 109"/>
            <p:cNvSpPr>
              <a:spLocks noChangeArrowheads="1"/>
            </p:cNvSpPr>
            <p:nvPr/>
          </p:nvSpPr>
          <p:spPr bwMode="gray">
            <a:xfrm>
              <a:off x="-2449513" y="3449639"/>
              <a:ext cx="215900" cy="215900"/>
            </a:xfrm>
            <a:prstGeom prst="rect">
              <a:avLst/>
            </a:prstGeom>
            <a:solidFill>
              <a:srgbClr val="D0D93C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23" name="Rectangle 110"/>
            <p:cNvSpPr>
              <a:spLocks noChangeArrowheads="1"/>
            </p:cNvSpPr>
            <p:nvPr/>
          </p:nvSpPr>
          <p:spPr bwMode="gray">
            <a:xfrm>
              <a:off x="-2159000" y="3459164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m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08, 217, 6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24" name="Rectangle 111"/>
            <p:cNvSpPr>
              <a:spLocks noChangeArrowheads="1"/>
            </p:cNvSpPr>
            <p:nvPr/>
          </p:nvSpPr>
          <p:spPr bwMode="gray">
            <a:xfrm>
              <a:off x="-2449513" y="3917952"/>
              <a:ext cx="215900" cy="215900"/>
            </a:xfrm>
            <a:prstGeom prst="rect">
              <a:avLst/>
            </a:prstGeom>
            <a:solidFill>
              <a:srgbClr val="01964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25" name="Rectangle 112"/>
            <p:cNvSpPr>
              <a:spLocks noChangeArrowheads="1"/>
            </p:cNvSpPr>
            <p:nvPr/>
          </p:nvSpPr>
          <p:spPr bwMode="gray">
            <a:xfrm>
              <a:off x="-2159000" y="39274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eaf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2, 150, 8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26" name="Rectangle 109"/>
            <p:cNvSpPr>
              <a:spLocks noChangeArrowheads="1"/>
            </p:cNvSpPr>
            <p:nvPr/>
          </p:nvSpPr>
          <p:spPr bwMode="gray">
            <a:xfrm>
              <a:off x="-2449513" y="4405314"/>
              <a:ext cx="215900" cy="215900"/>
            </a:xfrm>
            <a:prstGeom prst="rect">
              <a:avLst/>
            </a:prstGeom>
            <a:solidFill>
              <a:srgbClr val="76767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27" name="Rectangle 110"/>
            <p:cNvSpPr>
              <a:spLocks noChangeArrowheads="1"/>
            </p:cNvSpPr>
            <p:nvPr/>
          </p:nvSpPr>
          <p:spPr bwMode="gray">
            <a:xfrm>
              <a:off x="-2159000" y="4414839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Mid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18, 118, 1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28" name="Rectangle 111"/>
            <p:cNvSpPr>
              <a:spLocks noChangeArrowheads="1"/>
            </p:cNvSpPr>
            <p:nvPr/>
          </p:nvSpPr>
          <p:spPr bwMode="gray">
            <a:xfrm>
              <a:off x="-2449513" y="4873627"/>
              <a:ext cx="215900" cy="215900"/>
            </a:xfrm>
            <a:prstGeom prst="rect">
              <a:avLst/>
            </a:prstGeom>
            <a:solidFill>
              <a:srgbClr val="333333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29" name="Rectangle 112"/>
            <p:cNvSpPr>
              <a:spLocks noChangeArrowheads="1"/>
            </p:cNvSpPr>
            <p:nvPr/>
          </p:nvSpPr>
          <p:spPr bwMode="gray">
            <a:xfrm>
              <a:off x="-2159000" y="4883152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Text Colour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1, 51, 5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</p:grpSp>
      <p:pic>
        <p:nvPicPr>
          <p:cNvPr id="30" name="Picture 29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466554" y="4402733"/>
            <a:ext cx="125761" cy="138908"/>
          </a:xfrm>
          <a:prstGeom prst="rect">
            <a:avLst/>
          </a:prstGeom>
        </p:spPr>
      </p:pic>
      <p:pic>
        <p:nvPicPr>
          <p:cNvPr id="33" name="Picture 32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12789" y="6358072"/>
            <a:ext cx="961391" cy="2946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0263506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1" pos="302" userDrawn="1">
          <p15:clr>
            <a:srgbClr val="FBAE40"/>
          </p15:clr>
        </p15:guide>
      </p15:sldGuideLst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oud van twe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 bwMode="gray">
          <a:xfrm>
            <a:off x="5099251" y="1278384"/>
            <a:ext cx="4110234" cy="4921200"/>
          </a:xfrm>
        </p:spPr>
        <p:txBody>
          <a:bodyPr>
            <a:noAutofit/>
          </a:bodyPr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9" name="Text Placeholder 2"/>
          <p:cNvSpPr>
            <a:spLocks noGrp="1"/>
          </p:cNvSpPr>
          <p:nvPr>
            <p:ph idx="1"/>
          </p:nvPr>
        </p:nvSpPr>
        <p:spPr bwMode="gray">
          <a:xfrm>
            <a:off x="687030" y="1278384"/>
            <a:ext cx="4109625" cy="49212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687031" y="280736"/>
            <a:ext cx="8522455" cy="854075"/>
          </a:xfrm>
        </p:spPr>
        <p:txBody>
          <a:bodyPr/>
          <a:lstStyle/>
          <a:p>
            <a:r>
              <a:rPr lang="nl-NL" smtClean="0"/>
              <a:t>Klik om de stijl te bewerke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42343495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1" pos="3720" userDrawn="1">
          <p15:clr>
            <a:srgbClr val="FBAE40"/>
          </p15:clr>
        </p15:guide>
        <p15:guide id="2" pos="3948" userDrawn="1">
          <p15:clr>
            <a:srgbClr val="FBAE40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with 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 bwMode="gray">
          <a:xfrm>
            <a:off x="5099251" y="1795636"/>
            <a:ext cx="4110234" cy="4403948"/>
          </a:xfrm>
        </p:spPr>
        <p:txBody>
          <a:bodyPr>
            <a:noAutofit/>
          </a:bodyPr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9" name="Text Placeholder 2"/>
          <p:cNvSpPr>
            <a:spLocks noGrp="1"/>
          </p:cNvSpPr>
          <p:nvPr>
            <p:ph idx="1"/>
          </p:nvPr>
        </p:nvSpPr>
        <p:spPr bwMode="gray">
          <a:xfrm>
            <a:off x="687030" y="1795636"/>
            <a:ext cx="4109625" cy="440394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687031" y="280736"/>
            <a:ext cx="8522455" cy="854075"/>
          </a:xfrm>
        </p:spPr>
        <p:txBody>
          <a:bodyPr/>
          <a:lstStyle/>
          <a:p>
            <a:r>
              <a:rPr lang="nl-NL" smtClean="0"/>
              <a:t>Klik om de stijl te bewerken</a:t>
            </a:r>
            <a:endParaRPr lang="en-GB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2" hasCustomPrompt="1"/>
          </p:nvPr>
        </p:nvSpPr>
        <p:spPr>
          <a:xfrm>
            <a:off x="687029" y="1277985"/>
            <a:ext cx="4111189" cy="436017"/>
          </a:xfrm>
        </p:spPr>
        <p:txBody>
          <a:bodyPr>
            <a:noAutofit/>
          </a:bodyPr>
          <a:lstStyle>
            <a:lvl1pPr>
              <a:lnSpc>
                <a:spcPts val="1700"/>
              </a:lnSpc>
              <a:defRPr sz="15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US" smtClean="0"/>
              <a:t>Click to edit title</a:t>
            </a:r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5098297" y="1277985"/>
            <a:ext cx="4111189" cy="436017"/>
          </a:xfrm>
        </p:spPr>
        <p:txBody>
          <a:bodyPr>
            <a:noAutofit/>
          </a:bodyPr>
          <a:lstStyle>
            <a:lvl1pPr>
              <a:lnSpc>
                <a:spcPts val="1700"/>
              </a:lnSpc>
              <a:defRPr sz="15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US" smtClean="0"/>
              <a:t>Click to edit title</a:t>
            </a:r>
          </a:p>
        </p:txBody>
      </p:sp>
    </p:spTree>
    <p:extLst>
      <p:ext uri="{BB962C8B-B14F-4D97-AF65-F5344CB8AC3E}">
        <p14:creationId xmlns:p14="http://schemas.microsoft.com/office/powerpoint/2010/main" val="2667348565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1" pos="3720">
          <p15:clr>
            <a:srgbClr val="FBAE40"/>
          </p15:clr>
        </p15:guide>
        <p15:guide id="2" pos="3948">
          <p15:clr>
            <a:srgbClr val="FBAE40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with titl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 bwMode="gray">
          <a:xfrm>
            <a:off x="5099251" y="1278000"/>
            <a:ext cx="4110234" cy="4929584"/>
          </a:xfrm>
        </p:spPr>
        <p:txBody>
          <a:bodyPr>
            <a:noAutofit/>
          </a:bodyPr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9" name="Text Placeholder 2"/>
          <p:cNvSpPr>
            <a:spLocks noGrp="1"/>
          </p:cNvSpPr>
          <p:nvPr>
            <p:ph idx="1"/>
          </p:nvPr>
        </p:nvSpPr>
        <p:spPr bwMode="gray">
          <a:xfrm>
            <a:off x="687030" y="1795636"/>
            <a:ext cx="4109625" cy="440394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687031" y="280736"/>
            <a:ext cx="8522455" cy="854075"/>
          </a:xfrm>
        </p:spPr>
        <p:txBody>
          <a:bodyPr/>
          <a:lstStyle/>
          <a:p>
            <a:r>
              <a:rPr lang="nl-NL" smtClean="0"/>
              <a:t>Klik om de stijl te bewerken</a:t>
            </a:r>
            <a:endParaRPr lang="en-GB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2" hasCustomPrompt="1"/>
          </p:nvPr>
        </p:nvSpPr>
        <p:spPr>
          <a:xfrm>
            <a:off x="687029" y="1277985"/>
            <a:ext cx="4111189" cy="436017"/>
          </a:xfrm>
        </p:spPr>
        <p:txBody>
          <a:bodyPr>
            <a:noAutofit/>
          </a:bodyPr>
          <a:lstStyle>
            <a:lvl1pPr>
              <a:lnSpc>
                <a:spcPts val="1700"/>
              </a:lnSpc>
              <a:defRPr sz="15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US" smtClean="0"/>
              <a:t>Click to edit title</a:t>
            </a:r>
          </a:p>
        </p:txBody>
      </p:sp>
    </p:spTree>
    <p:extLst>
      <p:ext uri="{BB962C8B-B14F-4D97-AF65-F5344CB8AC3E}">
        <p14:creationId xmlns:p14="http://schemas.microsoft.com/office/powerpoint/2010/main" val="1285318746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1" pos="3720">
          <p15:clr>
            <a:srgbClr val="FBAE40"/>
          </p15:clr>
        </p15:guide>
        <p15:guide id="2" pos="3948">
          <p15:clr>
            <a:srgbClr val="FBAE40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with titl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 bwMode="gray">
          <a:xfrm>
            <a:off x="5099251" y="1795636"/>
            <a:ext cx="4110234" cy="4403948"/>
          </a:xfrm>
        </p:spPr>
        <p:txBody>
          <a:bodyPr>
            <a:noAutofit/>
          </a:bodyPr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9" name="Text Placeholder 2"/>
          <p:cNvSpPr>
            <a:spLocks noGrp="1"/>
          </p:cNvSpPr>
          <p:nvPr>
            <p:ph idx="1"/>
          </p:nvPr>
        </p:nvSpPr>
        <p:spPr bwMode="gray">
          <a:xfrm>
            <a:off x="687030" y="1278000"/>
            <a:ext cx="4109625" cy="492958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687031" y="280736"/>
            <a:ext cx="8522455" cy="854075"/>
          </a:xfrm>
        </p:spPr>
        <p:txBody>
          <a:bodyPr/>
          <a:lstStyle/>
          <a:p>
            <a:r>
              <a:rPr lang="nl-NL" smtClean="0"/>
              <a:t>Klik om de stijl te bewerken</a:t>
            </a:r>
            <a:endParaRPr lang="en-GB"/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5098297" y="1277985"/>
            <a:ext cx="4111189" cy="436017"/>
          </a:xfrm>
        </p:spPr>
        <p:txBody>
          <a:bodyPr>
            <a:noAutofit/>
          </a:bodyPr>
          <a:lstStyle>
            <a:lvl1pPr>
              <a:lnSpc>
                <a:spcPts val="1700"/>
              </a:lnSpc>
              <a:defRPr sz="15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US" smtClean="0"/>
              <a:t>Click to edit title</a:t>
            </a:r>
          </a:p>
        </p:txBody>
      </p:sp>
    </p:spTree>
    <p:extLst>
      <p:ext uri="{BB962C8B-B14F-4D97-AF65-F5344CB8AC3E}">
        <p14:creationId xmlns:p14="http://schemas.microsoft.com/office/powerpoint/2010/main" val="3371362703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1" pos="3720">
          <p15:clr>
            <a:srgbClr val="FBAE40"/>
          </p15:clr>
        </p15:guide>
        <p15:guide id="2" pos="3948">
          <p15:clr>
            <a:srgbClr val="FBAE40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Slide Number Placeholder 11"/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  <p:sp>
        <p:nvSpPr>
          <p:cNvPr id="23" name="Content Placeholder 3"/>
          <p:cNvSpPr>
            <a:spLocks noGrp="1"/>
          </p:cNvSpPr>
          <p:nvPr>
            <p:ph sz="half" idx="2"/>
          </p:nvPr>
        </p:nvSpPr>
        <p:spPr bwMode="gray">
          <a:xfrm>
            <a:off x="5099859" y="1278003"/>
            <a:ext cx="4109625" cy="2330177"/>
          </a:xfrm>
        </p:spPr>
        <p:txBody>
          <a:bodyPr>
            <a:noAutofit/>
          </a:bodyPr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24" name="Text Placeholder 2"/>
          <p:cNvSpPr>
            <a:spLocks noGrp="1"/>
          </p:cNvSpPr>
          <p:nvPr>
            <p:ph idx="28"/>
          </p:nvPr>
        </p:nvSpPr>
        <p:spPr bwMode="gray">
          <a:xfrm>
            <a:off x="687030" y="1278003"/>
            <a:ext cx="4109625" cy="233017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25" name="Content Placeholder 3"/>
          <p:cNvSpPr>
            <a:spLocks noGrp="1"/>
          </p:cNvSpPr>
          <p:nvPr>
            <p:ph sz="half" idx="29"/>
          </p:nvPr>
        </p:nvSpPr>
        <p:spPr bwMode="gray">
          <a:xfrm>
            <a:off x="5099859" y="3877594"/>
            <a:ext cx="4109625" cy="2330177"/>
          </a:xfrm>
        </p:spPr>
        <p:txBody>
          <a:bodyPr>
            <a:noAutofit/>
          </a:bodyPr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26" name="Text Placeholder 2"/>
          <p:cNvSpPr>
            <a:spLocks noGrp="1"/>
          </p:cNvSpPr>
          <p:nvPr>
            <p:ph idx="30"/>
          </p:nvPr>
        </p:nvSpPr>
        <p:spPr bwMode="gray">
          <a:xfrm>
            <a:off x="687030" y="3877594"/>
            <a:ext cx="4109625" cy="233017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687031" y="280736"/>
            <a:ext cx="8522455" cy="854075"/>
          </a:xfrm>
        </p:spPr>
        <p:txBody>
          <a:bodyPr/>
          <a:lstStyle/>
          <a:p>
            <a:r>
              <a:rPr lang="nl-NL" smtClean="0"/>
              <a:t>Klik om de stijl te bewerke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9206848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1" pos="3720" userDrawn="1">
          <p15:clr>
            <a:srgbClr val="FBAE40"/>
          </p15:clr>
        </p15:guide>
        <p15:guide id="0" pos="3948" userDrawn="1">
          <p15:clr>
            <a:srgbClr val="FBAE40"/>
          </p15:clr>
        </p15:guide>
        <p15:guide id="2" orient="horz" pos="2274" userDrawn="1">
          <p15:clr>
            <a:srgbClr val="FBAE40"/>
          </p15:clr>
        </p15:guide>
        <p15:guide id="3" orient="horz" pos="2442" userDrawn="1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Full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6" name="Group 65"/>
          <p:cNvGrpSpPr>
            <a:grpSpLocks noChangeAspect="1"/>
          </p:cNvGrpSpPr>
          <p:nvPr userDrawn="1"/>
        </p:nvGrpSpPr>
        <p:grpSpPr bwMode="gray">
          <a:xfrm>
            <a:off x="0" y="1643199"/>
            <a:ext cx="4801323" cy="3045600"/>
            <a:chOff x="3465513" y="2070100"/>
            <a:chExt cx="5260975" cy="2711450"/>
          </a:xfrm>
        </p:grpSpPr>
        <p:sp>
          <p:nvSpPr>
            <p:cNvPr id="67" name="Freeform 5"/>
            <p:cNvSpPr>
              <a:spLocks/>
            </p:cNvSpPr>
            <p:nvPr userDrawn="1"/>
          </p:nvSpPr>
          <p:spPr bwMode="gray">
            <a:xfrm>
              <a:off x="3465513" y="4095750"/>
              <a:ext cx="5260975" cy="685800"/>
            </a:xfrm>
            <a:custGeom>
              <a:avLst/>
              <a:gdLst>
                <a:gd name="T0" fmla="*/ 0 w 1400"/>
                <a:gd name="T1" fmla="*/ 0 h 182"/>
                <a:gd name="T2" fmla="*/ 0 w 1400"/>
                <a:gd name="T3" fmla="*/ 182 h 182"/>
                <a:gd name="T4" fmla="*/ 1376 w 1400"/>
                <a:gd name="T5" fmla="*/ 182 h 182"/>
                <a:gd name="T6" fmla="*/ 1400 w 1400"/>
                <a:gd name="T7" fmla="*/ 158 h 182"/>
                <a:gd name="T8" fmla="*/ 1400 w 1400"/>
                <a:gd name="T9" fmla="*/ 0 h 182"/>
                <a:gd name="T10" fmla="*/ 0 w 1400"/>
                <a:gd name="T11" fmla="*/ 0 h 1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400" h="182">
                  <a:moveTo>
                    <a:pt x="0" y="0"/>
                  </a:moveTo>
                  <a:cubicBezTo>
                    <a:pt x="0" y="182"/>
                    <a:pt x="0" y="182"/>
                    <a:pt x="0" y="182"/>
                  </a:cubicBezTo>
                  <a:cubicBezTo>
                    <a:pt x="1376" y="182"/>
                    <a:pt x="1376" y="182"/>
                    <a:pt x="1376" y="182"/>
                  </a:cubicBezTo>
                  <a:cubicBezTo>
                    <a:pt x="1376" y="182"/>
                    <a:pt x="1400" y="182"/>
                    <a:pt x="1400" y="158"/>
                  </a:cubicBezTo>
                  <a:cubicBezTo>
                    <a:pt x="1400" y="0"/>
                    <a:pt x="1400" y="0"/>
                    <a:pt x="1400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EAEAEA"/>
            </a:solidFill>
            <a:ln w="9525">
              <a:solidFill>
                <a:srgbClr val="EAEAEA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8" name="Freeform 67"/>
            <p:cNvSpPr>
              <a:spLocks/>
            </p:cNvSpPr>
            <p:nvPr userDrawn="1"/>
          </p:nvSpPr>
          <p:spPr bwMode="gray">
            <a:xfrm>
              <a:off x="3465513" y="2070100"/>
              <a:ext cx="5260975" cy="2025650"/>
            </a:xfrm>
            <a:custGeom>
              <a:avLst/>
              <a:gdLst>
                <a:gd name="T0" fmla="*/ 0 w 1400"/>
                <a:gd name="T1" fmla="*/ 0 h 538"/>
                <a:gd name="T2" fmla="*/ 0 w 1400"/>
                <a:gd name="T3" fmla="*/ 538 h 538"/>
                <a:gd name="T4" fmla="*/ 1400 w 1400"/>
                <a:gd name="T5" fmla="*/ 538 h 538"/>
                <a:gd name="T6" fmla="*/ 1400 w 1400"/>
                <a:gd name="T7" fmla="*/ 24 h 538"/>
                <a:gd name="T8" fmla="*/ 1376 w 1400"/>
                <a:gd name="T9" fmla="*/ 0 h 538"/>
                <a:gd name="T10" fmla="*/ 0 w 1400"/>
                <a:gd name="T11" fmla="*/ 0 h 5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400" h="538">
                  <a:moveTo>
                    <a:pt x="0" y="0"/>
                  </a:moveTo>
                  <a:cubicBezTo>
                    <a:pt x="0" y="538"/>
                    <a:pt x="0" y="538"/>
                    <a:pt x="0" y="538"/>
                  </a:cubicBezTo>
                  <a:cubicBezTo>
                    <a:pt x="1400" y="538"/>
                    <a:pt x="1400" y="538"/>
                    <a:pt x="1400" y="538"/>
                  </a:cubicBezTo>
                  <a:cubicBezTo>
                    <a:pt x="1400" y="24"/>
                    <a:pt x="1400" y="24"/>
                    <a:pt x="1400" y="24"/>
                  </a:cubicBezTo>
                  <a:cubicBezTo>
                    <a:pt x="1400" y="24"/>
                    <a:pt x="1400" y="0"/>
                    <a:pt x="1376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F6200"/>
            </a:solidFill>
            <a:ln w="9525">
              <a:solidFill>
                <a:srgbClr val="FF6200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65" name="Picture Placeholder 64"/>
          <p:cNvSpPr>
            <a:spLocks noGrp="1"/>
          </p:cNvSpPr>
          <p:nvPr>
            <p:ph type="pic" sz="quarter" idx="12"/>
          </p:nvPr>
        </p:nvSpPr>
        <p:spPr bwMode="gray">
          <a:xfrm>
            <a:off x="-2579" y="4"/>
            <a:ext cx="9908580" cy="6024879"/>
          </a:xfrm>
          <a:custGeom>
            <a:avLst/>
            <a:gdLst>
              <a:gd name="connsiteX0" fmla="*/ 0 w 12195175"/>
              <a:gd name="connsiteY0" fmla="*/ 0 h 6024879"/>
              <a:gd name="connsiteX1" fmla="*/ 12195175 w 12195175"/>
              <a:gd name="connsiteY1" fmla="*/ 0 h 6024879"/>
              <a:gd name="connsiteX2" fmla="*/ 12195175 w 12195175"/>
              <a:gd name="connsiteY2" fmla="*/ 6024879 h 6024879"/>
              <a:gd name="connsiteX3" fmla="*/ 0 w 12195175"/>
              <a:gd name="connsiteY3" fmla="*/ 6024879 h 6024879"/>
              <a:gd name="connsiteX4" fmla="*/ 0 w 12195175"/>
              <a:gd name="connsiteY4" fmla="*/ 4688798 h 6024879"/>
              <a:gd name="connsiteX5" fmla="*/ 3176 w 12195175"/>
              <a:gd name="connsiteY5" fmla="*/ 4688798 h 6024879"/>
              <a:gd name="connsiteX6" fmla="*/ 61412 w 12195175"/>
              <a:gd name="connsiteY6" fmla="*/ 4688798 h 6024879"/>
              <a:gd name="connsiteX7" fmla="*/ 530839 w 12195175"/>
              <a:gd name="connsiteY7" fmla="*/ 4688798 h 6024879"/>
              <a:gd name="connsiteX8" fmla="*/ 5811194 w 12195175"/>
              <a:gd name="connsiteY8" fmla="*/ 4688798 h 6024879"/>
              <a:gd name="connsiteX9" fmla="*/ 5912496 w 12195175"/>
              <a:gd name="connsiteY9" fmla="*/ 4587218 h 6024879"/>
              <a:gd name="connsiteX10" fmla="*/ 5912496 w 12195175"/>
              <a:gd name="connsiteY10" fmla="*/ 3918482 h 6024879"/>
              <a:gd name="connsiteX11" fmla="*/ 5912496 w 12195175"/>
              <a:gd name="connsiteY11" fmla="*/ 1744697 h 6024879"/>
              <a:gd name="connsiteX12" fmla="*/ 5811194 w 12195175"/>
              <a:gd name="connsiteY12" fmla="*/ 1643198 h 6024879"/>
              <a:gd name="connsiteX13" fmla="*/ 61412 w 12195175"/>
              <a:gd name="connsiteY13" fmla="*/ 1643198 h 6024879"/>
              <a:gd name="connsiteX14" fmla="*/ 3176 w 12195175"/>
              <a:gd name="connsiteY14" fmla="*/ 1643198 h 6024879"/>
              <a:gd name="connsiteX15" fmla="*/ 0 w 12195175"/>
              <a:gd name="connsiteY15" fmla="*/ 1643198 h 60248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2195175" h="6024879">
                <a:moveTo>
                  <a:pt x="0" y="0"/>
                </a:moveTo>
                <a:lnTo>
                  <a:pt x="12195175" y="0"/>
                </a:lnTo>
                <a:lnTo>
                  <a:pt x="12195175" y="6024879"/>
                </a:lnTo>
                <a:lnTo>
                  <a:pt x="0" y="6024879"/>
                </a:lnTo>
                <a:lnTo>
                  <a:pt x="0" y="4688798"/>
                </a:lnTo>
                <a:lnTo>
                  <a:pt x="3176" y="4688798"/>
                </a:lnTo>
                <a:lnTo>
                  <a:pt x="61412" y="4688798"/>
                </a:lnTo>
                <a:lnTo>
                  <a:pt x="530839" y="4688798"/>
                </a:lnTo>
                <a:cubicBezTo>
                  <a:pt x="5811194" y="4688798"/>
                  <a:pt x="5811194" y="4688798"/>
                  <a:pt x="5811194" y="4688798"/>
                </a:cubicBezTo>
                <a:cubicBezTo>
                  <a:pt x="5811194" y="4688798"/>
                  <a:pt x="5912496" y="4688798"/>
                  <a:pt x="5912496" y="4587218"/>
                </a:cubicBezTo>
                <a:cubicBezTo>
                  <a:pt x="5912496" y="3918482"/>
                  <a:pt x="5912496" y="3918482"/>
                  <a:pt x="5912496" y="3918482"/>
                </a:cubicBezTo>
                <a:cubicBezTo>
                  <a:pt x="5912496" y="1744697"/>
                  <a:pt x="5912496" y="1744697"/>
                  <a:pt x="5912496" y="1744697"/>
                </a:cubicBezTo>
                <a:cubicBezTo>
                  <a:pt x="5912496" y="1744697"/>
                  <a:pt x="5912496" y="1643198"/>
                  <a:pt x="5811194" y="1643198"/>
                </a:cubicBezTo>
                <a:lnTo>
                  <a:pt x="61412" y="1643198"/>
                </a:lnTo>
                <a:lnTo>
                  <a:pt x="3176" y="1643198"/>
                </a:lnTo>
                <a:lnTo>
                  <a:pt x="0" y="1643198"/>
                </a:lnTo>
                <a:close/>
              </a:path>
            </a:pathLst>
          </a:custGeom>
          <a:solidFill>
            <a:srgbClr val="E9E9E9">
              <a:alpha val="10000"/>
            </a:srgbClr>
          </a:solidFill>
        </p:spPr>
        <p:txBody>
          <a:bodyPr wrap="square" lIns="2880000" tIns="0" anchor="ctr" anchorCtr="0">
            <a:noAutofit/>
          </a:bodyPr>
          <a:lstStyle>
            <a:lvl1pPr algn="ctr">
              <a:defRPr sz="1400" b="0"/>
            </a:lvl1pPr>
          </a:lstStyle>
          <a:p>
            <a:r>
              <a:rPr lang="nl-NL" smtClean="0"/>
              <a:t>Klik op het pictogram als u een afbeelding wilt toevoegen</a:t>
            </a:r>
            <a:endParaRPr lang="en-GB"/>
          </a:p>
        </p:txBody>
      </p:sp>
      <p:sp>
        <p:nvSpPr>
          <p:cNvPr id="9" name="Title 1"/>
          <p:cNvSpPr>
            <a:spLocks noGrp="1"/>
          </p:cNvSpPr>
          <p:nvPr>
            <p:ph type="ctrTitle"/>
          </p:nvPr>
        </p:nvSpPr>
        <p:spPr bwMode="gray">
          <a:xfrm>
            <a:off x="684479" y="2012286"/>
            <a:ext cx="3963347" cy="1461600"/>
          </a:xfrm>
        </p:spPr>
        <p:txBody>
          <a:bodyPr anchor="ctr" anchorCtr="0">
            <a:noAutofit/>
          </a:bodyPr>
          <a:lstStyle>
            <a:lvl1pPr algn="l">
              <a:lnSpc>
                <a:spcPts val="3800"/>
              </a:lnSpc>
              <a:defRPr sz="3800">
                <a:solidFill>
                  <a:schemeClr val="bg1"/>
                </a:solidFill>
              </a:defRPr>
            </a:lvl1pPr>
          </a:lstStyle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  <p:sp>
        <p:nvSpPr>
          <p:cNvPr id="10" name="Subtitle 2"/>
          <p:cNvSpPr>
            <a:spLocks noGrp="1"/>
          </p:cNvSpPr>
          <p:nvPr>
            <p:ph type="subTitle" idx="1"/>
          </p:nvPr>
        </p:nvSpPr>
        <p:spPr bwMode="gray">
          <a:xfrm>
            <a:off x="684479" y="4031478"/>
            <a:ext cx="3963347" cy="306798"/>
          </a:xfrm>
        </p:spPr>
        <p:txBody>
          <a:bodyPr anchor="ctr" anchorCtr="0">
            <a:noAutofit/>
          </a:bodyPr>
          <a:lstStyle>
            <a:lvl1pPr marL="0" indent="0" algn="l">
              <a:lnSpc>
                <a:spcPts val="2200"/>
              </a:lnSpc>
              <a:buNone/>
              <a:defRPr sz="1700" b="0" i="0"/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nl-NL" noProof="0" smtClean="0"/>
              <a:t>Klik om de ondertitelstijl van het model te bewerken</a:t>
            </a:r>
            <a:endParaRPr lang="en-GB" noProof="0" dirty="0"/>
          </a:p>
        </p:txBody>
      </p:sp>
      <p:sp>
        <p:nvSpPr>
          <p:cNvPr id="11" name="Text Placeholder 6"/>
          <p:cNvSpPr>
            <a:spLocks noGrp="1"/>
          </p:cNvSpPr>
          <p:nvPr>
            <p:ph type="body" sz="quarter" idx="11"/>
          </p:nvPr>
        </p:nvSpPr>
        <p:spPr bwMode="gray">
          <a:xfrm>
            <a:off x="684479" y="3603486"/>
            <a:ext cx="3963347" cy="290712"/>
          </a:xfrm>
        </p:spPr>
        <p:txBody>
          <a:bodyPr bIns="0">
            <a:noAutofit/>
          </a:bodyPr>
          <a:lstStyle>
            <a:lvl1pPr algn="l">
              <a:lnSpc>
                <a:spcPts val="1700"/>
              </a:lnSpc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noProof="0" smtClean="0"/>
              <a:t>Klik om de modelstijlen te bewerken</a:t>
            </a:r>
          </a:p>
        </p:txBody>
      </p:sp>
      <p:sp>
        <p:nvSpPr>
          <p:cNvPr id="12" name="Rectangle 11"/>
          <p:cNvSpPr/>
          <p:nvPr userDrawn="1"/>
        </p:nvSpPr>
        <p:spPr bwMode="gray">
          <a:xfrm>
            <a:off x="2" y="6024880"/>
            <a:ext cx="9904532" cy="8331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2400"/>
          </a:p>
        </p:txBody>
      </p:sp>
      <p:sp>
        <p:nvSpPr>
          <p:cNvPr id="18" name="Picture Placeholder 2"/>
          <p:cNvSpPr>
            <a:spLocks noGrp="1"/>
          </p:cNvSpPr>
          <p:nvPr>
            <p:ph type="pic" sz="quarter" idx="13" hasCustomPrompt="1"/>
          </p:nvPr>
        </p:nvSpPr>
        <p:spPr>
          <a:xfrm>
            <a:off x="681038" y="6055200"/>
            <a:ext cx="1784250" cy="504000"/>
          </a:xfrm>
        </p:spPr>
        <p:txBody>
          <a:bodyPr lIns="0" anchor="ctr" anchorCtr="0"/>
          <a:lstStyle>
            <a:lvl1pPr algn="l">
              <a:lnSpc>
                <a:spcPct val="100000"/>
              </a:lnSpc>
              <a:defRPr sz="900" b="0"/>
            </a:lvl1pPr>
          </a:lstStyle>
          <a:p>
            <a:r>
              <a:rPr lang="en-GB" dirty="0" smtClean="0"/>
              <a:t>Click to insert project logo</a:t>
            </a:r>
            <a:endParaRPr lang="en-GB" dirty="0"/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428199" y="6203775"/>
            <a:ext cx="1233535" cy="378000"/>
          </a:xfrm>
          <a:prstGeom prst="rect">
            <a:avLst/>
          </a:prstGeom>
        </p:spPr>
      </p:pic>
      <p:cxnSp>
        <p:nvCxnSpPr>
          <p:cNvPr id="17" name="Straight Connector 16"/>
          <p:cNvCxnSpPr/>
          <p:nvPr userDrawn="1"/>
        </p:nvCxnSpPr>
        <p:spPr>
          <a:xfrm>
            <a:off x="2449809" y="6953250"/>
            <a:ext cx="0" cy="36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/>
          <p:cNvCxnSpPr/>
          <p:nvPr userDrawn="1"/>
        </p:nvCxnSpPr>
        <p:spPr>
          <a:xfrm>
            <a:off x="-346674" y="6200775"/>
            <a:ext cx="2925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Box 5"/>
          <p:cNvSpPr txBox="1"/>
          <p:nvPr userDrawn="1"/>
        </p:nvSpPr>
        <p:spPr>
          <a:xfrm>
            <a:off x="980423" y="7019958"/>
            <a:ext cx="1170000" cy="226591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ctr"/>
            <a:r>
              <a:rPr lang="en-GB" sz="1000" smtClean="0"/>
              <a:t>Max.</a:t>
            </a:r>
            <a:r>
              <a:rPr lang="en-GB" sz="1000" baseline="0" smtClean="0"/>
              <a:t> width</a:t>
            </a:r>
            <a:endParaRPr lang="en-GB" sz="1000" smtClean="0"/>
          </a:p>
        </p:txBody>
      </p:sp>
      <p:sp>
        <p:nvSpPr>
          <p:cNvPr id="23" name="TextBox 22"/>
          <p:cNvSpPr txBox="1"/>
          <p:nvPr userDrawn="1"/>
        </p:nvSpPr>
        <p:spPr>
          <a:xfrm>
            <a:off x="-1224174" y="6266695"/>
            <a:ext cx="1170000" cy="226591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r"/>
            <a:r>
              <a:rPr lang="en-GB" sz="1000" smtClean="0"/>
              <a:t>Max.</a:t>
            </a:r>
            <a:r>
              <a:rPr lang="en-GB" sz="1000" baseline="0" smtClean="0"/>
              <a:t> height</a:t>
            </a:r>
            <a:endParaRPr lang="en-GB" sz="1000" smtClean="0"/>
          </a:p>
        </p:txBody>
      </p:sp>
      <p:cxnSp>
        <p:nvCxnSpPr>
          <p:cNvPr id="24" name="Straight Connector 23"/>
          <p:cNvCxnSpPr/>
          <p:nvPr userDrawn="1"/>
        </p:nvCxnSpPr>
        <p:spPr>
          <a:xfrm>
            <a:off x="681038" y="6953250"/>
            <a:ext cx="0" cy="360000"/>
          </a:xfrm>
          <a:prstGeom prst="line">
            <a:avLst/>
          </a:prstGeom>
          <a:ln>
            <a:head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/>
          <p:cNvCxnSpPr/>
          <p:nvPr userDrawn="1"/>
        </p:nvCxnSpPr>
        <p:spPr>
          <a:xfrm>
            <a:off x="-346674" y="6559200"/>
            <a:ext cx="292500" cy="0"/>
          </a:xfrm>
          <a:prstGeom prst="line">
            <a:avLst/>
          </a:prstGeom>
          <a:ln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77" name="Group 76"/>
          <p:cNvGrpSpPr/>
          <p:nvPr userDrawn="1"/>
        </p:nvGrpSpPr>
        <p:grpSpPr bwMode="gray">
          <a:xfrm>
            <a:off x="-1653580" y="0"/>
            <a:ext cx="1521000" cy="4689612"/>
            <a:chOff x="-2581275" y="595116"/>
            <a:chExt cx="1872000" cy="4689612"/>
          </a:xfrm>
        </p:grpSpPr>
        <p:sp>
          <p:nvSpPr>
            <p:cNvPr id="78" name="Rectangle 104"/>
            <p:cNvSpPr>
              <a:spLocks noChangeArrowheads="1"/>
            </p:cNvSpPr>
            <p:nvPr/>
          </p:nvSpPr>
          <p:spPr bwMode="gray">
            <a:xfrm>
              <a:off x="-2581275" y="4276728"/>
              <a:ext cx="1872000" cy="100800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79" name="Rectangle 104"/>
            <p:cNvSpPr>
              <a:spLocks noChangeArrowheads="1"/>
            </p:cNvSpPr>
            <p:nvPr userDrawn="1"/>
          </p:nvSpPr>
          <p:spPr bwMode="gray">
            <a:xfrm>
              <a:off x="-2581275" y="595116"/>
              <a:ext cx="1872000" cy="3672087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80" name="Rectangle 105"/>
            <p:cNvSpPr>
              <a:spLocks noChangeArrowheads="1"/>
            </p:cNvSpPr>
            <p:nvPr userDrawn="1"/>
          </p:nvSpPr>
          <p:spPr bwMode="gray">
            <a:xfrm>
              <a:off x="-2449513" y="1136650"/>
              <a:ext cx="215900" cy="215900"/>
            </a:xfrm>
            <a:prstGeom prst="rect">
              <a:avLst/>
            </a:prstGeom>
            <a:solidFill>
              <a:srgbClr val="FF6200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81" name="Rectangle 106"/>
            <p:cNvSpPr>
              <a:spLocks noChangeArrowheads="1"/>
            </p:cNvSpPr>
            <p:nvPr userDrawn="1"/>
          </p:nvSpPr>
          <p:spPr bwMode="gray">
            <a:xfrm>
              <a:off x="-2159000" y="1146175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Orang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55, 98, 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82" name="Rectangle 107"/>
            <p:cNvSpPr>
              <a:spLocks noChangeArrowheads="1"/>
            </p:cNvSpPr>
            <p:nvPr userDrawn="1"/>
          </p:nvSpPr>
          <p:spPr bwMode="gray">
            <a:xfrm>
              <a:off x="-2449513" y="1571626"/>
              <a:ext cx="215900" cy="215900"/>
            </a:xfrm>
            <a:prstGeom prst="rect">
              <a:avLst/>
            </a:prstGeom>
            <a:solidFill>
              <a:srgbClr val="A8A8A8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83" name="Rectangle 108"/>
            <p:cNvSpPr>
              <a:spLocks noChangeArrowheads="1"/>
            </p:cNvSpPr>
            <p:nvPr userDrawn="1"/>
          </p:nvSpPr>
          <p:spPr bwMode="gray">
            <a:xfrm>
              <a:off x="-2159000" y="15970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ght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68, 168, 16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84" name="Rectangle 109"/>
            <p:cNvSpPr>
              <a:spLocks noChangeArrowheads="1"/>
            </p:cNvSpPr>
            <p:nvPr userDrawn="1"/>
          </p:nvSpPr>
          <p:spPr bwMode="gray">
            <a:xfrm>
              <a:off x="-2449513" y="2058988"/>
              <a:ext cx="215900" cy="215900"/>
            </a:xfrm>
            <a:prstGeom prst="rect">
              <a:avLst/>
            </a:prstGeom>
            <a:solidFill>
              <a:srgbClr val="52519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85" name="Rectangle 110"/>
            <p:cNvSpPr>
              <a:spLocks noChangeArrowheads="1"/>
            </p:cNvSpPr>
            <p:nvPr userDrawn="1"/>
          </p:nvSpPr>
          <p:spPr bwMode="gray">
            <a:xfrm>
              <a:off x="-2159000" y="2068513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Indigo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82, 81, 153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86" name="Rectangle 111"/>
            <p:cNvSpPr>
              <a:spLocks noChangeArrowheads="1"/>
            </p:cNvSpPr>
            <p:nvPr userDrawn="1"/>
          </p:nvSpPr>
          <p:spPr bwMode="gray">
            <a:xfrm>
              <a:off x="-2449513" y="2527301"/>
              <a:ext cx="215900" cy="215900"/>
            </a:xfrm>
            <a:prstGeom prst="rect">
              <a:avLst/>
            </a:prstGeom>
            <a:solidFill>
              <a:srgbClr val="60A6DA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87" name="Rectangle 112"/>
            <p:cNvSpPr>
              <a:spLocks noChangeArrowheads="1"/>
            </p:cNvSpPr>
            <p:nvPr userDrawn="1"/>
          </p:nvSpPr>
          <p:spPr bwMode="gray">
            <a:xfrm>
              <a:off x="-2159000" y="25368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Sk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96, 166, 2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88" name="Rectangle 113"/>
            <p:cNvSpPr>
              <a:spLocks noChangeArrowheads="1"/>
            </p:cNvSpPr>
            <p:nvPr userDrawn="1"/>
          </p:nvSpPr>
          <p:spPr bwMode="gray">
            <a:xfrm>
              <a:off x="-2449513" y="762000"/>
              <a:ext cx="1692000" cy="165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90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200" b="1" smtClean="0">
                  <a:solidFill>
                    <a:srgbClr val="333333"/>
                  </a:solidFill>
                </a:rPr>
                <a:t>Colour Guidelines</a:t>
              </a:r>
              <a:endParaRPr lang="en-GB" altLang="en-US" sz="1200" b="1">
                <a:solidFill>
                  <a:srgbClr val="333333"/>
                </a:solidFill>
              </a:endParaRPr>
            </a:p>
          </p:txBody>
        </p:sp>
        <p:sp>
          <p:nvSpPr>
            <p:cNvPr id="89" name="Rectangle 107"/>
            <p:cNvSpPr>
              <a:spLocks noChangeArrowheads="1"/>
            </p:cNvSpPr>
            <p:nvPr/>
          </p:nvSpPr>
          <p:spPr bwMode="gray">
            <a:xfrm>
              <a:off x="-2449513" y="2962277"/>
              <a:ext cx="215900" cy="215900"/>
            </a:xfrm>
            <a:prstGeom prst="rect">
              <a:avLst/>
            </a:prstGeom>
            <a:solidFill>
              <a:srgbClr val="AB006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90" name="Rectangle 108"/>
            <p:cNvSpPr>
              <a:spLocks noChangeArrowheads="1"/>
            </p:cNvSpPr>
            <p:nvPr/>
          </p:nvSpPr>
          <p:spPr bwMode="gray">
            <a:xfrm>
              <a:off x="-2159000" y="29876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Fuchsia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71, 0, 102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91" name="Rectangle 109"/>
            <p:cNvSpPr>
              <a:spLocks noChangeArrowheads="1"/>
            </p:cNvSpPr>
            <p:nvPr/>
          </p:nvSpPr>
          <p:spPr bwMode="gray">
            <a:xfrm>
              <a:off x="-2449513" y="3449639"/>
              <a:ext cx="215900" cy="215900"/>
            </a:xfrm>
            <a:prstGeom prst="rect">
              <a:avLst/>
            </a:prstGeom>
            <a:solidFill>
              <a:srgbClr val="D0D93C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92" name="Rectangle 110"/>
            <p:cNvSpPr>
              <a:spLocks noChangeArrowheads="1"/>
            </p:cNvSpPr>
            <p:nvPr/>
          </p:nvSpPr>
          <p:spPr bwMode="gray">
            <a:xfrm>
              <a:off x="-2159000" y="3459164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m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08, 217, 6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93" name="Rectangle 111"/>
            <p:cNvSpPr>
              <a:spLocks noChangeArrowheads="1"/>
            </p:cNvSpPr>
            <p:nvPr/>
          </p:nvSpPr>
          <p:spPr bwMode="gray">
            <a:xfrm>
              <a:off x="-2449513" y="3917952"/>
              <a:ext cx="215900" cy="215900"/>
            </a:xfrm>
            <a:prstGeom prst="rect">
              <a:avLst/>
            </a:prstGeom>
            <a:solidFill>
              <a:srgbClr val="01964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94" name="Rectangle 112"/>
            <p:cNvSpPr>
              <a:spLocks noChangeArrowheads="1"/>
            </p:cNvSpPr>
            <p:nvPr/>
          </p:nvSpPr>
          <p:spPr bwMode="gray">
            <a:xfrm>
              <a:off x="-2159000" y="39274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eaf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2, 150, 8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95" name="Rectangle 109"/>
            <p:cNvSpPr>
              <a:spLocks noChangeArrowheads="1"/>
            </p:cNvSpPr>
            <p:nvPr/>
          </p:nvSpPr>
          <p:spPr bwMode="gray">
            <a:xfrm>
              <a:off x="-2449513" y="4405314"/>
              <a:ext cx="215900" cy="215900"/>
            </a:xfrm>
            <a:prstGeom prst="rect">
              <a:avLst/>
            </a:prstGeom>
            <a:solidFill>
              <a:srgbClr val="76767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96" name="Rectangle 110"/>
            <p:cNvSpPr>
              <a:spLocks noChangeArrowheads="1"/>
            </p:cNvSpPr>
            <p:nvPr/>
          </p:nvSpPr>
          <p:spPr bwMode="gray">
            <a:xfrm>
              <a:off x="-2159000" y="4414839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Mid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18, 118, 1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97" name="Rectangle 111"/>
            <p:cNvSpPr>
              <a:spLocks noChangeArrowheads="1"/>
            </p:cNvSpPr>
            <p:nvPr/>
          </p:nvSpPr>
          <p:spPr bwMode="gray">
            <a:xfrm>
              <a:off x="-2449513" y="4873627"/>
              <a:ext cx="215900" cy="215900"/>
            </a:xfrm>
            <a:prstGeom prst="rect">
              <a:avLst/>
            </a:prstGeom>
            <a:solidFill>
              <a:srgbClr val="333333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98" name="Rectangle 112"/>
            <p:cNvSpPr>
              <a:spLocks noChangeArrowheads="1"/>
            </p:cNvSpPr>
            <p:nvPr/>
          </p:nvSpPr>
          <p:spPr bwMode="gray">
            <a:xfrm>
              <a:off x="-2159000" y="4883152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Text Colour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1, 51, 5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</p:grpSp>
      <p:pic>
        <p:nvPicPr>
          <p:cNvPr id="41" name="Picture 40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-1466554" y="4402733"/>
            <a:ext cx="125761" cy="138908"/>
          </a:xfrm>
          <a:prstGeom prst="rect">
            <a:avLst/>
          </a:prstGeom>
        </p:spPr>
      </p:pic>
      <p:sp>
        <p:nvSpPr>
          <p:cNvPr id="43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684478" y="4381898"/>
            <a:ext cx="3963375" cy="216000"/>
          </a:xfrm>
        </p:spPr>
        <p:txBody>
          <a:bodyPr tIns="0" bIns="0"/>
          <a:lstStyle>
            <a:lvl1pPr marL="0" indent="0" algn="l">
              <a:lnSpc>
                <a:spcPts val="1350"/>
              </a:lnSpc>
              <a:buNone/>
              <a:defRPr sz="1350">
                <a:solidFill>
                  <a:srgbClr val="000000"/>
                </a:solidFill>
                <a:latin typeface="+mn-lt"/>
              </a:defRPr>
            </a:lvl1pPr>
            <a:lvl2pPr>
              <a:defRPr sz="2200">
                <a:solidFill>
                  <a:srgbClr val="000000"/>
                </a:solidFill>
              </a:defRPr>
            </a:lvl2pPr>
            <a:lvl3pPr>
              <a:defRPr sz="2200">
                <a:solidFill>
                  <a:srgbClr val="000000"/>
                </a:solidFill>
              </a:defRPr>
            </a:lvl3pPr>
            <a:lvl4pPr>
              <a:defRPr sz="2200">
                <a:solidFill>
                  <a:srgbClr val="000000"/>
                </a:solidFill>
              </a:defRPr>
            </a:lvl4pPr>
            <a:lvl5pPr>
              <a:defRPr sz="2200">
                <a:solidFill>
                  <a:srgbClr val="000000"/>
                </a:solidFill>
              </a:defRPr>
            </a:lvl5pPr>
          </a:lstStyle>
          <a:p>
            <a:pPr lvl="0"/>
            <a:r>
              <a:rPr lang="en-GB" noProof="0" dirty="0" smtClean="0"/>
              <a:t>Click to edit location and date</a:t>
            </a:r>
          </a:p>
        </p:txBody>
      </p:sp>
    </p:spTree>
    <p:extLst>
      <p:ext uri="{BB962C8B-B14F-4D97-AF65-F5344CB8AC3E}">
        <p14:creationId xmlns:p14="http://schemas.microsoft.com/office/powerpoint/2010/main" val="22510561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1" orient="horz" pos="4135" userDrawn="1">
          <p15:clr>
            <a:srgbClr val="FBAE40"/>
          </p15:clr>
        </p15:guide>
      </p15:sldGuideLst>
    </p:ext>
  </p:extLs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 Split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688113" y="1278384"/>
            <a:ext cx="2652975" cy="2329200"/>
          </a:xfrm>
        </p:spPr>
        <p:txBody>
          <a:bodyPr/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7" name="Content Placeholder 2"/>
          <p:cNvSpPr>
            <a:spLocks noGrp="1"/>
          </p:cNvSpPr>
          <p:nvPr>
            <p:ph idx="13"/>
          </p:nvPr>
        </p:nvSpPr>
        <p:spPr bwMode="gray">
          <a:xfrm>
            <a:off x="3622311" y="1278384"/>
            <a:ext cx="2652975" cy="2329200"/>
          </a:xfrm>
        </p:spPr>
        <p:txBody>
          <a:bodyPr/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8" name="Content Placeholder 2"/>
          <p:cNvSpPr>
            <a:spLocks noGrp="1"/>
          </p:cNvSpPr>
          <p:nvPr>
            <p:ph idx="14"/>
          </p:nvPr>
        </p:nvSpPr>
        <p:spPr bwMode="gray">
          <a:xfrm>
            <a:off x="6556510" y="1278384"/>
            <a:ext cx="2652975" cy="2329200"/>
          </a:xfrm>
        </p:spPr>
        <p:txBody>
          <a:bodyPr/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13" name="Content Placeholder 2"/>
          <p:cNvSpPr>
            <a:spLocks noGrp="1"/>
          </p:cNvSpPr>
          <p:nvPr>
            <p:ph idx="15"/>
          </p:nvPr>
        </p:nvSpPr>
        <p:spPr bwMode="gray">
          <a:xfrm>
            <a:off x="688114" y="3884250"/>
            <a:ext cx="2652975" cy="2329200"/>
          </a:xfrm>
        </p:spPr>
        <p:txBody>
          <a:bodyPr/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</p:txBody>
      </p:sp>
      <p:sp>
        <p:nvSpPr>
          <p:cNvPr id="14" name="Content Placeholder 2"/>
          <p:cNvSpPr>
            <a:spLocks noGrp="1"/>
          </p:cNvSpPr>
          <p:nvPr>
            <p:ph idx="16"/>
          </p:nvPr>
        </p:nvSpPr>
        <p:spPr bwMode="gray">
          <a:xfrm>
            <a:off x="3622312" y="3884250"/>
            <a:ext cx="2652975" cy="2329200"/>
          </a:xfrm>
        </p:spPr>
        <p:txBody>
          <a:bodyPr/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</p:txBody>
      </p:sp>
      <p:sp>
        <p:nvSpPr>
          <p:cNvPr id="15" name="Content Placeholder 2"/>
          <p:cNvSpPr>
            <a:spLocks noGrp="1"/>
          </p:cNvSpPr>
          <p:nvPr>
            <p:ph idx="17"/>
          </p:nvPr>
        </p:nvSpPr>
        <p:spPr bwMode="gray">
          <a:xfrm>
            <a:off x="6556510" y="3884250"/>
            <a:ext cx="2652975" cy="2329200"/>
          </a:xfrm>
        </p:spPr>
        <p:txBody>
          <a:bodyPr/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687031" y="280736"/>
            <a:ext cx="8522455" cy="854075"/>
          </a:xfrm>
        </p:spPr>
        <p:txBody>
          <a:bodyPr/>
          <a:lstStyle/>
          <a:p>
            <a:r>
              <a:rPr lang="nl-NL" smtClean="0"/>
              <a:t>Klik om de stijl te bewerke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73390400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1" pos="2591" userDrawn="1">
          <p15:clr>
            <a:srgbClr val="FBAE40"/>
          </p15:clr>
        </p15:guide>
        <p15:guide id="2" pos="2808" userDrawn="1">
          <p15:clr>
            <a:srgbClr val="FBAE40"/>
          </p15:clr>
        </p15:guide>
        <p15:guide id="3" pos="4866" userDrawn="1">
          <p15:clr>
            <a:srgbClr val="FBAE40"/>
          </p15:clr>
        </p15:guide>
        <p15:guide id="4" pos="5082" userDrawn="1">
          <p15:clr>
            <a:srgbClr val="FBAE40"/>
          </p15:clr>
        </p15:guide>
        <p15:guide id="5" orient="horz" pos="2274" userDrawn="1">
          <p15:clr>
            <a:srgbClr val="FBAE40"/>
          </p15:clr>
        </p15:guide>
        <p15:guide id="6" orient="horz" pos="2442" userDrawn="1">
          <p15:clr>
            <a:srgbClr val="FBAE40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 Split graph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688113" y="1795637"/>
            <a:ext cx="2652975" cy="2696988"/>
          </a:xfrm>
        </p:spPr>
        <p:txBody>
          <a:bodyPr/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7" name="Content Placeholder 2"/>
          <p:cNvSpPr>
            <a:spLocks noGrp="1"/>
          </p:cNvSpPr>
          <p:nvPr>
            <p:ph idx="13"/>
          </p:nvPr>
        </p:nvSpPr>
        <p:spPr bwMode="gray">
          <a:xfrm>
            <a:off x="3622311" y="1795637"/>
            <a:ext cx="2652975" cy="2696988"/>
          </a:xfrm>
        </p:spPr>
        <p:txBody>
          <a:bodyPr/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8" name="Content Placeholder 2"/>
          <p:cNvSpPr>
            <a:spLocks noGrp="1"/>
          </p:cNvSpPr>
          <p:nvPr>
            <p:ph idx="14"/>
          </p:nvPr>
        </p:nvSpPr>
        <p:spPr bwMode="gray">
          <a:xfrm>
            <a:off x="6556510" y="1795637"/>
            <a:ext cx="2652975" cy="2696988"/>
          </a:xfrm>
        </p:spPr>
        <p:txBody>
          <a:bodyPr/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13" name="Content Placeholder 2"/>
          <p:cNvSpPr>
            <a:spLocks noGrp="1"/>
          </p:cNvSpPr>
          <p:nvPr>
            <p:ph idx="15"/>
          </p:nvPr>
        </p:nvSpPr>
        <p:spPr bwMode="gray">
          <a:xfrm>
            <a:off x="688114" y="4760734"/>
            <a:ext cx="2652975" cy="1440042"/>
          </a:xfrm>
        </p:spPr>
        <p:txBody>
          <a:bodyPr/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</p:txBody>
      </p:sp>
      <p:sp>
        <p:nvSpPr>
          <p:cNvPr id="14" name="Content Placeholder 2"/>
          <p:cNvSpPr>
            <a:spLocks noGrp="1"/>
          </p:cNvSpPr>
          <p:nvPr>
            <p:ph idx="16"/>
          </p:nvPr>
        </p:nvSpPr>
        <p:spPr bwMode="gray">
          <a:xfrm>
            <a:off x="3622312" y="4760734"/>
            <a:ext cx="2652975" cy="1440042"/>
          </a:xfrm>
        </p:spPr>
        <p:txBody>
          <a:bodyPr/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</p:txBody>
      </p:sp>
      <p:sp>
        <p:nvSpPr>
          <p:cNvPr id="15" name="Content Placeholder 2"/>
          <p:cNvSpPr>
            <a:spLocks noGrp="1"/>
          </p:cNvSpPr>
          <p:nvPr>
            <p:ph idx="17"/>
          </p:nvPr>
        </p:nvSpPr>
        <p:spPr bwMode="gray">
          <a:xfrm>
            <a:off x="6556510" y="4760734"/>
            <a:ext cx="2652975" cy="1440042"/>
          </a:xfrm>
        </p:spPr>
        <p:txBody>
          <a:bodyPr/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687031" y="280736"/>
            <a:ext cx="8522455" cy="854075"/>
          </a:xfrm>
        </p:spPr>
        <p:txBody>
          <a:bodyPr/>
          <a:lstStyle/>
          <a:p>
            <a:r>
              <a:rPr lang="nl-NL" smtClean="0"/>
              <a:t>Klik om de stijl te bewerken</a:t>
            </a:r>
            <a:endParaRPr lang="en-GB"/>
          </a:p>
        </p:txBody>
      </p:sp>
      <p:sp>
        <p:nvSpPr>
          <p:cNvPr id="10" name="Text Placeholder 10"/>
          <p:cNvSpPr>
            <a:spLocks noGrp="1"/>
          </p:cNvSpPr>
          <p:nvPr>
            <p:ph type="body" sz="quarter" idx="12" hasCustomPrompt="1"/>
          </p:nvPr>
        </p:nvSpPr>
        <p:spPr>
          <a:xfrm>
            <a:off x="687029" y="1277985"/>
            <a:ext cx="2652975" cy="436017"/>
          </a:xfrm>
        </p:spPr>
        <p:txBody>
          <a:bodyPr>
            <a:noAutofit/>
          </a:bodyPr>
          <a:lstStyle>
            <a:lvl1pPr>
              <a:lnSpc>
                <a:spcPts val="1700"/>
              </a:lnSpc>
              <a:defRPr sz="15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 noProof="0" dirty="0" smtClean="0"/>
              <a:t>Click to edit title</a:t>
            </a:r>
          </a:p>
        </p:txBody>
      </p:sp>
      <p:sp>
        <p:nvSpPr>
          <p:cNvPr id="16" name="Text Placeholder 10"/>
          <p:cNvSpPr>
            <a:spLocks noGrp="1"/>
          </p:cNvSpPr>
          <p:nvPr>
            <p:ph type="body" sz="quarter" idx="20" hasCustomPrompt="1"/>
          </p:nvPr>
        </p:nvSpPr>
        <p:spPr>
          <a:xfrm>
            <a:off x="3622311" y="1277985"/>
            <a:ext cx="2652975" cy="436017"/>
          </a:xfrm>
        </p:spPr>
        <p:txBody>
          <a:bodyPr/>
          <a:lstStyle>
            <a:lvl1pPr>
              <a:lnSpc>
                <a:spcPts val="1700"/>
              </a:lnSpc>
              <a:defRPr sz="15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 noProof="0" dirty="0" smtClean="0"/>
              <a:t>Click to edit title</a:t>
            </a:r>
            <a:endParaRPr lang="en-GB" noProof="0" dirty="0"/>
          </a:p>
        </p:txBody>
      </p:sp>
      <p:sp>
        <p:nvSpPr>
          <p:cNvPr id="17" name="Text Placeholder 10"/>
          <p:cNvSpPr>
            <a:spLocks noGrp="1"/>
          </p:cNvSpPr>
          <p:nvPr>
            <p:ph type="body" sz="quarter" idx="21" hasCustomPrompt="1"/>
          </p:nvPr>
        </p:nvSpPr>
        <p:spPr>
          <a:xfrm>
            <a:off x="6556510" y="1277985"/>
            <a:ext cx="2652975" cy="436017"/>
          </a:xfrm>
        </p:spPr>
        <p:txBody>
          <a:bodyPr/>
          <a:lstStyle>
            <a:lvl1pPr>
              <a:lnSpc>
                <a:spcPts val="1700"/>
              </a:lnSpc>
              <a:defRPr sz="15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 noProof="0" dirty="0" smtClean="0"/>
              <a:t>Click to edit titl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692380235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2" pos="2808">
          <p15:clr>
            <a:srgbClr val="FBAE40"/>
          </p15:clr>
        </p15:guide>
        <p15:guide id="3" pos="4866">
          <p15:clr>
            <a:srgbClr val="FBAE40"/>
          </p15:clr>
        </p15:guide>
        <p15:guide id="4" pos="5082">
          <p15:clr>
            <a:srgbClr val="FBAE40"/>
          </p15:clr>
        </p15:guide>
        <p15:guide id="5" orient="horz" pos="2830" userDrawn="1">
          <p15:clr>
            <a:srgbClr val="FBAE40"/>
          </p15:clr>
        </p15:guide>
        <p15:guide id="6" orient="horz" pos="2998" userDrawn="1">
          <p15:clr>
            <a:srgbClr val="FBAE40"/>
          </p15:clr>
        </p15:guide>
        <p15:guide id="7" pos="2592" userDrawn="1">
          <p15:clr>
            <a:srgbClr val="FBAE40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Split Content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687030" y="1279981"/>
            <a:ext cx="4109625" cy="324000"/>
          </a:xfrm>
        </p:spPr>
        <p:txBody>
          <a:bodyPr>
            <a:noAutofit/>
          </a:bodyPr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6" name="Content Placeholder 2"/>
          <p:cNvSpPr>
            <a:spLocks noGrp="1"/>
          </p:cNvSpPr>
          <p:nvPr>
            <p:ph idx="13" hasCustomPrompt="1"/>
          </p:nvPr>
        </p:nvSpPr>
        <p:spPr bwMode="gray">
          <a:xfrm>
            <a:off x="687030" y="1754561"/>
            <a:ext cx="4109625" cy="1854000"/>
          </a:xfrm>
        </p:spPr>
        <p:txBody>
          <a:bodyPr/>
          <a:lstStyle>
            <a:lvl3pPr>
              <a:lnSpc>
                <a:spcPts val="2200"/>
              </a:lnSpc>
              <a:defRPr sz="20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idx="20" hasCustomPrompt="1"/>
          </p:nvPr>
        </p:nvSpPr>
        <p:spPr bwMode="gray">
          <a:xfrm>
            <a:off x="687030" y="3877590"/>
            <a:ext cx="4109625" cy="324000"/>
          </a:xfrm>
        </p:spPr>
        <p:txBody>
          <a:bodyPr>
            <a:noAutofit/>
          </a:bodyPr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8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687030" y="4346775"/>
            <a:ext cx="4109625" cy="1854000"/>
          </a:xfrm>
        </p:spPr>
        <p:txBody>
          <a:bodyPr/>
          <a:lstStyle>
            <a:lvl3pPr>
              <a:lnSpc>
                <a:spcPts val="2200"/>
              </a:lnSpc>
              <a:defRPr sz="20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cxnSp>
        <p:nvCxnSpPr>
          <p:cNvPr id="9" name="Straight Connector 8"/>
          <p:cNvCxnSpPr/>
          <p:nvPr userDrawn="1"/>
        </p:nvCxnSpPr>
        <p:spPr bwMode="gray">
          <a:xfrm>
            <a:off x="687030" y="1682898"/>
            <a:ext cx="4109625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/>
          <p:cNvCxnSpPr/>
          <p:nvPr userDrawn="1"/>
        </p:nvCxnSpPr>
        <p:spPr bwMode="gray">
          <a:xfrm>
            <a:off x="687030" y="4278810"/>
            <a:ext cx="4109625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5099859" y="1279981"/>
            <a:ext cx="4109625" cy="324000"/>
          </a:xfrm>
        </p:spPr>
        <p:txBody>
          <a:bodyPr>
            <a:noAutofit/>
          </a:bodyPr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16" name="Content Placeholder 2"/>
          <p:cNvSpPr>
            <a:spLocks noGrp="1"/>
          </p:cNvSpPr>
          <p:nvPr>
            <p:ph idx="23" hasCustomPrompt="1"/>
          </p:nvPr>
        </p:nvSpPr>
        <p:spPr bwMode="gray">
          <a:xfrm>
            <a:off x="5099859" y="1754561"/>
            <a:ext cx="4109625" cy="1854000"/>
          </a:xfrm>
        </p:spPr>
        <p:txBody>
          <a:bodyPr/>
          <a:lstStyle>
            <a:lvl3pPr>
              <a:lnSpc>
                <a:spcPts val="2200"/>
              </a:lnSpc>
              <a:defRPr sz="20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sp>
        <p:nvSpPr>
          <p:cNvPr id="17" name="Content Placeholder 2"/>
          <p:cNvSpPr>
            <a:spLocks noGrp="1"/>
          </p:cNvSpPr>
          <p:nvPr>
            <p:ph idx="24" hasCustomPrompt="1"/>
          </p:nvPr>
        </p:nvSpPr>
        <p:spPr bwMode="gray">
          <a:xfrm>
            <a:off x="5099859" y="3877590"/>
            <a:ext cx="4109625" cy="324000"/>
          </a:xfrm>
        </p:spPr>
        <p:txBody>
          <a:bodyPr>
            <a:noAutofit/>
          </a:bodyPr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18" name="Content Placeholder 2"/>
          <p:cNvSpPr>
            <a:spLocks noGrp="1"/>
          </p:cNvSpPr>
          <p:nvPr>
            <p:ph idx="25" hasCustomPrompt="1"/>
          </p:nvPr>
        </p:nvSpPr>
        <p:spPr bwMode="gray">
          <a:xfrm>
            <a:off x="5099859" y="4346775"/>
            <a:ext cx="4109625" cy="1854000"/>
          </a:xfrm>
        </p:spPr>
        <p:txBody>
          <a:bodyPr/>
          <a:lstStyle>
            <a:lvl3pPr>
              <a:lnSpc>
                <a:spcPts val="2200"/>
              </a:lnSpc>
              <a:defRPr sz="20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cxnSp>
        <p:nvCxnSpPr>
          <p:cNvPr id="19" name="Straight Connector 18"/>
          <p:cNvCxnSpPr/>
          <p:nvPr userDrawn="1"/>
        </p:nvCxnSpPr>
        <p:spPr bwMode="gray">
          <a:xfrm>
            <a:off x="5099859" y="1682898"/>
            <a:ext cx="4109625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/>
          <p:cNvCxnSpPr/>
          <p:nvPr userDrawn="1"/>
        </p:nvCxnSpPr>
        <p:spPr bwMode="gray">
          <a:xfrm>
            <a:off x="5099859" y="4278810"/>
            <a:ext cx="4109625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Slide Number Placeholder 11"/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687031" y="280736"/>
            <a:ext cx="8522455" cy="854075"/>
          </a:xfrm>
        </p:spPr>
        <p:txBody>
          <a:bodyPr/>
          <a:lstStyle/>
          <a:p>
            <a:r>
              <a:rPr lang="nl-NL" smtClean="0"/>
              <a:t>Klik om de stijl te bewerke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1063649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2" pos="3720" userDrawn="1">
          <p15:clr>
            <a:srgbClr val="FBAE40"/>
          </p15:clr>
        </p15:guide>
        <p15:guide id="3" pos="3953" userDrawn="1">
          <p15:clr>
            <a:srgbClr val="FBAE40"/>
          </p15:clr>
        </p15:guide>
        <p15:guide id="4" orient="horz" pos="2274" userDrawn="1">
          <p15:clr>
            <a:srgbClr val="FBAE40"/>
          </p15:clr>
        </p15:guide>
        <p15:guide id="5" orient="horz" pos="2442" userDrawn="1">
          <p15:clr>
            <a:srgbClr val="FBAE40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 Split Title &amp;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687031" y="280736"/>
            <a:ext cx="8522455" cy="854075"/>
          </a:xfrm>
        </p:spPr>
        <p:txBody>
          <a:bodyPr/>
          <a:lstStyle/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  <p:sp>
        <p:nvSpPr>
          <p:cNvPr id="5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687030" y="1278384"/>
            <a:ext cx="2652975" cy="324000"/>
          </a:xfrm>
        </p:spPr>
        <p:txBody>
          <a:bodyPr/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en-GB" noProof="0" dirty="0" smtClean="0"/>
              <a:t>Click to edit title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idx="13" hasCustomPrompt="1"/>
          </p:nvPr>
        </p:nvSpPr>
        <p:spPr bwMode="gray">
          <a:xfrm>
            <a:off x="687030" y="1757281"/>
            <a:ext cx="2652975" cy="1850305"/>
          </a:xfrm>
        </p:spPr>
        <p:txBody>
          <a:bodyPr/>
          <a:lstStyle>
            <a:lvl3pPr>
              <a:lnSpc>
                <a:spcPts val="2100"/>
              </a:lnSpc>
              <a:defRPr sz="18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idx="20" hasCustomPrompt="1"/>
          </p:nvPr>
        </p:nvSpPr>
        <p:spPr bwMode="gray">
          <a:xfrm>
            <a:off x="687030" y="3878568"/>
            <a:ext cx="2652975" cy="324000"/>
          </a:xfrm>
        </p:spPr>
        <p:txBody>
          <a:bodyPr/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8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687030" y="4346776"/>
            <a:ext cx="2652975" cy="1850400"/>
          </a:xfrm>
        </p:spPr>
        <p:txBody>
          <a:bodyPr/>
          <a:lstStyle>
            <a:lvl3pPr>
              <a:lnSpc>
                <a:spcPts val="2100"/>
              </a:lnSpc>
              <a:defRPr sz="18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cxnSp>
        <p:nvCxnSpPr>
          <p:cNvPr id="9" name="Straight Connector 8"/>
          <p:cNvCxnSpPr/>
          <p:nvPr userDrawn="1"/>
        </p:nvCxnSpPr>
        <p:spPr bwMode="gray">
          <a:xfrm>
            <a:off x="687030" y="1685616"/>
            <a:ext cx="2652975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/>
          <p:cNvCxnSpPr/>
          <p:nvPr userDrawn="1"/>
        </p:nvCxnSpPr>
        <p:spPr bwMode="gray">
          <a:xfrm>
            <a:off x="687030" y="4278810"/>
            <a:ext cx="2652975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6556510" y="1278384"/>
            <a:ext cx="2652975" cy="324000"/>
          </a:xfrm>
        </p:spPr>
        <p:txBody>
          <a:bodyPr/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41" name="Content Placeholder 2"/>
          <p:cNvSpPr>
            <a:spLocks noGrp="1"/>
          </p:cNvSpPr>
          <p:nvPr>
            <p:ph idx="23" hasCustomPrompt="1"/>
          </p:nvPr>
        </p:nvSpPr>
        <p:spPr bwMode="gray">
          <a:xfrm>
            <a:off x="6556510" y="1757281"/>
            <a:ext cx="2652975" cy="1850305"/>
          </a:xfrm>
        </p:spPr>
        <p:txBody>
          <a:bodyPr/>
          <a:lstStyle>
            <a:lvl3pPr>
              <a:lnSpc>
                <a:spcPts val="2100"/>
              </a:lnSpc>
              <a:defRPr sz="18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sp>
        <p:nvSpPr>
          <p:cNvPr id="42" name="Content Placeholder 2"/>
          <p:cNvSpPr>
            <a:spLocks noGrp="1"/>
          </p:cNvSpPr>
          <p:nvPr>
            <p:ph idx="24" hasCustomPrompt="1"/>
          </p:nvPr>
        </p:nvSpPr>
        <p:spPr bwMode="gray">
          <a:xfrm>
            <a:off x="6556510" y="3878568"/>
            <a:ext cx="2652975" cy="324000"/>
          </a:xfrm>
        </p:spPr>
        <p:txBody>
          <a:bodyPr/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43" name="Content Placeholder 2"/>
          <p:cNvSpPr>
            <a:spLocks noGrp="1"/>
          </p:cNvSpPr>
          <p:nvPr>
            <p:ph idx="25" hasCustomPrompt="1"/>
          </p:nvPr>
        </p:nvSpPr>
        <p:spPr bwMode="gray">
          <a:xfrm>
            <a:off x="6556510" y="4346776"/>
            <a:ext cx="2652975" cy="1850400"/>
          </a:xfrm>
        </p:spPr>
        <p:txBody>
          <a:bodyPr/>
          <a:lstStyle>
            <a:lvl3pPr>
              <a:lnSpc>
                <a:spcPts val="2100"/>
              </a:lnSpc>
              <a:defRPr sz="18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cxnSp>
        <p:nvCxnSpPr>
          <p:cNvPr id="44" name="Straight Connector 43"/>
          <p:cNvCxnSpPr/>
          <p:nvPr userDrawn="1"/>
        </p:nvCxnSpPr>
        <p:spPr bwMode="gray">
          <a:xfrm>
            <a:off x="6556510" y="1685616"/>
            <a:ext cx="2652975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Straight Connector 44"/>
          <p:cNvCxnSpPr/>
          <p:nvPr userDrawn="1"/>
        </p:nvCxnSpPr>
        <p:spPr bwMode="gray">
          <a:xfrm>
            <a:off x="6556510" y="4278810"/>
            <a:ext cx="2652975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Content Placeholder 2"/>
          <p:cNvSpPr>
            <a:spLocks noGrp="1"/>
          </p:cNvSpPr>
          <p:nvPr>
            <p:ph idx="26" hasCustomPrompt="1"/>
          </p:nvPr>
        </p:nvSpPr>
        <p:spPr bwMode="gray">
          <a:xfrm>
            <a:off x="3621769" y="1278384"/>
            <a:ext cx="2652975" cy="324000"/>
          </a:xfrm>
        </p:spPr>
        <p:txBody>
          <a:bodyPr/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47" name="Content Placeholder 2"/>
          <p:cNvSpPr>
            <a:spLocks noGrp="1"/>
          </p:cNvSpPr>
          <p:nvPr>
            <p:ph idx="27" hasCustomPrompt="1"/>
          </p:nvPr>
        </p:nvSpPr>
        <p:spPr bwMode="gray">
          <a:xfrm>
            <a:off x="3621769" y="1757281"/>
            <a:ext cx="2652975" cy="1850305"/>
          </a:xfrm>
        </p:spPr>
        <p:txBody>
          <a:bodyPr/>
          <a:lstStyle>
            <a:lvl3pPr>
              <a:lnSpc>
                <a:spcPts val="2100"/>
              </a:lnSpc>
              <a:defRPr sz="18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sp>
        <p:nvSpPr>
          <p:cNvPr id="48" name="Content Placeholder 2"/>
          <p:cNvSpPr>
            <a:spLocks noGrp="1"/>
          </p:cNvSpPr>
          <p:nvPr>
            <p:ph idx="28" hasCustomPrompt="1"/>
          </p:nvPr>
        </p:nvSpPr>
        <p:spPr bwMode="gray">
          <a:xfrm>
            <a:off x="3621769" y="3878568"/>
            <a:ext cx="2652975" cy="324000"/>
          </a:xfrm>
        </p:spPr>
        <p:txBody>
          <a:bodyPr/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49" name="Content Placeholder 2"/>
          <p:cNvSpPr>
            <a:spLocks noGrp="1"/>
          </p:cNvSpPr>
          <p:nvPr>
            <p:ph idx="29" hasCustomPrompt="1"/>
          </p:nvPr>
        </p:nvSpPr>
        <p:spPr bwMode="gray">
          <a:xfrm>
            <a:off x="3621769" y="4346776"/>
            <a:ext cx="2652975" cy="1850400"/>
          </a:xfrm>
        </p:spPr>
        <p:txBody>
          <a:bodyPr/>
          <a:lstStyle>
            <a:lvl3pPr>
              <a:lnSpc>
                <a:spcPts val="2100"/>
              </a:lnSpc>
              <a:defRPr sz="18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cxnSp>
        <p:nvCxnSpPr>
          <p:cNvPr id="50" name="Straight Connector 49"/>
          <p:cNvCxnSpPr/>
          <p:nvPr userDrawn="1"/>
        </p:nvCxnSpPr>
        <p:spPr bwMode="gray">
          <a:xfrm>
            <a:off x="3621769" y="1685616"/>
            <a:ext cx="2652975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Straight Connector 50"/>
          <p:cNvCxnSpPr/>
          <p:nvPr userDrawn="1"/>
        </p:nvCxnSpPr>
        <p:spPr bwMode="gray">
          <a:xfrm>
            <a:off x="3621769" y="4278810"/>
            <a:ext cx="2652975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Slide Number Placeholder 12"/>
          <p:cNvSpPr>
            <a:spLocks noGrp="1"/>
          </p:cNvSpPr>
          <p:nvPr>
            <p:ph type="sldNum" sz="quarter" idx="31"/>
          </p:nvPr>
        </p:nvSpPr>
        <p:spPr/>
        <p:txBody>
          <a:bodyPr/>
          <a:lstStyle/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72089158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2" pos="2592" userDrawn="1">
          <p15:clr>
            <a:srgbClr val="FBAE40"/>
          </p15:clr>
        </p15:guide>
        <p15:guide id="3" pos="5082" userDrawn="1">
          <p15:clr>
            <a:srgbClr val="FBAE40"/>
          </p15:clr>
        </p15:guide>
        <p15:guide id="4" pos="2803" userDrawn="1">
          <p15:clr>
            <a:srgbClr val="FBAE40"/>
          </p15:clr>
        </p15:guide>
        <p15:guide id="5" pos="4866" userDrawn="1">
          <p15:clr>
            <a:srgbClr val="FBAE40"/>
          </p15:clr>
        </p15:guide>
        <p15:guide id="6" orient="horz" pos="2274" userDrawn="1">
          <p15:clr>
            <a:srgbClr val="FBAE40"/>
          </p15:clr>
        </p15:guide>
        <p15:guide id="7" orient="horz" pos="2442" userDrawn="1">
          <p15:clr>
            <a:srgbClr val="FBAE40"/>
          </p15:clr>
        </p15:guide>
      </p15:sldGuideLst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 Split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687031" y="280736"/>
            <a:ext cx="8522455" cy="854075"/>
          </a:xfrm>
        </p:spPr>
        <p:txBody>
          <a:bodyPr/>
          <a:lstStyle/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  <p:sp>
        <p:nvSpPr>
          <p:cNvPr id="5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687030" y="1278384"/>
            <a:ext cx="2076750" cy="324000"/>
          </a:xfrm>
        </p:spPr>
        <p:txBody>
          <a:bodyPr/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6" name="Content Placeholder 2"/>
          <p:cNvSpPr>
            <a:spLocks noGrp="1"/>
          </p:cNvSpPr>
          <p:nvPr>
            <p:ph idx="13" hasCustomPrompt="1"/>
          </p:nvPr>
        </p:nvSpPr>
        <p:spPr bwMode="gray">
          <a:xfrm>
            <a:off x="687030" y="1757279"/>
            <a:ext cx="2076750" cy="1850400"/>
          </a:xfrm>
        </p:spPr>
        <p:txBody>
          <a:bodyPr/>
          <a:lstStyle>
            <a:lvl3pPr>
              <a:lnSpc>
                <a:spcPts val="2100"/>
              </a:lnSpc>
              <a:defRPr sz="18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idx="20" hasCustomPrompt="1"/>
          </p:nvPr>
        </p:nvSpPr>
        <p:spPr bwMode="gray">
          <a:xfrm>
            <a:off x="687030" y="3878568"/>
            <a:ext cx="2076750" cy="324000"/>
          </a:xfrm>
        </p:spPr>
        <p:txBody>
          <a:bodyPr/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8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687030" y="4346776"/>
            <a:ext cx="2076750" cy="1850400"/>
          </a:xfrm>
        </p:spPr>
        <p:txBody>
          <a:bodyPr/>
          <a:lstStyle>
            <a:lvl3pPr>
              <a:lnSpc>
                <a:spcPts val="2100"/>
              </a:lnSpc>
              <a:defRPr sz="18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cxnSp>
        <p:nvCxnSpPr>
          <p:cNvPr id="9" name="Straight Connector 8"/>
          <p:cNvCxnSpPr/>
          <p:nvPr userDrawn="1"/>
        </p:nvCxnSpPr>
        <p:spPr bwMode="gray">
          <a:xfrm>
            <a:off x="687030" y="1685616"/>
            <a:ext cx="2076750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/>
          <p:cNvCxnSpPr/>
          <p:nvPr userDrawn="1"/>
        </p:nvCxnSpPr>
        <p:spPr bwMode="gray">
          <a:xfrm>
            <a:off x="687030" y="4278810"/>
            <a:ext cx="2076750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2835598" y="1278384"/>
            <a:ext cx="2076750" cy="324000"/>
          </a:xfrm>
        </p:spPr>
        <p:txBody>
          <a:bodyPr/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52" name="Content Placeholder 2"/>
          <p:cNvSpPr>
            <a:spLocks noGrp="1"/>
          </p:cNvSpPr>
          <p:nvPr>
            <p:ph idx="23" hasCustomPrompt="1"/>
          </p:nvPr>
        </p:nvSpPr>
        <p:spPr bwMode="gray">
          <a:xfrm>
            <a:off x="2835598" y="1757279"/>
            <a:ext cx="2076750" cy="1850400"/>
          </a:xfrm>
        </p:spPr>
        <p:txBody>
          <a:bodyPr/>
          <a:lstStyle>
            <a:lvl3pPr>
              <a:lnSpc>
                <a:spcPts val="2100"/>
              </a:lnSpc>
              <a:defRPr sz="18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sp>
        <p:nvSpPr>
          <p:cNvPr id="53" name="Content Placeholder 2"/>
          <p:cNvSpPr>
            <a:spLocks noGrp="1"/>
          </p:cNvSpPr>
          <p:nvPr>
            <p:ph idx="24" hasCustomPrompt="1"/>
          </p:nvPr>
        </p:nvSpPr>
        <p:spPr bwMode="gray">
          <a:xfrm>
            <a:off x="2835598" y="3878568"/>
            <a:ext cx="2076750" cy="324000"/>
          </a:xfrm>
        </p:spPr>
        <p:txBody>
          <a:bodyPr/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54" name="Content Placeholder 2"/>
          <p:cNvSpPr>
            <a:spLocks noGrp="1"/>
          </p:cNvSpPr>
          <p:nvPr>
            <p:ph idx="25" hasCustomPrompt="1"/>
          </p:nvPr>
        </p:nvSpPr>
        <p:spPr bwMode="gray">
          <a:xfrm>
            <a:off x="2835598" y="4346776"/>
            <a:ext cx="2076750" cy="1850400"/>
          </a:xfrm>
        </p:spPr>
        <p:txBody>
          <a:bodyPr/>
          <a:lstStyle>
            <a:lvl3pPr>
              <a:lnSpc>
                <a:spcPts val="2100"/>
              </a:lnSpc>
              <a:defRPr sz="18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cxnSp>
        <p:nvCxnSpPr>
          <p:cNvPr id="55" name="Straight Connector 54"/>
          <p:cNvCxnSpPr/>
          <p:nvPr userDrawn="1"/>
        </p:nvCxnSpPr>
        <p:spPr bwMode="gray">
          <a:xfrm>
            <a:off x="2835598" y="1685616"/>
            <a:ext cx="2076750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Straight Connector 55"/>
          <p:cNvCxnSpPr/>
          <p:nvPr userDrawn="1"/>
        </p:nvCxnSpPr>
        <p:spPr bwMode="gray">
          <a:xfrm>
            <a:off x="2835598" y="4278810"/>
            <a:ext cx="2076750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Content Placeholder 2"/>
          <p:cNvSpPr>
            <a:spLocks noGrp="1"/>
          </p:cNvSpPr>
          <p:nvPr>
            <p:ph idx="26" hasCustomPrompt="1"/>
          </p:nvPr>
        </p:nvSpPr>
        <p:spPr bwMode="gray">
          <a:xfrm>
            <a:off x="4984166" y="1278384"/>
            <a:ext cx="2076750" cy="324000"/>
          </a:xfrm>
        </p:spPr>
        <p:txBody>
          <a:bodyPr/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58" name="Content Placeholder 2"/>
          <p:cNvSpPr>
            <a:spLocks noGrp="1"/>
          </p:cNvSpPr>
          <p:nvPr>
            <p:ph idx="27" hasCustomPrompt="1"/>
          </p:nvPr>
        </p:nvSpPr>
        <p:spPr bwMode="gray">
          <a:xfrm>
            <a:off x="4984166" y="1757279"/>
            <a:ext cx="2076750" cy="1850400"/>
          </a:xfrm>
        </p:spPr>
        <p:txBody>
          <a:bodyPr/>
          <a:lstStyle>
            <a:lvl3pPr>
              <a:lnSpc>
                <a:spcPts val="2100"/>
              </a:lnSpc>
              <a:defRPr sz="18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sp>
        <p:nvSpPr>
          <p:cNvPr id="59" name="Content Placeholder 2"/>
          <p:cNvSpPr>
            <a:spLocks noGrp="1"/>
          </p:cNvSpPr>
          <p:nvPr>
            <p:ph idx="28" hasCustomPrompt="1"/>
          </p:nvPr>
        </p:nvSpPr>
        <p:spPr bwMode="gray">
          <a:xfrm>
            <a:off x="4984166" y="3878568"/>
            <a:ext cx="2076750" cy="324000"/>
          </a:xfrm>
        </p:spPr>
        <p:txBody>
          <a:bodyPr/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60" name="Content Placeholder 2"/>
          <p:cNvSpPr>
            <a:spLocks noGrp="1"/>
          </p:cNvSpPr>
          <p:nvPr>
            <p:ph idx="29" hasCustomPrompt="1"/>
          </p:nvPr>
        </p:nvSpPr>
        <p:spPr bwMode="gray">
          <a:xfrm>
            <a:off x="4984166" y="4346776"/>
            <a:ext cx="2076750" cy="1850400"/>
          </a:xfrm>
        </p:spPr>
        <p:txBody>
          <a:bodyPr/>
          <a:lstStyle>
            <a:lvl3pPr>
              <a:lnSpc>
                <a:spcPts val="2100"/>
              </a:lnSpc>
              <a:defRPr sz="18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cxnSp>
        <p:nvCxnSpPr>
          <p:cNvPr id="61" name="Straight Connector 60"/>
          <p:cNvCxnSpPr/>
          <p:nvPr userDrawn="1"/>
        </p:nvCxnSpPr>
        <p:spPr bwMode="gray">
          <a:xfrm>
            <a:off x="4984166" y="1685616"/>
            <a:ext cx="2076750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Straight Connector 61"/>
          <p:cNvCxnSpPr/>
          <p:nvPr userDrawn="1"/>
        </p:nvCxnSpPr>
        <p:spPr bwMode="gray">
          <a:xfrm>
            <a:off x="4984166" y="4278810"/>
            <a:ext cx="2076750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" name="Content Placeholder 2"/>
          <p:cNvSpPr>
            <a:spLocks noGrp="1"/>
          </p:cNvSpPr>
          <p:nvPr>
            <p:ph idx="30" hasCustomPrompt="1"/>
          </p:nvPr>
        </p:nvSpPr>
        <p:spPr bwMode="gray">
          <a:xfrm>
            <a:off x="7132734" y="1278384"/>
            <a:ext cx="2076750" cy="324000"/>
          </a:xfrm>
        </p:spPr>
        <p:txBody>
          <a:bodyPr/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64" name="Content Placeholder 2"/>
          <p:cNvSpPr>
            <a:spLocks noGrp="1"/>
          </p:cNvSpPr>
          <p:nvPr>
            <p:ph idx="31" hasCustomPrompt="1"/>
          </p:nvPr>
        </p:nvSpPr>
        <p:spPr bwMode="gray">
          <a:xfrm>
            <a:off x="7132734" y="1757279"/>
            <a:ext cx="2076750" cy="1850400"/>
          </a:xfrm>
        </p:spPr>
        <p:txBody>
          <a:bodyPr/>
          <a:lstStyle>
            <a:lvl3pPr>
              <a:lnSpc>
                <a:spcPts val="2100"/>
              </a:lnSpc>
              <a:defRPr sz="18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sp>
        <p:nvSpPr>
          <p:cNvPr id="65" name="Content Placeholder 2"/>
          <p:cNvSpPr>
            <a:spLocks noGrp="1"/>
          </p:cNvSpPr>
          <p:nvPr>
            <p:ph idx="32" hasCustomPrompt="1"/>
          </p:nvPr>
        </p:nvSpPr>
        <p:spPr bwMode="gray">
          <a:xfrm>
            <a:off x="7132734" y="3878568"/>
            <a:ext cx="2076750" cy="324000"/>
          </a:xfrm>
        </p:spPr>
        <p:txBody>
          <a:bodyPr/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66" name="Content Placeholder 2"/>
          <p:cNvSpPr>
            <a:spLocks noGrp="1"/>
          </p:cNvSpPr>
          <p:nvPr>
            <p:ph idx="33" hasCustomPrompt="1"/>
          </p:nvPr>
        </p:nvSpPr>
        <p:spPr bwMode="gray">
          <a:xfrm>
            <a:off x="7132734" y="4346776"/>
            <a:ext cx="2076750" cy="1850400"/>
          </a:xfrm>
        </p:spPr>
        <p:txBody>
          <a:bodyPr/>
          <a:lstStyle>
            <a:lvl3pPr>
              <a:lnSpc>
                <a:spcPts val="2100"/>
              </a:lnSpc>
              <a:defRPr sz="18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cxnSp>
        <p:nvCxnSpPr>
          <p:cNvPr id="67" name="Straight Connector 66"/>
          <p:cNvCxnSpPr/>
          <p:nvPr userDrawn="1"/>
        </p:nvCxnSpPr>
        <p:spPr bwMode="gray">
          <a:xfrm>
            <a:off x="7132734" y="1685616"/>
            <a:ext cx="2076750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Straight Connector 67"/>
          <p:cNvCxnSpPr/>
          <p:nvPr userDrawn="1"/>
        </p:nvCxnSpPr>
        <p:spPr bwMode="gray">
          <a:xfrm>
            <a:off x="7132734" y="4278810"/>
            <a:ext cx="2076750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Slide Number Placeholder 11"/>
          <p:cNvSpPr>
            <a:spLocks noGrp="1"/>
          </p:cNvSpPr>
          <p:nvPr>
            <p:ph type="sldNum" sz="quarter" idx="35"/>
          </p:nvPr>
        </p:nvSpPr>
        <p:spPr/>
        <p:txBody>
          <a:bodyPr/>
          <a:lstStyle/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97935508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2" pos="2149" userDrawn="1">
          <p15:clr>
            <a:srgbClr val="FBAE40"/>
          </p15:clr>
        </p15:guide>
        <p15:guide id="4" pos="5480" userDrawn="1">
          <p15:clr>
            <a:srgbClr val="FBAE40"/>
          </p15:clr>
        </p15:guide>
        <p15:guide id="5" pos="3864" userDrawn="1">
          <p15:clr>
            <a:srgbClr val="FBAE40"/>
          </p15:clr>
        </p15:guide>
        <p15:guide id="6" pos="2196" userDrawn="1">
          <p15:clr>
            <a:srgbClr val="FBAE40"/>
          </p15:clr>
        </p15:guide>
        <p15:guide id="7" pos="3809" userDrawn="1">
          <p15:clr>
            <a:srgbClr val="FBAE40"/>
          </p15:clr>
        </p15:guide>
        <p15:guide id="8" pos="5528" userDrawn="1">
          <p15:clr>
            <a:srgbClr val="FBAE40"/>
          </p15:clr>
        </p15:guide>
        <p15:guide id="9" orient="horz" pos="2274" userDrawn="1">
          <p15:clr>
            <a:srgbClr val="FBAE40"/>
          </p15:clr>
        </p15:guide>
        <p15:guide id="10" orient="horz" pos="2442" userDrawn="1">
          <p15:clr>
            <a:srgbClr val="FBAE40"/>
          </p15:clr>
        </p15:guide>
      </p15:sldGuideLst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Pictur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3694867" y="1270000"/>
            <a:ext cx="5514620" cy="4978400"/>
          </a:xfrm>
        </p:spPr>
        <p:txBody>
          <a:bodyPr/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12" name="Picture Placeholder 11"/>
          <p:cNvSpPr>
            <a:spLocks noGrp="1"/>
          </p:cNvSpPr>
          <p:nvPr>
            <p:ph type="pic" sz="quarter" idx="16"/>
          </p:nvPr>
        </p:nvSpPr>
        <p:spPr bwMode="gray">
          <a:xfrm>
            <a:off x="563663" y="280732"/>
            <a:ext cx="2797671" cy="5920066"/>
          </a:xfrm>
          <a:custGeom>
            <a:avLst/>
            <a:gdLst>
              <a:gd name="connsiteX0" fmla="*/ 95997 w 3443287"/>
              <a:gd name="connsiteY0" fmla="*/ 0 h 5920066"/>
              <a:gd name="connsiteX1" fmla="*/ 3443287 w 3443287"/>
              <a:gd name="connsiteY1" fmla="*/ 0 h 5920066"/>
              <a:gd name="connsiteX2" fmla="*/ 3443287 w 3443287"/>
              <a:gd name="connsiteY2" fmla="*/ 5920066 h 5920066"/>
              <a:gd name="connsiteX3" fmla="*/ 95989 w 3443287"/>
              <a:gd name="connsiteY3" fmla="*/ 5920066 h 5920066"/>
              <a:gd name="connsiteX4" fmla="*/ 64311 w 3443287"/>
              <a:gd name="connsiteY4" fmla="*/ 5915938 h 5920066"/>
              <a:gd name="connsiteX5" fmla="*/ 0 w 3443287"/>
              <a:gd name="connsiteY5" fmla="*/ 5823957 h 5920066"/>
              <a:gd name="connsiteX6" fmla="*/ 0 w 3443287"/>
              <a:gd name="connsiteY6" fmla="*/ 5820222 h 5920066"/>
              <a:gd name="connsiteX7" fmla="*/ 0 w 3443287"/>
              <a:gd name="connsiteY7" fmla="*/ 5811351 h 5920066"/>
              <a:gd name="connsiteX8" fmla="*/ 0 w 3443287"/>
              <a:gd name="connsiteY8" fmla="*/ 5794075 h 5920066"/>
              <a:gd name="connsiteX9" fmla="*/ 0 w 3443287"/>
              <a:gd name="connsiteY9" fmla="*/ 5765594 h 5920066"/>
              <a:gd name="connsiteX10" fmla="*/ 0 w 3443287"/>
              <a:gd name="connsiteY10" fmla="*/ 5723106 h 5920066"/>
              <a:gd name="connsiteX11" fmla="*/ 0 w 3443287"/>
              <a:gd name="connsiteY11" fmla="*/ 5663809 h 5920066"/>
              <a:gd name="connsiteX12" fmla="*/ 0 w 3443287"/>
              <a:gd name="connsiteY12" fmla="*/ 5584902 h 5920066"/>
              <a:gd name="connsiteX13" fmla="*/ 0 w 3443287"/>
              <a:gd name="connsiteY13" fmla="*/ 5549717 h 5920066"/>
              <a:gd name="connsiteX14" fmla="*/ 0 w 3443287"/>
              <a:gd name="connsiteY14" fmla="*/ 5548611 h 5920066"/>
              <a:gd name="connsiteX15" fmla="*/ 0 w 3443287"/>
              <a:gd name="connsiteY15" fmla="*/ 5540863 h 5920066"/>
              <a:gd name="connsiteX16" fmla="*/ 0 w 3443287"/>
              <a:gd name="connsiteY16" fmla="*/ 5520020 h 5920066"/>
              <a:gd name="connsiteX17" fmla="*/ 0 w 3443287"/>
              <a:gd name="connsiteY17" fmla="*/ 5519835 h 5920066"/>
              <a:gd name="connsiteX18" fmla="*/ 0 w 3443287"/>
              <a:gd name="connsiteY18" fmla="*/ 5478886 h 5920066"/>
              <a:gd name="connsiteX19" fmla="*/ 0 w 3443287"/>
              <a:gd name="connsiteY19" fmla="*/ 5448866 h 5920066"/>
              <a:gd name="connsiteX20" fmla="*/ 0 w 3443287"/>
              <a:gd name="connsiteY20" fmla="*/ 5444347 h 5920066"/>
              <a:gd name="connsiteX21" fmla="*/ 0 w 3443287"/>
              <a:gd name="connsiteY21" fmla="*/ 5411375 h 5920066"/>
              <a:gd name="connsiteX22" fmla="*/ 0 w 3443287"/>
              <a:gd name="connsiteY22" fmla="*/ 5365584 h 5920066"/>
              <a:gd name="connsiteX23" fmla="*/ 0 w 3443287"/>
              <a:gd name="connsiteY23" fmla="*/ 5357053 h 5920066"/>
              <a:gd name="connsiteX24" fmla="*/ 0 w 3443287"/>
              <a:gd name="connsiteY24" fmla="*/ 5310662 h 5920066"/>
              <a:gd name="connsiteX25" fmla="*/ 0 w 3443287"/>
              <a:gd name="connsiteY25" fmla="*/ 5257308 h 5920066"/>
              <a:gd name="connsiteX26" fmla="*/ 0 w 3443287"/>
              <a:gd name="connsiteY26" fmla="*/ 5245780 h 5920066"/>
              <a:gd name="connsiteX27" fmla="*/ 0 w 3443287"/>
              <a:gd name="connsiteY27" fmla="*/ 5170107 h 5920066"/>
              <a:gd name="connsiteX28" fmla="*/ 0 w 3443287"/>
              <a:gd name="connsiteY28" fmla="*/ 5144283 h 5920066"/>
              <a:gd name="connsiteX29" fmla="*/ 0 w 3443287"/>
              <a:gd name="connsiteY29" fmla="*/ 5082813 h 5920066"/>
              <a:gd name="connsiteX30" fmla="*/ 0 w 3443287"/>
              <a:gd name="connsiteY30" fmla="*/ 5017146 h 5920066"/>
              <a:gd name="connsiteX31" fmla="*/ 0 w 3443287"/>
              <a:gd name="connsiteY31" fmla="*/ 4983068 h 5920066"/>
              <a:gd name="connsiteX32" fmla="*/ 0 w 3443287"/>
              <a:gd name="connsiteY32" fmla="*/ 4903543 h 5920066"/>
              <a:gd name="connsiteX33" fmla="*/ 0 w 3443287"/>
              <a:gd name="connsiteY33" fmla="*/ 4899808 h 5920066"/>
              <a:gd name="connsiteX34" fmla="*/ 0 w 3443287"/>
              <a:gd name="connsiteY34" fmla="*/ 4890937 h 5920066"/>
              <a:gd name="connsiteX35" fmla="*/ 0 w 3443287"/>
              <a:gd name="connsiteY35" fmla="*/ 4875069 h 5920066"/>
              <a:gd name="connsiteX36" fmla="*/ 0 w 3443287"/>
              <a:gd name="connsiteY36" fmla="*/ 4873661 h 5920066"/>
              <a:gd name="connsiteX37" fmla="*/ 0 w 3443287"/>
              <a:gd name="connsiteY37" fmla="*/ 4870043 h 5920066"/>
              <a:gd name="connsiteX38" fmla="*/ 0 w 3443287"/>
              <a:gd name="connsiteY38" fmla="*/ 4845180 h 5920066"/>
              <a:gd name="connsiteX39" fmla="*/ 0 w 3443287"/>
              <a:gd name="connsiteY39" fmla="*/ 4802692 h 5920066"/>
              <a:gd name="connsiteX40" fmla="*/ 0 w 3443287"/>
              <a:gd name="connsiteY40" fmla="*/ 4743395 h 5920066"/>
              <a:gd name="connsiteX41" fmla="*/ 0 w 3443287"/>
              <a:gd name="connsiteY41" fmla="*/ 4742906 h 5920066"/>
              <a:gd name="connsiteX42" fmla="*/ 0 w 3443287"/>
              <a:gd name="connsiteY42" fmla="*/ 4717221 h 5920066"/>
              <a:gd name="connsiteX43" fmla="*/ 0 w 3443287"/>
              <a:gd name="connsiteY43" fmla="*/ 4664488 h 5920066"/>
              <a:gd name="connsiteX44" fmla="*/ 0 w 3443287"/>
              <a:gd name="connsiteY44" fmla="*/ 4629303 h 5920066"/>
              <a:gd name="connsiteX45" fmla="*/ 0 w 3443287"/>
              <a:gd name="connsiteY45" fmla="*/ 4628197 h 5920066"/>
              <a:gd name="connsiteX46" fmla="*/ 0 w 3443287"/>
              <a:gd name="connsiteY46" fmla="*/ 4620449 h 5920066"/>
              <a:gd name="connsiteX47" fmla="*/ 0 w 3443287"/>
              <a:gd name="connsiteY47" fmla="*/ 4600829 h 5920066"/>
              <a:gd name="connsiteX48" fmla="*/ 0 w 3443287"/>
              <a:gd name="connsiteY48" fmla="*/ 4599606 h 5920066"/>
              <a:gd name="connsiteX49" fmla="*/ 0 w 3443287"/>
              <a:gd name="connsiteY49" fmla="*/ 4599421 h 5920066"/>
              <a:gd name="connsiteX50" fmla="*/ 0 w 3443287"/>
              <a:gd name="connsiteY50" fmla="*/ 4558472 h 5920066"/>
              <a:gd name="connsiteX51" fmla="*/ 0 w 3443287"/>
              <a:gd name="connsiteY51" fmla="*/ 4542771 h 5920066"/>
              <a:gd name="connsiteX52" fmla="*/ 0 w 3443287"/>
              <a:gd name="connsiteY52" fmla="*/ 4528452 h 5920066"/>
              <a:gd name="connsiteX53" fmla="*/ 0 w 3443287"/>
              <a:gd name="connsiteY53" fmla="*/ 4523933 h 5920066"/>
              <a:gd name="connsiteX54" fmla="*/ 0 w 3443287"/>
              <a:gd name="connsiteY54" fmla="*/ 4490961 h 5920066"/>
              <a:gd name="connsiteX55" fmla="*/ 0 w 3443287"/>
              <a:gd name="connsiteY55" fmla="*/ 4445170 h 5920066"/>
              <a:gd name="connsiteX56" fmla="*/ 0 w 3443287"/>
              <a:gd name="connsiteY56" fmla="*/ 4442981 h 5920066"/>
              <a:gd name="connsiteX57" fmla="*/ 0 w 3443287"/>
              <a:gd name="connsiteY57" fmla="*/ 4436639 h 5920066"/>
              <a:gd name="connsiteX58" fmla="*/ 0 w 3443287"/>
              <a:gd name="connsiteY58" fmla="*/ 4390248 h 5920066"/>
              <a:gd name="connsiteX59" fmla="*/ 0 w 3443287"/>
              <a:gd name="connsiteY59" fmla="*/ 4350891 h 5920066"/>
              <a:gd name="connsiteX60" fmla="*/ 0 w 3443287"/>
              <a:gd name="connsiteY60" fmla="*/ 4336894 h 5920066"/>
              <a:gd name="connsiteX61" fmla="*/ 0 w 3443287"/>
              <a:gd name="connsiteY61" fmla="*/ 4325366 h 5920066"/>
              <a:gd name="connsiteX62" fmla="*/ 0 w 3443287"/>
              <a:gd name="connsiteY62" fmla="*/ 4268531 h 5920066"/>
              <a:gd name="connsiteX63" fmla="*/ 0 w 3443287"/>
              <a:gd name="connsiteY63" fmla="*/ 4249693 h 5920066"/>
              <a:gd name="connsiteX64" fmla="*/ 0 w 3443287"/>
              <a:gd name="connsiteY64" fmla="*/ 4223869 h 5920066"/>
              <a:gd name="connsiteX65" fmla="*/ 0 w 3443287"/>
              <a:gd name="connsiteY65" fmla="*/ 4162399 h 5920066"/>
              <a:gd name="connsiteX66" fmla="*/ 0 w 3443287"/>
              <a:gd name="connsiteY66" fmla="*/ 4140749 h 5920066"/>
              <a:gd name="connsiteX67" fmla="*/ 0 w 3443287"/>
              <a:gd name="connsiteY67" fmla="*/ 4096732 h 5920066"/>
              <a:gd name="connsiteX68" fmla="*/ 0 w 3443287"/>
              <a:gd name="connsiteY68" fmla="*/ 4076651 h 5920066"/>
              <a:gd name="connsiteX69" fmla="*/ 0 w 3443287"/>
              <a:gd name="connsiteY69" fmla="*/ 4062654 h 5920066"/>
              <a:gd name="connsiteX70" fmla="*/ 0 w 3443287"/>
              <a:gd name="connsiteY70" fmla="*/ 3954655 h 5920066"/>
              <a:gd name="connsiteX71" fmla="*/ 0 w 3443287"/>
              <a:gd name="connsiteY71" fmla="*/ 3949629 h 5920066"/>
              <a:gd name="connsiteX72" fmla="*/ 0 w 3443287"/>
              <a:gd name="connsiteY72" fmla="*/ 3911516 h 5920066"/>
              <a:gd name="connsiteX73" fmla="*/ 0 w 3443287"/>
              <a:gd name="connsiteY73" fmla="*/ 3866509 h 5920066"/>
              <a:gd name="connsiteX74" fmla="*/ 0 w 3443287"/>
              <a:gd name="connsiteY74" fmla="*/ 3822492 h 5920066"/>
              <a:gd name="connsiteX75" fmla="*/ 0 w 3443287"/>
              <a:gd name="connsiteY75" fmla="*/ 3796807 h 5920066"/>
              <a:gd name="connsiteX76" fmla="*/ 0 w 3443287"/>
              <a:gd name="connsiteY76" fmla="*/ 3680415 h 5920066"/>
              <a:gd name="connsiteX77" fmla="*/ 0 w 3443287"/>
              <a:gd name="connsiteY77" fmla="*/ 3662362 h 5920066"/>
              <a:gd name="connsiteX78" fmla="*/ 0 w 3443287"/>
              <a:gd name="connsiteY78" fmla="*/ 3637276 h 5920066"/>
              <a:gd name="connsiteX79" fmla="*/ 0 w 3443287"/>
              <a:gd name="connsiteY79" fmla="*/ 3622357 h 5920066"/>
              <a:gd name="connsiteX80" fmla="*/ 0 w 3443287"/>
              <a:gd name="connsiteY80" fmla="*/ 3522567 h 5920066"/>
              <a:gd name="connsiteX81" fmla="*/ 0 w 3443287"/>
              <a:gd name="connsiteY81" fmla="*/ 3430477 h 5920066"/>
              <a:gd name="connsiteX82" fmla="*/ 0 w 3443287"/>
              <a:gd name="connsiteY82" fmla="*/ 3392457 h 5920066"/>
              <a:gd name="connsiteX83" fmla="*/ 0 w 3443287"/>
              <a:gd name="connsiteY83" fmla="*/ 3388122 h 5920066"/>
              <a:gd name="connsiteX84" fmla="*/ 0 w 3443287"/>
              <a:gd name="connsiteY84" fmla="*/ 3348117 h 5920066"/>
              <a:gd name="connsiteX85" fmla="*/ 0 w 3443287"/>
              <a:gd name="connsiteY85" fmla="*/ 3220335 h 5920066"/>
              <a:gd name="connsiteX86" fmla="*/ 0 w 3443287"/>
              <a:gd name="connsiteY86" fmla="*/ 3156237 h 5920066"/>
              <a:gd name="connsiteX87" fmla="*/ 0 w 3443287"/>
              <a:gd name="connsiteY87" fmla="*/ 3118217 h 5920066"/>
              <a:gd name="connsiteX88" fmla="*/ 0 w 3443287"/>
              <a:gd name="connsiteY88" fmla="*/ 3100970 h 5920066"/>
              <a:gd name="connsiteX89" fmla="*/ 0 w 3443287"/>
              <a:gd name="connsiteY89" fmla="*/ 2991102 h 5920066"/>
              <a:gd name="connsiteX90" fmla="*/ 0 w 3443287"/>
              <a:gd name="connsiteY90" fmla="*/ 2946095 h 5920066"/>
              <a:gd name="connsiteX91" fmla="*/ 0 w 3443287"/>
              <a:gd name="connsiteY91" fmla="*/ 2826730 h 5920066"/>
              <a:gd name="connsiteX92" fmla="*/ 0 w 3443287"/>
              <a:gd name="connsiteY92" fmla="*/ 2787072 h 5920066"/>
              <a:gd name="connsiteX93" fmla="*/ 0 w 3443287"/>
              <a:gd name="connsiteY93" fmla="*/ 2741948 h 5920066"/>
              <a:gd name="connsiteX94" fmla="*/ 0 w 3443287"/>
              <a:gd name="connsiteY94" fmla="*/ 2716862 h 5920066"/>
              <a:gd name="connsiteX95" fmla="*/ 0 w 3443287"/>
              <a:gd name="connsiteY95" fmla="*/ 2512832 h 5920066"/>
              <a:gd name="connsiteX96" fmla="*/ 0 w 3443287"/>
              <a:gd name="connsiteY96" fmla="*/ 2472043 h 5920066"/>
              <a:gd name="connsiteX97" fmla="*/ 0 w 3443287"/>
              <a:gd name="connsiteY97" fmla="*/ 2467708 h 5920066"/>
              <a:gd name="connsiteX98" fmla="*/ 0 w 3443287"/>
              <a:gd name="connsiteY98" fmla="*/ 2449933 h 5920066"/>
              <a:gd name="connsiteX99" fmla="*/ 0 w 3443287"/>
              <a:gd name="connsiteY99" fmla="*/ 2197803 h 5920066"/>
              <a:gd name="connsiteX100" fmla="*/ 0 w 3443287"/>
              <a:gd name="connsiteY100" fmla="*/ 2180556 h 5920066"/>
              <a:gd name="connsiteX101" fmla="*/ 0 w 3443287"/>
              <a:gd name="connsiteY101" fmla="*/ 2175692 h 5920066"/>
              <a:gd name="connsiteX102" fmla="*/ 0 w 3443287"/>
              <a:gd name="connsiteY102" fmla="*/ 2088721 h 5920066"/>
              <a:gd name="connsiteX103" fmla="*/ 0 w 3443287"/>
              <a:gd name="connsiteY103" fmla="*/ 1906316 h 5920066"/>
              <a:gd name="connsiteX104" fmla="*/ 0 w 3443287"/>
              <a:gd name="connsiteY104" fmla="*/ 1866658 h 5920066"/>
              <a:gd name="connsiteX105" fmla="*/ 0 w 3443287"/>
              <a:gd name="connsiteY105" fmla="*/ 1814481 h 5920066"/>
              <a:gd name="connsiteX106" fmla="*/ 0 w 3443287"/>
              <a:gd name="connsiteY106" fmla="*/ 1702609 h 5920066"/>
              <a:gd name="connsiteX107" fmla="*/ 0 w 3443287"/>
              <a:gd name="connsiteY107" fmla="*/ 1592418 h 5920066"/>
              <a:gd name="connsiteX108" fmla="*/ 0 w 3443287"/>
              <a:gd name="connsiteY108" fmla="*/ 1529519 h 5920066"/>
              <a:gd name="connsiteX109" fmla="*/ 0 w 3443287"/>
              <a:gd name="connsiteY109" fmla="*/ 1428369 h 5920066"/>
              <a:gd name="connsiteX110" fmla="*/ 0 w 3443287"/>
              <a:gd name="connsiteY110" fmla="*/ 1290764 h 5920066"/>
              <a:gd name="connsiteX111" fmla="*/ 0 w 3443287"/>
              <a:gd name="connsiteY111" fmla="*/ 1255278 h 5920066"/>
              <a:gd name="connsiteX112" fmla="*/ 0 w 3443287"/>
              <a:gd name="connsiteY112" fmla="*/ 1168307 h 5920066"/>
              <a:gd name="connsiteX113" fmla="*/ 0 w 3443287"/>
              <a:gd name="connsiteY113" fmla="*/ 1016524 h 5920066"/>
              <a:gd name="connsiteX114" fmla="*/ 0 w 3443287"/>
              <a:gd name="connsiteY114" fmla="*/ 894067 h 5920066"/>
              <a:gd name="connsiteX115" fmla="*/ 0 w 3443287"/>
              <a:gd name="connsiteY115" fmla="*/ 782195 h 5920066"/>
              <a:gd name="connsiteX116" fmla="*/ 0 w 3443287"/>
              <a:gd name="connsiteY116" fmla="*/ 507955 h 5920066"/>
              <a:gd name="connsiteX117" fmla="*/ 0 w 3443287"/>
              <a:gd name="connsiteY117" fmla="*/ 370350 h 5920066"/>
              <a:gd name="connsiteX118" fmla="*/ 0 w 3443287"/>
              <a:gd name="connsiteY118" fmla="*/ 96110 h 5920066"/>
              <a:gd name="connsiteX119" fmla="*/ 95997 w 3443287"/>
              <a:gd name="connsiteY119" fmla="*/ 0 h 59200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</a:cxnLst>
            <a:rect l="l" t="t" r="r" b="b"/>
            <a:pathLst>
              <a:path w="3443287" h="5920066">
                <a:moveTo>
                  <a:pt x="95997" y="0"/>
                </a:moveTo>
                <a:lnTo>
                  <a:pt x="3443287" y="0"/>
                </a:lnTo>
                <a:lnTo>
                  <a:pt x="3443287" y="5920066"/>
                </a:lnTo>
                <a:lnTo>
                  <a:pt x="95989" y="5920066"/>
                </a:lnTo>
                <a:lnTo>
                  <a:pt x="64311" y="5915938"/>
                </a:lnTo>
                <a:cubicBezTo>
                  <a:pt x="0" y="5897541"/>
                  <a:pt x="0" y="5823957"/>
                  <a:pt x="0" y="5823957"/>
                </a:cubicBezTo>
                <a:lnTo>
                  <a:pt x="0" y="5820222"/>
                </a:lnTo>
                <a:lnTo>
                  <a:pt x="0" y="5811351"/>
                </a:lnTo>
                <a:lnTo>
                  <a:pt x="0" y="5794075"/>
                </a:lnTo>
                <a:lnTo>
                  <a:pt x="0" y="5765594"/>
                </a:lnTo>
                <a:lnTo>
                  <a:pt x="0" y="5723106"/>
                </a:lnTo>
                <a:lnTo>
                  <a:pt x="0" y="5663809"/>
                </a:lnTo>
                <a:lnTo>
                  <a:pt x="0" y="5584902"/>
                </a:lnTo>
                <a:lnTo>
                  <a:pt x="0" y="5549717"/>
                </a:lnTo>
                <a:lnTo>
                  <a:pt x="0" y="5548611"/>
                </a:lnTo>
                <a:lnTo>
                  <a:pt x="0" y="5540863"/>
                </a:lnTo>
                <a:lnTo>
                  <a:pt x="0" y="5520020"/>
                </a:lnTo>
                <a:lnTo>
                  <a:pt x="0" y="5519835"/>
                </a:lnTo>
                <a:lnTo>
                  <a:pt x="0" y="5478886"/>
                </a:lnTo>
                <a:lnTo>
                  <a:pt x="0" y="5448866"/>
                </a:lnTo>
                <a:lnTo>
                  <a:pt x="0" y="5444347"/>
                </a:lnTo>
                <a:lnTo>
                  <a:pt x="0" y="5411375"/>
                </a:lnTo>
                <a:lnTo>
                  <a:pt x="0" y="5365584"/>
                </a:lnTo>
                <a:lnTo>
                  <a:pt x="0" y="5357053"/>
                </a:lnTo>
                <a:lnTo>
                  <a:pt x="0" y="5310662"/>
                </a:lnTo>
                <a:lnTo>
                  <a:pt x="0" y="5257308"/>
                </a:lnTo>
                <a:lnTo>
                  <a:pt x="0" y="5245780"/>
                </a:lnTo>
                <a:lnTo>
                  <a:pt x="0" y="5170107"/>
                </a:lnTo>
                <a:lnTo>
                  <a:pt x="0" y="5144283"/>
                </a:lnTo>
                <a:lnTo>
                  <a:pt x="0" y="5082813"/>
                </a:lnTo>
                <a:lnTo>
                  <a:pt x="0" y="5017146"/>
                </a:lnTo>
                <a:lnTo>
                  <a:pt x="0" y="4983068"/>
                </a:lnTo>
                <a:lnTo>
                  <a:pt x="0" y="4903543"/>
                </a:lnTo>
                <a:lnTo>
                  <a:pt x="0" y="4899808"/>
                </a:lnTo>
                <a:lnTo>
                  <a:pt x="0" y="4890937"/>
                </a:lnTo>
                <a:lnTo>
                  <a:pt x="0" y="4875069"/>
                </a:lnTo>
                <a:lnTo>
                  <a:pt x="0" y="4873661"/>
                </a:lnTo>
                <a:lnTo>
                  <a:pt x="0" y="4870043"/>
                </a:lnTo>
                <a:lnTo>
                  <a:pt x="0" y="4845180"/>
                </a:lnTo>
                <a:lnTo>
                  <a:pt x="0" y="4802692"/>
                </a:lnTo>
                <a:lnTo>
                  <a:pt x="0" y="4743395"/>
                </a:lnTo>
                <a:lnTo>
                  <a:pt x="0" y="4742906"/>
                </a:lnTo>
                <a:lnTo>
                  <a:pt x="0" y="4717221"/>
                </a:lnTo>
                <a:lnTo>
                  <a:pt x="0" y="4664488"/>
                </a:lnTo>
                <a:lnTo>
                  <a:pt x="0" y="4629303"/>
                </a:lnTo>
                <a:lnTo>
                  <a:pt x="0" y="4628197"/>
                </a:lnTo>
                <a:lnTo>
                  <a:pt x="0" y="4620449"/>
                </a:lnTo>
                <a:lnTo>
                  <a:pt x="0" y="4600829"/>
                </a:lnTo>
                <a:lnTo>
                  <a:pt x="0" y="4599606"/>
                </a:lnTo>
                <a:lnTo>
                  <a:pt x="0" y="4599421"/>
                </a:lnTo>
                <a:lnTo>
                  <a:pt x="0" y="4558472"/>
                </a:lnTo>
                <a:lnTo>
                  <a:pt x="0" y="4542771"/>
                </a:lnTo>
                <a:lnTo>
                  <a:pt x="0" y="4528452"/>
                </a:lnTo>
                <a:lnTo>
                  <a:pt x="0" y="4523933"/>
                </a:lnTo>
                <a:lnTo>
                  <a:pt x="0" y="4490961"/>
                </a:lnTo>
                <a:lnTo>
                  <a:pt x="0" y="4445170"/>
                </a:lnTo>
                <a:lnTo>
                  <a:pt x="0" y="4442981"/>
                </a:lnTo>
                <a:lnTo>
                  <a:pt x="0" y="4436639"/>
                </a:lnTo>
                <a:lnTo>
                  <a:pt x="0" y="4390248"/>
                </a:lnTo>
                <a:lnTo>
                  <a:pt x="0" y="4350891"/>
                </a:lnTo>
                <a:lnTo>
                  <a:pt x="0" y="4336894"/>
                </a:lnTo>
                <a:lnTo>
                  <a:pt x="0" y="4325366"/>
                </a:lnTo>
                <a:lnTo>
                  <a:pt x="0" y="4268531"/>
                </a:lnTo>
                <a:lnTo>
                  <a:pt x="0" y="4249693"/>
                </a:lnTo>
                <a:lnTo>
                  <a:pt x="0" y="4223869"/>
                </a:lnTo>
                <a:lnTo>
                  <a:pt x="0" y="4162399"/>
                </a:lnTo>
                <a:lnTo>
                  <a:pt x="0" y="4140749"/>
                </a:lnTo>
                <a:lnTo>
                  <a:pt x="0" y="4096732"/>
                </a:lnTo>
                <a:lnTo>
                  <a:pt x="0" y="4076651"/>
                </a:lnTo>
                <a:lnTo>
                  <a:pt x="0" y="4062654"/>
                </a:lnTo>
                <a:lnTo>
                  <a:pt x="0" y="3954655"/>
                </a:lnTo>
                <a:lnTo>
                  <a:pt x="0" y="3949629"/>
                </a:lnTo>
                <a:lnTo>
                  <a:pt x="0" y="3911516"/>
                </a:lnTo>
                <a:lnTo>
                  <a:pt x="0" y="3866509"/>
                </a:lnTo>
                <a:lnTo>
                  <a:pt x="0" y="3822492"/>
                </a:lnTo>
                <a:lnTo>
                  <a:pt x="0" y="3796807"/>
                </a:lnTo>
                <a:lnTo>
                  <a:pt x="0" y="3680415"/>
                </a:lnTo>
                <a:lnTo>
                  <a:pt x="0" y="3662362"/>
                </a:lnTo>
                <a:lnTo>
                  <a:pt x="0" y="3637276"/>
                </a:lnTo>
                <a:lnTo>
                  <a:pt x="0" y="3622357"/>
                </a:lnTo>
                <a:lnTo>
                  <a:pt x="0" y="3522567"/>
                </a:lnTo>
                <a:lnTo>
                  <a:pt x="0" y="3430477"/>
                </a:lnTo>
                <a:lnTo>
                  <a:pt x="0" y="3392457"/>
                </a:lnTo>
                <a:lnTo>
                  <a:pt x="0" y="3388122"/>
                </a:lnTo>
                <a:lnTo>
                  <a:pt x="0" y="3348117"/>
                </a:lnTo>
                <a:lnTo>
                  <a:pt x="0" y="3220335"/>
                </a:lnTo>
                <a:lnTo>
                  <a:pt x="0" y="3156237"/>
                </a:lnTo>
                <a:lnTo>
                  <a:pt x="0" y="3118217"/>
                </a:lnTo>
                <a:lnTo>
                  <a:pt x="0" y="3100970"/>
                </a:lnTo>
                <a:lnTo>
                  <a:pt x="0" y="2991102"/>
                </a:lnTo>
                <a:lnTo>
                  <a:pt x="0" y="2946095"/>
                </a:lnTo>
                <a:lnTo>
                  <a:pt x="0" y="2826730"/>
                </a:lnTo>
                <a:lnTo>
                  <a:pt x="0" y="2787072"/>
                </a:lnTo>
                <a:lnTo>
                  <a:pt x="0" y="2741948"/>
                </a:lnTo>
                <a:lnTo>
                  <a:pt x="0" y="2716862"/>
                </a:lnTo>
                <a:lnTo>
                  <a:pt x="0" y="2512832"/>
                </a:lnTo>
                <a:lnTo>
                  <a:pt x="0" y="2472043"/>
                </a:lnTo>
                <a:lnTo>
                  <a:pt x="0" y="2467708"/>
                </a:lnTo>
                <a:lnTo>
                  <a:pt x="0" y="2449933"/>
                </a:lnTo>
                <a:lnTo>
                  <a:pt x="0" y="2197803"/>
                </a:lnTo>
                <a:lnTo>
                  <a:pt x="0" y="2180556"/>
                </a:lnTo>
                <a:lnTo>
                  <a:pt x="0" y="2175692"/>
                </a:lnTo>
                <a:lnTo>
                  <a:pt x="0" y="2088721"/>
                </a:lnTo>
                <a:lnTo>
                  <a:pt x="0" y="1906316"/>
                </a:lnTo>
                <a:lnTo>
                  <a:pt x="0" y="1866658"/>
                </a:lnTo>
                <a:lnTo>
                  <a:pt x="0" y="1814481"/>
                </a:lnTo>
                <a:lnTo>
                  <a:pt x="0" y="1702609"/>
                </a:lnTo>
                <a:lnTo>
                  <a:pt x="0" y="1592418"/>
                </a:lnTo>
                <a:lnTo>
                  <a:pt x="0" y="1529519"/>
                </a:lnTo>
                <a:lnTo>
                  <a:pt x="0" y="1428369"/>
                </a:lnTo>
                <a:lnTo>
                  <a:pt x="0" y="1290764"/>
                </a:lnTo>
                <a:lnTo>
                  <a:pt x="0" y="1255278"/>
                </a:lnTo>
                <a:lnTo>
                  <a:pt x="0" y="1168307"/>
                </a:lnTo>
                <a:lnTo>
                  <a:pt x="0" y="1016524"/>
                </a:lnTo>
                <a:lnTo>
                  <a:pt x="0" y="894067"/>
                </a:lnTo>
                <a:lnTo>
                  <a:pt x="0" y="782195"/>
                </a:lnTo>
                <a:lnTo>
                  <a:pt x="0" y="507955"/>
                </a:lnTo>
                <a:lnTo>
                  <a:pt x="0" y="370350"/>
                </a:lnTo>
                <a:lnTo>
                  <a:pt x="0" y="96110"/>
                </a:lnTo>
                <a:cubicBezTo>
                  <a:pt x="0" y="0"/>
                  <a:pt x="95997" y="0"/>
                  <a:pt x="95997" y="0"/>
                </a:cubicBezTo>
                <a:close/>
              </a:path>
            </a:pathLst>
          </a:custGeom>
          <a:solidFill>
            <a:srgbClr val="EBEBEB">
              <a:alpha val="10000"/>
            </a:srgbClr>
          </a:solidFill>
        </p:spPr>
        <p:txBody>
          <a:bodyPr wrap="square" lIns="360000" tIns="360000">
            <a:noAutofit/>
          </a:bodyPr>
          <a:lstStyle>
            <a:lvl1pPr algn="ctr">
              <a:defRPr sz="1400" b="0"/>
            </a:lvl1pPr>
          </a:lstStyle>
          <a:p>
            <a:r>
              <a:rPr lang="nl-NL" noProof="0" smtClean="0"/>
              <a:t>Klik op het pictogram als u een afbeelding wilt toevoegen</a:t>
            </a:r>
            <a:endParaRPr lang="en-GB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94866" y="280736"/>
            <a:ext cx="5514619" cy="854075"/>
          </a:xfrm>
        </p:spPr>
        <p:txBody>
          <a:bodyPr/>
          <a:lstStyle/>
          <a:p>
            <a:r>
              <a:rPr lang="nl-NL" smtClean="0"/>
              <a:t>Klik om de stijl te bewerken</a:t>
            </a:r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49352383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1" pos="2854" userDrawn="1">
          <p15:clr>
            <a:srgbClr val="FBAE40"/>
          </p15:clr>
        </p15:guide>
        <p15:guide id="2" pos="2610" userDrawn="1">
          <p15:clr>
            <a:srgbClr val="FBAE40"/>
          </p15:clr>
        </p15:guide>
      </p15:sldGuideLst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Pictur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681038" y="1270000"/>
            <a:ext cx="5513625" cy="4978400"/>
          </a:xfrm>
        </p:spPr>
        <p:txBody>
          <a:bodyPr/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6"/>
          </p:nvPr>
        </p:nvSpPr>
        <p:spPr bwMode="gray">
          <a:xfrm>
            <a:off x="6869063" y="280732"/>
            <a:ext cx="2796853" cy="5920066"/>
          </a:xfrm>
          <a:custGeom>
            <a:avLst/>
            <a:gdLst>
              <a:gd name="connsiteX0" fmla="*/ 0 w 3442280"/>
              <a:gd name="connsiteY0" fmla="*/ 0 h 5920066"/>
              <a:gd name="connsiteX1" fmla="*/ 3346283 w 3442280"/>
              <a:gd name="connsiteY1" fmla="*/ 0 h 5920066"/>
              <a:gd name="connsiteX2" fmla="*/ 3442280 w 3442280"/>
              <a:gd name="connsiteY2" fmla="*/ 96110 h 5920066"/>
              <a:gd name="connsiteX3" fmla="*/ 3442280 w 3442280"/>
              <a:gd name="connsiteY3" fmla="*/ 335165 h 5920066"/>
              <a:gd name="connsiteX4" fmla="*/ 3442280 w 3442280"/>
              <a:gd name="connsiteY4" fmla="*/ 370350 h 5920066"/>
              <a:gd name="connsiteX5" fmla="*/ 3442280 w 3442280"/>
              <a:gd name="connsiteY5" fmla="*/ 379204 h 5920066"/>
              <a:gd name="connsiteX6" fmla="*/ 3442280 w 3442280"/>
              <a:gd name="connsiteY6" fmla="*/ 400048 h 5920066"/>
              <a:gd name="connsiteX7" fmla="*/ 3442280 w 3442280"/>
              <a:gd name="connsiteY7" fmla="*/ 400232 h 5920066"/>
              <a:gd name="connsiteX8" fmla="*/ 3442280 w 3442280"/>
              <a:gd name="connsiteY8" fmla="*/ 471202 h 5920066"/>
              <a:gd name="connsiteX9" fmla="*/ 3442280 w 3442280"/>
              <a:gd name="connsiteY9" fmla="*/ 475721 h 5920066"/>
              <a:gd name="connsiteX10" fmla="*/ 3442280 w 3442280"/>
              <a:gd name="connsiteY10" fmla="*/ 508692 h 5920066"/>
              <a:gd name="connsiteX11" fmla="*/ 3442280 w 3442280"/>
              <a:gd name="connsiteY11" fmla="*/ 554484 h 5920066"/>
              <a:gd name="connsiteX12" fmla="*/ 3442280 w 3442280"/>
              <a:gd name="connsiteY12" fmla="*/ 563015 h 5920066"/>
              <a:gd name="connsiteX13" fmla="*/ 3442280 w 3442280"/>
              <a:gd name="connsiteY13" fmla="*/ 609405 h 5920066"/>
              <a:gd name="connsiteX14" fmla="*/ 3442280 w 3442280"/>
              <a:gd name="connsiteY14" fmla="*/ 662759 h 5920066"/>
              <a:gd name="connsiteX15" fmla="*/ 3442280 w 3442280"/>
              <a:gd name="connsiteY15" fmla="*/ 674288 h 5920066"/>
              <a:gd name="connsiteX16" fmla="*/ 3442280 w 3442280"/>
              <a:gd name="connsiteY16" fmla="*/ 749961 h 5920066"/>
              <a:gd name="connsiteX17" fmla="*/ 3442280 w 3442280"/>
              <a:gd name="connsiteY17" fmla="*/ 775785 h 5920066"/>
              <a:gd name="connsiteX18" fmla="*/ 3442280 w 3442280"/>
              <a:gd name="connsiteY18" fmla="*/ 837255 h 5920066"/>
              <a:gd name="connsiteX19" fmla="*/ 3442280 w 3442280"/>
              <a:gd name="connsiteY19" fmla="*/ 902921 h 5920066"/>
              <a:gd name="connsiteX20" fmla="*/ 3442280 w 3442280"/>
              <a:gd name="connsiteY20" fmla="*/ 936999 h 5920066"/>
              <a:gd name="connsiteX21" fmla="*/ 3442280 w 3442280"/>
              <a:gd name="connsiteY21" fmla="*/ 1016524 h 5920066"/>
              <a:gd name="connsiteX22" fmla="*/ 3442280 w 3442280"/>
              <a:gd name="connsiteY22" fmla="*/ 1029131 h 5920066"/>
              <a:gd name="connsiteX23" fmla="*/ 3442280 w 3442280"/>
              <a:gd name="connsiteY23" fmla="*/ 1044999 h 5920066"/>
              <a:gd name="connsiteX24" fmla="*/ 3442280 w 3442280"/>
              <a:gd name="connsiteY24" fmla="*/ 1046406 h 5920066"/>
              <a:gd name="connsiteX25" fmla="*/ 3442280 w 3442280"/>
              <a:gd name="connsiteY25" fmla="*/ 1050025 h 5920066"/>
              <a:gd name="connsiteX26" fmla="*/ 3442280 w 3442280"/>
              <a:gd name="connsiteY26" fmla="*/ 1074887 h 5920066"/>
              <a:gd name="connsiteX27" fmla="*/ 3442280 w 3442280"/>
              <a:gd name="connsiteY27" fmla="*/ 1176672 h 5920066"/>
              <a:gd name="connsiteX28" fmla="*/ 3442280 w 3442280"/>
              <a:gd name="connsiteY28" fmla="*/ 1177161 h 5920066"/>
              <a:gd name="connsiteX29" fmla="*/ 3442280 w 3442280"/>
              <a:gd name="connsiteY29" fmla="*/ 1202847 h 5920066"/>
              <a:gd name="connsiteX30" fmla="*/ 3442280 w 3442280"/>
              <a:gd name="connsiteY30" fmla="*/ 1255579 h 5920066"/>
              <a:gd name="connsiteX31" fmla="*/ 3442280 w 3442280"/>
              <a:gd name="connsiteY31" fmla="*/ 1290764 h 5920066"/>
              <a:gd name="connsiteX32" fmla="*/ 3442280 w 3442280"/>
              <a:gd name="connsiteY32" fmla="*/ 1299618 h 5920066"/>
              <a:gd name="connsiteX33" fmla="*/ 3442280 w 3442280"/>
              <a:gd name="connsiteY33" fmla="*/ 1319239 h 5920066"/>
              <a:gd name="connsiteX34" fmla="*/ 3442280 w 3442280"/>
              <a:gd name="connsiteY34" fmla="*/ 1320462 h 5920066"/>
              <a:gd name="connsiteX35" fmla="*/ 3442280 w 3442280"/>
              <a:gd name="connsiteY35" fmla="*/ 1320646 h 5920066"/>
              <a:gd name="connsiteX36" fmla="*/ 3442280 w 3442280"/>
              <a:gd name="connsiteY36" fmla="*/ 1349128 h 5920066"/>
              <a:gd name="connsiteX37" fmla="*/ 3442280 w 3442280"/>
              <a:gd name="connsiteY37" fmla="*/ 1377296 h 5920066"/>
              <a:gd name="connsiteX38" fmla="*/ 3442280 w 3442280"/>
              <a:gd name="connsiteY38" fmla="*/ 1391616 h 5920066"/>
              <a:gd name="connsiteX39" fmla="*/ 3442280 w 3442280"/>
              <a:gd name="connsiteY39" fmla="*/ 1396135 h 5920066"/>
              <a:gd name="connsiteX40" fmla="*/ 3442280 w 3442280"/>
              <a:gd name="connsiteY40" fmla="*/ 1429106 h 5920066"/>
              <a:gd name="connsiteX41" fmla="*/ 3442280 w 3442280"/>
              <a:gd name="connsiteY41" fmla="*/ 1474898 h 5920066"/>
              <a:gd name="connsiteX42" fmla="*/ 3442280 w 3442280"/>
              <a:gd name="connsiteY42" fmla="*/ 1477087 h 5920066"/>
              <a:gd name="connsiteX43" fmla="*/ 3442280 w 3442280"/>
              <a:gd name="connsiteY43" fmla="*/ 1483429 h 5920066"/>
              <a:gd name="connsiteX44" fmla="*/ 3442280 w 3442280"/>
              <a:gd name="connsiteY44" fmla="*/ 1529819 h 5920066"/>
              <a:gd name="connsiteX45" fmla="*/ 3442280 w 3442280"/>
              <a:gd name="connsiteY45" fmla="*/ 1569177 h 5920066"/>
              <a:gd name="connsiteX46" fmla="*/ 3442280 w 3442280"/>
              <a:gd name="connsiteY46" fmla="*/ 1583173 h 5920066"/>
              <a:gd name="connsiteX47" fmla="*/ 3442280 w 3442280"/>
              <a:gd name="connsiteY47" fmla="*/ 1594702 h 5920066"/>
              <a:gd name="connsiteX48" fmla="*/ 3442280 w 3442280"/>
              <a:gd name="connsiteY48" fmla="*/ 1651536 h 5920066"/>
              <a:gd name="connsiteX49" fmla="*/ 3442280 w 3442280"/>
              <a:gd name="connsiteY49" fmla="*/ 1670375 h 5920066"/>
              <a:gd name="connsiteX50" fmla="*/ 3442280 w 3442280"/>
              <a:gd name="connsiteY50" fmla="*/ 1696199 h 5920066"/>
              <a:gd name="connsiteX51" fmla="*/ 3442280 w 3442280"/>
              <a:gd name="connsiteY51" fmla="*/ 1757669 h 5920066"/>
              <a:gd name="connsiteX52" fmla="*/ 3442280 w 3442280"/>
              <a:gd name="connsiteY52" fmla="*/ 1779318 h 5920066"/>
              <a:gd name="connsiteX53" fmla="*/ 3442280 w 3442280"/>
              <a:gd name="connsiteY53" fmla="*/ 1823335 h 5920066"/>
              <a:gd name="connsiteX54" fmla="*/ 3442280 w 3442280"/>
              <a:gd name="connsiteY54" fmla="*/ 1843417 h 5920066"/>
              <a:gd name="connsiteX55" fmla="*/ 3442280 w 3442280"/>
              <a:gd name="connsiteY55" fmla="*/ 1857413 h 5920066"/>
              <a:gd name="connsiteX56" fmla="*/ 3442280 w 3442280"/>
              <a:gd name="connsiteY56" fmla="*/ 1965413 h 5920066"/>
              <a:gd name="connsiteX57" fmla="*/ 3442280 w 3442280"/>
              <a:gd name="connsiteY57" fmla="*/ 1970439 h 5920066"/>
              <a:gd name="connsiteX58" fmla="*/ 3442280 w 3442280"/>
              <a:gd name="connsiteY58" fmla="*/ 2008551 h 5920066"/>
              <a:gd name="connsiteX59" fmla="*/ 3442280 w 3442280"/>
              <a:gd name="connsiteY59" fmla="*/ 2053558 h 5920066"/>
              <a:gd name="connsiteX60" fmla="*/ 3442280 w 3442280"/>
              <a:gd name="connsiteY60" fmla="*/ 2097575 h 5920066"/>
              <a:gd name="connsiteX61" fmla="*/ 3442280 w 3442280"/>
              <a:gd name="connsiteY61" fmla="*/ 2123261 h 5920066"/>
              <a:gd name="connsiteX62" fmla="*/ 3442280 w 3442280"/>
              <a:gd name="connsiteY62" fmla="*/ 2239653 h 5920066"/>
              <a:gd name="connsiteX63" fmla="*/ 3442280 w 3442280"/>
              <a:gd name="connsiteY63" fmla="*/ 2257705 h 5920066"/>
              <a:gd name="connsiteX64" fmla="*/ 3442280 w 3442280"/>
              <a:gd name="connsiteY64" fmla="*/ 2282791 h 5920066"/>
              <a:gd name="connsiteX65" fmla="*/ 3442280 w 3442280"/>
              <a:gd name="connsiteY65" fmla="*/ 2297710 h 5920066"/>
              <a:gd name="connsiteX66" fmla="*/ 3442280 w 3442280"/>
              <a:gd name="connsiteY66" fmla="*/ 2397501 h 5920066"/>
              <a:gd name="connsiteX67" fmla="*/ 3442280 w 3442280"/>
              <a:gd name="connsiteY67" fmla="*/ 2489591 h 5920066"/>
              <a:gd name="connsiteX68" fmla="*/ 3442280 w 3442280"/>
              <a:gd name="connsiteY68" fmla="*/ 2527610 h 5920066"/>
              <a:gd name="connsiteX69" fmla="*/ 3442280 w 3442280"/>
              <a:gd name="connsiteY69" fmla="*/ 2531945 h 5920066"/>
              <a:gd name="connsiteX70" fmla="*/ 3442280 w 3442280"/>
              <a:gd name="connsiteY70" fmla="*/ 2571950 h 5920066"/>
              <a:gd name="connsiteX71" fmla="*/ 3442280 w 3442280"/>
              <a:gd name="connsiteY71" fmla="*/ 2699732 h 5920066"/>
              <a:gd name="connsiteX72" fmla="*/ 3442280 w 3442280"/>
              <a:gd name="connsiteY72" fmla="*/ 2763831 h 5920066"/>
              <a:gd name="connsiteX73" fmla="*/ 3442280 w 3442280"/>
              <a:gd name="connsiteY73" fmla="*/ 2801851 h 5920066"/>
              <a:gd name="connsiteX74" fmla="*/ 3442280 w 3442280"/>
              <a:gd name="connsiteY74" fmla="*/ 2819097 h 5920066"/>
              <a:gd name="connsiteX75" fmla="*/ 3442280 w 3442280"/>
              <a:gd name="connsiteY75" fmla="*/ 2928965 h 5920066"/>
              <a:gd name="connsiteX76" fmla="*/ 3442280 w 3442280"/>
              <a:gd name="connsiteY76" fmla="*/ 2973972 h 5920066"/>
              <a:gd name="connsiteX77" fmla="*/ 3442280 w 3442280"/>
              <a:gd name="connsiteY77" fmla="*/ 3093337 h 5920066"/>
              <a:gd name="connsiteX78" fmla="*/ 3442280 w 3442280"/>
              <a:gd name="connsiteY78" fmla="*/ 3132995 h 5920066"/>
              <a:gd name="connsiteX79" fmla="*/ 3442280 w 3442280"/>
              <a:gd name="connsiteY79" fmla="*/ 3178119 h 5920066"/>
              <a:gd name="connsiteX80" fmla="*/ 3442280 w 3442280"/>
              <a:gd name="connsiteY80" fmla="*/ 3203205 h 5920066"/>
              <a:gd name="connsiteX81" fmla="*/ 3442280 w 3442280"/>
              <a:gd name="connsiteY81" fmla="*/ 3407236 h 5920066"/>
              <a:gd name="connsiteX82" fmla="*/ 3442280 w 3442280"/>
              <a:gd name="connsiteY82" fmla="*/ 3448024 h 5920066"/>
              <a:gd name="connsiteX83" fmla="*/ 3442280 w 3442280"/>
              <a:gd name="connsiteY83" fmla="*/ 3452359 h 5920066"/>
              <a:gd name="connsiteX84" fmla="*/ 3442280 w 3442280"/>
              <a:gd name="connsiteY84" fmla="*/ 3470135 h 5920066"/>
              <a:gd name="connsiteX85" fmla="*/ 3442280 w 3442280"/>
              <a:gd name="connsiteY85" fmla="*/ 3722265 h 5920066"/>
              <a:gd name="connsiteX86" fmla="*/ 3442280 w 3442280"/>
              <a:gd name="connsiteY86" fmla="*/ 3739511 h 5920066"/>
              <a:gd name="connsiteX87" fmla="*/ 3442280 w 3442280"/>
              <a:gd name="connsiteY87" fmla="*/ 3744375 h 5920066"/>
              <a:gd name="connsiteX88" fmla="*/ 3442280 w 3442280"/>
              <a:gd name="connsiteY88" fmla="*/ 3831346 h 5920066"/>
              <a:gd name="connsiteX89" fmla="*/ 3442280 w 3442280"/>
              <a:gd name="connsiteY89" fmla="*/ 4013751 h 5920066"/>
              <a:gd name="connsiteX90" fmla="*/ 3442280 w 3442280"/>
              <a:gd name="connsiteY90" fmla="*/ 4053409 h 5920066"/>
              <a:gd name="connsiteX91" fmla="*/ 3442280 w 3442280"/>
              <a:gd name="connsiteY91" fmla="*/ 4105586 h 5920066"/>
              <a:gd name="connsiteX92" fmla="*/ 3442280 w 3442280"/>
              <a:gd name="connsiteY92" fmla="*/ 4217459 h 5920066"/>
              <a:gd name="connsiteX93" fmla="*/ 3442280 w 3442280"/>
              <a:gd name="connsiteY93" fmla="*/ 4327650 h 5920066"/>
              <a:gd name="connsiteX94" fmla="*/ 3442280 w 3442280"/>
              <a:gd name="connsiteY94" fmla="*/ 4390549 h 5920066"/>
              <a:gd name="connsiteX95" fmla="*/ 3442280 w 3442280"/>
              <a:gd name="connsiteY95" fmla="*/ 4491699 h 5920066"/>
              <a:gd name="connsiteX96" fmla="*/ 3442280 w 3442280"/>
              <a:gd name="connsiteY96" fmla="*/ 4629303 h 5920066"/>
              <a:gd name="connsiteX97" fmla="*/ 3442280 w 3442280"/>
              <a:gd name="connsiteY97" fmla="*/ 4664789 h 5920066"/>
              <a:gd name="connsiteX98" fmla="*/ 3442280 w 3442280"/>
              <a:gd name="connsiteY98" fmla="*/ 4751760 h 5920066"/>
              <a:gd name="connsiteX99" fmla="*/ 3442280 w 3442280"/>
              <a:gd name="connsiteY99" fmla="*/ 4903543 h 5920066"/>
              <a:gd name="connsiteX100" fmla="*/ 3442280 w 3442280"/>
              <a:gd name="connsiteY100" fmla="*/ 5026000 h 5920066"/>
              <a:gd name="connsiteX101" fmla="*/ 3442280 w 3442280"/>
              <a:gd name="connsiteY101" fmla="*/ 5137873 h 5920066"/>
              <a:gd name="connsiteX102" fmla="*/ 3442280 w 3442280"/>
              <a:gd name="connsiteY102" fmla="*/ 5412113 h 5920066"/>
              <a:gd name="connsiteX103" fmla="*/ 3442280 w 3442280"/>
              <a:gd name="connsiteY103" fmla="*/ 5549717 h 5920066"/>
              <a:gd name="connsiteX104" fmla="*/ 3442280 w 3442280"/>
              <a:gd name="connsiteY104" fmla="*/ 5823957 h 5920066"/>
              <a:gd name="connsiteX105" fmla="*/ 3361283 w 3442280"/>
              <a:gd name="connsiteY105" fmla="*/ 5918566 h 5920066"/>
              <a:gd name="connsiteX106" fmla="*/ 3346294 w 3442280"/>
              <a:gd name="connsiteY106" fmla="*/ 5920066 h 5920066"/>
              <a:gd name="connsiteX107" fmla="*/ 0 w 3442280"/>
              <a:gd name="connsiteY107" fmla="*/ 5920066 h 59200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</a:cxnLst>
            <a:rect l="l" t="t" r="r" b="b"/>
            <a:pathLst>
              <a:path w="3442280" h="5920066">
                <a:moveTo>
                  <a:pt x="0" y="0"/>
                </a:moveTo>
                <a:lnTo>
                  <a:pt x="3346283" y="0"/>
                </a:lnTo>
                <a:cubicBezTo>
                  <a:pt x="3442280" y="0"/>
                  <a:pt x="3442280" y="96110"/>
                  <a:pt x="3442280" y="96110"/>
                </a:cubicBezTo>
                <a:cubicBezTo>
                  <a:pt x="3442280" y="96110"/>
                  <a:pt x="3442280" y="96110"/>
                  <a:pt x="3442280" y="335165"/>
                </a:cubicBezTo>
                <a:lnTo>
                  <a:pt x="3442280" y="370350"/>
                </a:lnTo>
                <a:cubicBezTo>
                  <a:pt x="3442280" y="370350"/>
                  <a:pt x="3442280" y="370350"/>
                  <a:pt x="3442280" y="379204"/>
                </a:cubicBezTo>
                <a:lnTo>
                  <a:pt x="3442280" y="400048"/>
                </a:lnTo>
                <a:lnTo>
                  <a:pt x="3442280" y="400232"/>
                </a:lnTo>
                <a:cubicBezTo>
                  <a:pt x="3442280" y="415173"/>
                  <a:pt x="3442280" y="437585"/>
                  <a:pt x="3442280" y="471202"/>
                </a:cubicBezTo>
                <a:lnTo>
                  <a:pt x="3442280" y="475721"/>
                </a:lnTo>
                <a:lnTo>
                  <a:pt x="3442280" y="508692"/>
                </a:lnTo>
                <a:cubicBezTo>
                  <a:pt x="3442280" y="522527"/>
                  <a:pt x="3442280" y="537744"/>
                  <a:pt x="3442280" y="554484"/>
                </a:cubicBezTo>
                <a:lnTo>
                  <a:pt x="3442280" y="563015"/>
                </a:lnTo>
                <a:lnTo>
                  <a:pt x="3442280" y="609405"/>
                </a:lnTo>
                <a:lnTo>
                  <a:pt x="3442280" y="662759"/>
                </a:lnTo>
                <a:lnTo>
                  <a:pt x="3442280" y="674288"/>
                </a:lnTo>
                <a:cubicBezTo>
                  <a:pt x="3442280" y="697668"/>
                  <a:pt x="3442280" y="722846"/>
                  <a:pt x="3442280" y="749961"/>
                </a:cubicBezTo>
                <a:lnTo>
                  <a:pt x="3442280" y="775785"/>
                </a:lnTo>
                <a:lnTo>
                  <a:pt x="3442280" y="837255"/>
                </a:lnTo>
                <a:lnTo>
                  <a:pt x="3442280" y="902921"/>
                </a:lnTo>
                <a:lnTo>
                  <a:pt x="3442280" y="936999"/>
                </a:lnTo>
                <a:lnTo>
                  <a:pt x="3442280" y="1016524"/>
                </a:lnTo>
                <a:cubicBezTo>
                  <a:pt x="3442280" y="1016524"/>
                  <a:pt x="3442280" y="1016524"/>
                  <a:pt x="3442280" y="1029131"/>
                </a:cubicBezTo>
                <a:lnTo>
                  <a:pt x="3442280" y="1044999"/>
                </a:lnTo>
                <a:lnTo>
                  <a:pt x="3442280" y="1046406"/>
                </a:lnTo>
                <a:lnTo>
                  <a:pt x="3442280" y="1050025"/>
                </a:lnTo>
                <a:lnTo>
                  <a:pt x="3442280" y="1074887"/>
                </a:lnTo>
                <a:cubicBezTo>
                  <a:pt x="3442280" y="1098232"/>
                  <a:pt x="3442280" y="1130916"/>
                  <a:pt x="3442280" y="1176672"/>
                </a:cubicBezTo>
                <a:lnTo>
                  <a:pt x="3442280" y="1177161"/>
                </a:lnTo>
                <a:lnTo>
                  <a:pt x="3442280" y="1202847"/>
                </a:lnTo>
                <a:lnTo>
                  <a:pt x="3442280" y="1255579"/>
                </a:lnTo>
                <a:lnTo>
                  <a:pt x="3442280" y="1290764"/>
                </a:lnTo>
                <a:cubicBezTo>
                  <a:pt x="3442280" y="1290764"/>
                  <a:pt x="3442280" y="1290764"/>
                  <a:pt x="3442280" y="1299618"/>
                </a:cubicBezTo>
                <a:lnTo>
                  <a:pt x="3442280" y="1319239"/>
                </a:lnTo>
                <a:lnTo>
                  <a:pt x="3442280" y="1320462"/>
                </a:lnTo>
                <a:lnTo>
                  <a:pt x="3442280" y="1320646"/>
                </a:lnTo>
                <a:cubicBezTo>
                  <a:pt x="3442280" y="1328117"/>
                  <a:pt x="3442280" y="1337455"/>
                  <a:pt x="3442280" y="1349128"/>
                </a:cubicBezTo>
                <a:lnTo>
                  <a:pt x="3442280" y="1377296"/>
                </a:lnTo>
                <a:lnTo>
                  <a:pt x="3442280" y="1391616"/>
                </a:lnTo>
                <a:lnTo>
                  <a:pt x="3442280" y="1396135"/>
                </a:lnTo>
                <a:lnTo>
                  <a:pt x="3442280" y="1429106"/>
                </a:lnTo>
                <a:cubicBezTo>
                  <a:pt x="3442280" y="1442941"/>
                  <a:pt x="3442280" y="1458158"/>
                  <a:pt x="3442280" y="1474898"/>
                </a:cubicBezTo>
                <a:lnTo>
                  <a:pt x="3442280" y="1477087"/>
                </a:lnTo>
                <a:lnTo>
                  <a:pt x="3442280" y="1483429"/>
                </a:lnTo>
                <a:lnTo>
                  <a:pt x="3442280" y="1529819"/>
                </a:lnTo>
                <a:lnTo>
                  <a:pt x="3442280" y="1569177"/>
                </a:lnTo>
                <a:lnTo>
                  <a:pt x="3442280" y="1583173"/>
                </a:lnTo>
                <a:lnTo>
                  <a:pt x="3442280" y="1594702"/>
                </a:lnTo>
                <a:lnTo>
                  <a:pt x="3442280" y="1651536"/>
                </a:lnTo>
                <a:lnTo>
                  <a:pt x="3442280" y="1670375"/>
                </a:lnTo>
                <a:lnTo>
                  <a:pt x="3442280" y="1696199"/>
                </a:lnTo>
                <a:lnTo>
                  <a:pt x="3442280" y="1757669"/>
                </a:lnTo>
                <a:lnTo>
                  <a:pt x="3442280" y="1779318"/>
                </a:lnTo>
                <a:lnTo>
                  <a:pt x="3442280" y="1823335"/>
                </a:lnTo>
                <a:lnTo>
                  <a:pt x="3442280" y="1843417"/>
                </a:lnTo>
                <a:lnTo>
                  <a:pt x="3442280" y="1857413"/>
                </a:lnTo>
                <a:lnTo>
                  <a:pt x="3442280" y="1965413"/>
                </a:lnTo>
                <a:lnTo>
                  <a:pt x="3442280" y="1970439"/>
                </a:lnTo>
                <a:lnTo>
                  <a:pt x="3442280" y="2008551"/>
                </a:lnTo>
                <a:lnTo>
                  <a:pt x="3442280" y="2053558"/>
                </a:lnTo>
                <a:lnTo>
                  <a:pt x="3442280" y="2097575"/>
                </a:lnTo>
                <a:lnTo>
                  <a:pt x="3442280" y="2123261"/>
                </a:lnTo>
                <a:lnTo>
                  <a:pt x="3442280" y="2239653"/>
                </a:lnTo>
                <a:lnTo>
                  <a:pt x="3442280" y="2257705"/>
                </a:lnTo>
                <a:lnTo>
                  <a:pt x="3442280" y="2282791"/>
                </a:lnTo>
                <a:lnTo>
                  <a:pt x="3442280" y="2297710"/>
                </a:lnTo>
                <a:lnTo>
                  <a:pt x="3442280" y="2397501"/>
                </a:lnTo>
                <a:lnTo>
                  <a:pt x="3442280" y="2489591"/>
                </a:lnTo>
                <a:lnTo>
                  <a:pt x="3442280" y="2527610"/>
                </a:lnTo>
                <a:lnTo>
                  <a:pt x="3442280" y="2531945"/>
                </a:lnTo>
                <a:lnTo>
                  <a:pt x="3442280" y="2571950"/>
                </a:lnTo>
                <a:lnTo>
                  <a:pt x="3442280" y="2699732"/>
                </a:lnTo>
                <a:lnTo>
                  <a:pt x="3442280" y="2763831"/>
                </a:lnTo>
                <a:lnTo>
                  <a:pt x="3442280" y="2801851"/>
                </a:lnTo>
                <a:lnTo>
                  <a:pt x="3442280" y="2819097"/>
                </a:lnTo>
                <a:lnTo>
                  <a:pt x="3442280" y="2928965"/>
                </a:lnTo>
                <a:lnTo>
                  <a:pt x="3442280" y="2973972"/>
                </a:lnTo>
                <a:lnTo>
                  <a:pt x="3442280" y="3093337"/>
                </a:lnTo>
                <a:lnTo>
                  <a:pt x="3442280" y="3132995"/>
                </a:lnTo>
                <a:lnTo>
                  <a:pt x="3442280" y="3178119"/>
                </a:lnTo>
                <a:lnTo>
                  <a:pt x="3442280" y="3203205"/>
                </a:lnTo>
                <a:lnTo>
                  <a:pt x="3442280" y="3407236"/>
                </a:lnTo>
                <a:lnTo>
                  <a:pt x="3442280" y="3448024"/>
                </a:lnTo>
                <a:lnTo>
                  <a:pt x="3442280" y="3452359"/>
                </a:lnTo>
                <a:lnTo>
                  <a:pt x="3442280" y="3470135"/>
                </a:lnTo>
                <a:lnTo>
                  <a:pt x="3442280" y="3722265"/>
                </a:lnTo>
                <a:lnTo>
                  <a:pt x="3442280" y="3739511"/>
                </a:lnTo>
                <a:lnTo>
                  <a:pt x="3442280" y="3744375"/>
                </a:lnTo>
                <a:lnTo>
                  <a:pt x="3442280" y="3831346"/>
                </a:lnTo>
                <a:lnTo>
                  <a:pt x="3442280" y="4013751"/>
                </a:lnTo>
                <a:lnTo>
                  <a:pt x="3442280" y="4053409"/>
                </a:lnTo>
                <a:lnTo>
                  <a:pt x="3442280" y="4105586"/>
                </a:lnTo>
                <a:lnTo>
                  <a:pt x="3442280" y="4217459"/>
                </a:lnTo>
                <a:lnTo>
                  <a:pt x="3442280" y="4327650"/>
                </a:lnTo>
                <a:lnTo>
                  <a:pt x="3442280" y="4390549"/>
                </a:lnTo>
                <a:lnTo>
                  <a:pt x="3442280" y="4491699"/>
                </a:lnTo>
                <a:lnTo>
                  <a:pt x="3442280" y="4629303"/>
                </a:lnTo>
                <a:lnTo>
                  <a:pt x="3442280" y="4664789"/>
                </a:lnTo>
                <a:lnTo>
                  <a:pt x="3442280" y="4751760"/>
                </a:lnTo>
                <a:lnTo>
                  <a:pt x="3442280" y="4903543"/>
                </a:lnTo>
                <a:lnTo>
                  <a:pt x="3442280" y="5026000"/>
                </a:lnTo>
                <a:lnTo>
                  <a:pt x="3442280" y="5137873"/>
                </a:lnTo>
                <a:lnTo>
                  <a:pt x="3442280" y="5412113"/>
                </a:lnTo>
                <a:lnTo>
                  <a:pt x="3442280" y="5549717"/>
                </a:lnTo>
                <a:lnTo>
                  <a:pt x="3442280" y="5823957"/>
                </a:lnTo>
                <a:cubicBezTo>
                  <a:pt x="3442280" y="5896040"/>
                  <a:pt x="3388282" y="5914060"/>
                  <a:pt x="3361283" y="5918566"/>
                </a:cubicBezTo>
                <a:lnTo>
                  <a:pt x="3346294" y="5920066"/>
                </a:lnTo>
                <a:lnTo>
                  <a:pt x="0" y="5920066"/>
                </a:lnTo>
                <a:close/>
              </a:path>
            </a:pathLst>
          </a:custGeom>
          <a:solidFill>
            <a:srgbClr val="EBEBEB">
              <a:alpha val="10000"/>
            </a:srgbClr>
          </a:solidFill>
        </p:spPr>
        <p:txBody>
          <a:bodyPr wrap="square" lIns="360000" tIns="360000">
            <a:noAutofit/>
          </a:bodyPr>
          <a:lstStyle>
            <a:lvl1pPr algn="ctr">
              <a:defRPr sz="1400" b="0"/>
            </a:lvl1pPr>
          </a:lstStyle>
          <a:p>
            <a:r>
              <a:rPr lang="nl-NL" noProof="0" smtClean="0"/>
              <a:t>Klik op het pictogram als u een afbeelding wilt toevoegen</a:t>
            </a:r>
            <a:endParaRPr lang="en-GB" noProof="0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687031" y="280736"/>
            <a:ext cx="5507633" cy="854075"/>
          </a:xfrm>
        </p:spPr>
        <p:txBody>
          <a:bodyPr/>
          <a:lstStyle/>
          <a:p>
            <a:r>
              <a:rPr lang="nl-NL" smtClean="0"/>
              <a:t>Klik om de stijl te bewerke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94594024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1" pos="4806" userDrawn="1">
          <p15:clr>
            <a:srgbClr val="FBAE40"/>
          </p15:clr>
        </p15:guide>
        <p15:guide id="2" pos="5322" userDrawn="1">
          <p15:clr>
            <a:srgbClr val="FBAE40"/>
          </p15:clr>
        </p15:guide>
      </p15:sldGuideLst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smtClean="0"/>
              <a:t>Klik om de stijl te bewerken</a:t>
            </a:r>
            <a:endParaRPr lang="en-GB"/>
          </a:p>
        </p:txBody>
      </p:sp>
      <p:sp>
        <p:nvSpPr>
          <p:cNvPr id="14" name="Picture Placeholder 13"/>
          <p:cNvSpPr>
            <a:spLocks noGrp="1"/>
          </p:cNvSpPr>
          <p:nvPr>
            <p:ph type="pic" sz="quarter" idx="19"/>
          </p:nvPr>
        </p:nvSpPr>
        <p:spPr bwMode="gray">
          <a:xfrm>
            <a:off x="566241" y="1201147"/>
            <a:ext cx="9099675" cy="4999652"/>
          </a:xfrm>
          <a:custGeom>
            <a:avLst/>
            <a:gdLst>
              <a:gd name="connsiteX0" fmla="*/ 95997 w 11199600"/>
              <a:gd name="connsiteY0" fmla="*/ 0 h 4999652"/>
              <a:gd name="connsiteX1" fmla="*/ 11103603 w 11199600"/>
              <a:gd name="connsiteY1" fmla="*/ 0 h 4999652"/>
              <a:gd name="connsiteX2" fmla="*/ 11199600 w 11199600"/>
              <a:gd name="connsiteY2" fmla="*/ 96110 h 4999652"/>
              <a:gd name="connsiteX3" fmla="*/ 11199600 w 11199600"/>
              <a:gd name="connsiteY3" fmla="*/ 335165 h 4999652"/>
              <a:gd name="connsiteX4" fmla="*/ 11199600 w 11199600"/>
              <a:gd name="connsiteY4" fmla="*/ 370350 h 4999652"/>
              <a:gd name="connsiteX5" fmla="*/ 11199600 w 11199600"/>
              <a:gd name="connsiteY5" fmla="*/ 379204 h 4999652"/>
              <a:gd name="connsiteX6" fmla="*/ 11199600 w 11199600"/>
              <a:gd name="connsiteY6" fmla="*/ 400048 h 4999652"/>
              <a:gd name="connsiteX7" fmla="*/ 11199600 w 11199600"/>
              <a:gd name="connsiteY7" fmla="*/ 400232 h 4999652"/>
              <a:gd name="connsiteX8" fmla="*/ 11199600 w 11199600"/>
              <a:gd name="connsiteY8" fmla="*/ 471202 h 4999652"/>
              <a:gd name="connsiteX9" fmla="*/ 11199600 w 11199600"/>
              <a:gd name="connsiteY9" fmla="*/ 475721 h 4999652"/>
              <a:gd name="connsiteX10" fmla="*/ 11199600 w 11199600"/>
              <a:gd name="connsiteY10" fmla="*/ 508692 h 4999652"/>
              <a:gd name="connsiteX11" fmla="*/ 11199600 w 11199600"/>
              <a:gd name="connsiteY11" fmla="*/ 554484 h 4999652"/>
              <a:gd name="connsiteX12" fmla="*/ 11199600 w 11199600"/>
              <a:gd name="connsiteY12" fmla="*/ 563015 h 4999652"/>
              <a:gd name="connsiteX13" fmla="*/ 11199600 w 11199600"/>
              <a:gd name="connsiteY13" fmla="*/ 609405 h 4999652"/>
              <a:gd name="connsiteX14" fmla="*/ 11199600 w 11199600"/>
              <a:gd name="connsiteY14" fmla="*/ 662759 h 4999652"/>
              <a:gd name="connsiteX15" fmla="*/ 11199600 w 11199600"/>
              <a:gd name="connsiteY15" fmla="*/ 674288 h 4999652"/>
              <a:gd name="connsiteX16" fmla="*/ 11199600 w 11199600"/>
              <a:gd name="connsiteY16" fmla="*/ 749961 h 4999652"/>
              <a:gd name="connsiteX17" fmla="*/ 11199600 w 11199600"/>
              <a:gd name="connsiteY17" fmla="*/ 775785 h 4999652"/>
              <a:gd name="connsiteX18" fmla="*/ 11199600 w 11199600"/>
              <a:gd name="connsiteY18" fmla="*/ 837255 h 4999652"/>
              <a:gd name="connsiteX19" fmla="*/ 11199600 w 11199600"/>
              <a:gd name="connsiteY19" fmla="*/ 902921 h 4999652"/>
              <a:gd name="connsiteX20" fmla="*/ 11199600 w 11199600"/>
              <a:gd name="connsiteY20" fmla="*/ 936999 h 4999652"/>
              <a:gd name="connsiteX21" fmla="*/ 11199600 w 11199600"/>
              <a:gd name="connsiteY21" fmla="*/ 1016524 h 4999652"/>
              <a:gd name="connsiteX22" fmla="*/ 11199600 w 11199600"/>
              <a:gd name="connsiteY22" fmla="*/ 1029131 h 4999652"/>
              <a:gd name="connsiteX23" fmla="*/ 11199600 w 11199600"/>
              <a:gd name="connsiteY23" fmla="*/ 1044999 h 4999652"/>
              <a:gd name="connsiteX24" fmla="*/ 11199600 w 11199600"/>
              <a:gd name="connsiteY24" fmla="*/ 1046406 h 4999652"/>
              <a:gd name="connsiteX25" fmla="*/ 11199600 w 11199600"/>
              <a:gd name="connsiteY25" fmla="*/ 1050025 h 4999652"/>
              <a:gd name="connsiteX26" fmla="*/ 11199600 w 11199600"/>
              <a:gd name="connsiteY26" fmla="*/ 1074887 h 4999652"/>
              <a:gd name="connsiteX27" fmla="*/ 11199600 w 11199600"/>
              <a:gd name="connsiteY27" fmla="*/ 1176672 h 4999652"/>
              <a:gd name="connsiteX28" fmla="*/ 11199600 w 11199600"/>
              <a:gd name="connsiteY28" fmla="*/ 1177161 h 4999652"/>
              <a:gd name="connsiteX29" fmla="*/ 11199600 w 11199600"/>
              <a:gd name="connsiteY29" fmla="*/ 1202847 h 4999652"/>
              <a:gd name="connsiteX30" fmla="*/ 11199600 w 11199600"/>
              <a:gd name="connsiteY30" fmla="*/ 1208224 h 4999652"/>
              <a:gd name="connsiteX31" fmla="*/ 11199600 w 11199600"/>
              <a:gd name="connsiteY31" fmla="*/ 1255579 h 4999652"/>
              <a:gd name="connsiteX32" fmla="*/ 11199600 w 11199600"/>
              <a:gd name="connsiteY32" fmla="*/ 1290764 h 4999652"/>
              <a:gd name="connsiteX33" fmla="*/ 11199600 w 11199600"/>
              <a:gd name="connsiteY33" fmla="*/ 1299618 h 4999652"/>
              <a:gd name="connsiteX34" fmla="*/ 11199600 w 11199600"/>
              <a:gd name="connsiteY34" fmla="*/ 1319238 h 4999652"/>
              <a:gd name="connsiteX35" fmla="*/ 11199600 w 11199600"/>
              <a:gd name="connsiteY35" fmla="*/ 1319239 h 4999652"/>
              <a:gd name="connsiteX36" fmla="*/ 11199600 w 11199600"/>
              <a:gd name="connsiteY36" fmla="*/ 1320462 h 4999652"/>
              <a:gd name="connsiteX37" fmla="*/ 11199600 w 11199600"/>
              <a:gd name="connsiteY37" fmla="*/ 1320646 h 4999652"/>
              <a:gd name="connsiteX38" fmla="*/ 11199600 w 11199600"/>
              <a:gd name="connsiteY38" fmla="*/ 1337290 h 4999652"/>
              <a:gd name="connsiteX39" fmla="*/ 11199600 w 11199600"/>
              <a:gd name="connsiteY39" fmla="*/ 1349128 h 4999652"/>
              <a:gd name="connsiteX40" fmla="*/ 11199600 w 11199600"/>
              <a:gd name="connsiteY40" fmla="*/ 1362376 h 4999652"/>
              <a:gd name="connsiteX41" fmla="*/ 11199600 w 11199600"/>
              <a:gd name="connsiteY41" fmla="*/ 1377295 h 4999652"/>
              <a:gd name="connsiteX42" fmla="*/ 11199600 w 11199600"/>
              <a:gd name="connsiteY42" fmla="*/ 1377296 h 4999652"/>
              <a:gd name="connsiteX43" fmla="*/ 11199600 w 11199600"/>
              <a:gd name="connsiteY43" fmla="*/ 1391616 h 4999652"/>
              <a:gd name="connsiteX44" fmla="*/ 11199600 w 11199600"/>
              <a:gd name="connsiteY44" fmla="*/ 1396135 h 4999652"/>
              <a:gd name="connsiteX45" fmla="*/ 11199600 w 11199600"/>
              <a:gd name="connsiteY45" fmla="*/ 1429106 h 4999652"/>
              <a:gd name="connsiteX46" fmla="*/ 11199600 w 11199600"/>
              <a:gd name="connsiteY46" fmla="*/ 1474898 h 4999652"/>
              <a:gd name="connsiteX47" fmla="*/ 11199600 w 11199600"/>
              <a:gd name="connsiteY47" fmla="*/ 1477086 h 4999652"/>
              <a:gd name="connsiteX48" fmla="*/ 11199600 w 11199600"/>
              <a:gd name="connsiteY48" fmla="*/ 1477087 h 4999652"/>
              <a:gd name="connsiteX49" fmla="*/ 11199600 w 11199600"/>
              <a:gd name="connsiteY49" fmla="*/ 1483429 h 4999652"/>
              <a:gd name="connsiteX50" fmla="*/ 11199600 w 11199600"/>
              <a:gd name="connsiteY50" fmla="*/ 1529819 h 4999652"/>
              <a:gd name="connsiteX51" fmla="*/ 11199600 w 11199600"/>
              <a:gd name="connsiteY51" fmla="*/ 1569176 h 4999652"/>
              <a:gd name="connsiteX52" fmla="*/ 11199600 w 11199600"/>
              <a:gd name="connsiteY52" fmla="*/ 1569177 h 4999652"/>
              <a:gd name="connsiteX53" fmla="*/ 11199600 w 11199600"/>
              <a:gd name="connsiteY53" fmla="*/ 1583173 h 4999652"/>
              <a:gd name="connsiteX54" fmla="*/ 11199600 w 11199600"/>
              <a:gd name="connsiteY54" fmla="*/ 1594702 h 4999652"/>
              <a:gd name="connsiteX55" fmla="*/ 11199600 w 11199600"/>
              <a:gd name="connsiteY55" fmla="*/ 1607195 h 4999652"/>
              <a:gd name="connsiteX56" fmla="*/ 11199600 w 11199600"/>
              <a:gd name="connsiteY56" fmla="*/ 1611530 h 4999652"/>
              <a:gd name="connsiteX57" fmla="*/ 11199600 w 11199600"/>
              <a:gd name="connsiteY57" fmla="*/ 1651535 h 4999652"/>
              <a:gd name="connsiteX58" fmla="*/ 11199600 w 11199600"/>
              <a:gd name="connsiteY58" fmla="*/ 1651536 h 4999652"/>
              <a:gd name="connsiteX59" fmla="*/ 11199600 w 11199600"/>
              <a:gd name="connsiteY59" fmla="*/ 1670375 h 4999652"/>
              <a:gd name="connsiteX60" fmla="*/ 11199600 w 11199600"/>
              <a:gd name="connsiteY60" fmla="*/ 1696199 h 4999652"/>
              <a:gd name="connsiteX61" fmla="*/ 11199600 w 11199600"/>
              <a:gd name="connsiteY61" fmla="*/ 1757669 h 4999652"/>
              <a:gd name="connsiteX62" fmla="*/ 11199600 w 11199600"/>
              <a:gd name="connsiteY62" fmla="*/ 1779317 h 4999652"/>
              <a:gd name="connsiteX63" fmla="*/ 11199600 w 11199600"/>
              <a:gd name="connsiteY63" fmla="*/ 1779318 h 4999652"/>
              <a:gd name="connsiteX64" fmla="*/ 11199600 w 11199600"/>
              <a:gd name="connsiteY64" fmla="*/ 1823335 h 4999652"/>
              <a:gd name="connsiteX65" fmla="*/ 11199600 w 11199600"/>
              <a:gd name="connsiteY65" fmla="*/ 1843416 h 4999652"/>
              <a:gd name="connsiteX66" fmla="*/ 11199600 w 11199600"/>
              <a:gd name="connsiteY66" fmla="*/ 1843417 h 4999652"/>
              <a:gd name="connsiteX67" fmla="*/ 11199600 w 11199600"/>
              <a:gd name="connsiteY67" fmla="*/ 1857413 h 4999652"/>
              <a:gd name="connsiteX68" fmla="*/ 11199600 w 11199600"/>
              <a:gd name="connsiteY68" fmla="*/ 1881436 h 4999652"/>
              <a:gd name="connsiteX69" fmla="*/ 11199600 w 11199600"/>
              <a:gd name="connsiteY69" fmla="*/ 1898682 h 4999652"/>
              <a:gd name="connsiteX70" fmla="*/ 11199600 w 11199600"/>
              <a:gd name="connsiteY70" fmla="*/ 1965413 h 4999652"/>
              <a:gd name="connsiteX71" fmla="*/ 11199600 w 11199600"/>
              <a:gd name="connsiteY71" fmla="*/ 1970439 h 4999652"/>
              <a:gd name="connsiteX72" fmla="*/ 11199600 w 11199600"/>
              <a:gd name="connsiteY72" fmla="*/ 2008550 h 4999652"/>
              <a:gd name="connsiteX73" fmla="*/ 11199600 w 11199600"/>
              <a:gd name="connsiteY73" fmla="*/ 2008551 h 4999652"/>
              <a:gd name="connsiteX74" fmla="*/ 11199600 w 11199600"/>
              <a:gd name="connsiteY74" fmla="*/ 2053557 h 4999652"/>
              <a:gd name="connsiteX75" fmla="*/ 11199600 w 11199600"/>
              <a:gd name="connsiteY75" fmla="*/ 2053558 h 4999652"/>
              <a:gd name="connsiteX76" fmla="*/ 11199600 w 11199600"/>
              <a:gd name="connsiteY76" fmla="*/ 2097575 h 4999652"/>
              <a:gd name="connsiteX77" fmla="*/ 11199600 w 11199600"/>
              <a:gd name="connsiteY77" fmla="*/ 2123261 h 4999652"/>
              <a:gd name="connsiteX78" fmla="*/ 11199600 w 11199600"/>
              <a:gd name="connsiteY78" fmla="*/ 2172922 h 4999652"/>
              <a:gd name="connsiteX79" fmla="*/ 11199600 w 11199600"/>
              <a:gd name="connsiteY79" fmla="*/ 2212580 h 4999652"/>
              <a:gd name="connsiteX80" fmla="*/ 11199600 w 11199600"/>
              <a:gd name="connsiteY80" fmla="*/ 2239653 h 4999652"/>
              <a:gd name="connsiteX81" fmla="*/ 11199600 w 11199600"/>
              <a:gd name="connsiteY81" fmla="*/ 2257704 h 4999652"/>
              <a:gd name="connsiteX82" fmla="*/ 11199600 w 11199600"/>
              <a:gd name="connsiteY82" fmla="*/ 2257705 h 4999652"/>
              <a:gd name="connsiteX83" fmla="*/ 11199600 w 11199600"/>
              <a:gd name="connsiteY83" fmla="*/ 2282790 h 4999652"/>
              <a:gd name="connsiteX84" fmla="*/ 11199600 w 11199600"/>
              <a:gd name="connsiteY84" fmla="*/ 2282791 h 4999652"/>
              <a:gd name="connsiteX85" fmla="*/ 11199600 w 11199600"/>
              <a:gd name="connsiteY85" fmla="*/ 2297710 h 4999652"/>
              <a:gd name="connsiteX86" fmla="*/ 11199600 w 11199600"/>
              <a:gd name="connsiteY86" fmla="*/ 2397501 h 4999652"/>
              <a:gd name="connsiteX87" fmla="*/ 11199600 w 11199600"/>
              <a:gd name="connsiteY87" fmla="*/ 2486821 h 4999652"/>
              <a:gd name="connsiteX88" fmla="*/ 11199600 w 11199600"/>
              <a:gd name="connsiteY88" fmla="*/ 2489591 h 4999652"/>
              <a:gd name="connsiteX89" fmla="*/ 11199600 w 11199600"/>
              <a:gd name="connsiteY89" fmla="*/ 2527609 h 4999652"/>
              <a:gd name="connsiteX90" fmla="*/ 11199600 w 11199600"/>
              <a:gd name="connsiteY90" fmla="*/ 2527610 h 4999652"/>
              <a:gd name="connsiteX91" fmla="*/ 11199600 w 11199600"/>
              <a:gd name="connsiteY91" fmla="*/ 2531944 h 4999652"/>
              <a:gd name="connsiteX92" fmla="*/ 11199600 w 11199600"/>
              <a:gd name="connsiteY92" fmla="*/ 2531945 h 4999652"/>
              <a:gd name="connsiteX93" fmla="*/ 11199600 w 11199600"/>
              <a:gd name="connsiteY93" fmla="*/ 2549720 h 4999652"/>
              <a:gd name="connsiteX94" fmla="*/ 11199600 w 11199600"/>
              <a:gd name="connsiteY94" fmla="*/ 2571950 h 4999652"/>
              <a:gd name="connsiteX95" fmla="*/ 11199600 w 11199600"/>
              <a:gd name="connsiteY95" fmla="*/ 2699732 h 4999652"/>
              <a:gd name="connsiteX96" fmla="*/ 11199600 w 11199600"/>
              <a:gd name="connsiteY96" fmla="*/ 2763831 h 4999652"/>
              <a:gd name="connsiteX97" fmla="*/ 11199600 w 11199600"/>
              <a:gd name="connsiteY97" fmla="*/ 2790282 h 4999652"/>
              <a:gd name="connsiteX98" fmla="*/ 11199600 w 11199600"/>
              <a:gd name="connsiteY98" fmla="*/ 2801850 h 4999652"/>
              <a:gd name="connsiteX99" fmla="*/ 11199600 w 11199600"/>
              <a:gd name="connsiteY99" fmla="*/ 2819096 h 4999652"/>
              <a:gd name="connsiteX100" fmla="*/ 11199600 w 11199600"/>
              <a:gd name="connsiteY100" fmla="*/ 2823960 h 4999652"/>
              <a:gd name="connsiteX101" fmla="*/ 11199600 w 11199600"/>
              <a:gd name="connsiteY101" fmla="*/ 2910931 h 4999652"/>
              <a:gd name="connsiteX102" fmla="*/ 11199600 w 11199600"/>
              <a:gd name="connsiteY102" fmla="*/ 3093336 h 4999652"/>
              <a:gd name="connsiteX103" fmla="*/ 11199600 w 11199600"/>
              <a:gd name="connsiteY103" fmla="*/ 3132994 h 4999652"/>
              <a:gd name="connsiteX104" fmla="*/ 11199600 w 11199600"/>
              <a:gd name="connsiteY104" fmla="*/ 3185171 h 4999652"/>
              <a:gd name="connsiteX105" fmla="*/ 11199600 w 11199600"/>
              <a:gd name="connsiteY105" fmla="*/ 3297044 h 4999652"/>
              <a:gd name="connsiteX106" fmla="*/ 11199600 w 11199600"/>
              <a:gd name="connsiteY106" fmla="*/ 3407235 h 4999652"/>
              <a:gd name="connsiteX107" fmla="*/ 11199600 w 11199600"/>
              <a:gd name="connsiteY107" fmla="*/ 3470134 h 4999652"/>
              <a:gd name="connsiteX108" fmla="*/ 11199600 w 11199600"/>
              <a:gd name="connsiteY108" fmla="*/ 3571284 h 4999652"/>
              <a:gd name="connsiteX109" fmla="*/ 11199600 w 11199600"/>
              <a:gd name="connsiteY109" fmla="*/ 3708888 h 4999652"/>
              <a:gd name="connsiteX110" fmla="*/ 11199600 w 11199600"/>
              <a:gd name="connsiteY110" fmla="*/ 3744374 h 4999652"/>
              <a:gd name="connsiteX111" fmla="*/ 11199600 w 11199600"/>
              <a:gd name="connsiteY111" fmla="*/ 3831345 h 4999652"/>
              <a:gd name="connsiteX112" fmla="*/ 11199600 w 11199600"/>
              <a:gd name="connsiteY112" fmla="*/ 3983128 h 4999652"/>
              <a:gd name="connsiteX113" fmla="*/ 11199600 w 11199600"/>
              <a:gd name="connsiteY113" fmla="*/ 4105585 h 4999652"/>
              <a:gd name="connsiteX114" fmla="*/ 11199600 w 11199600"/>
              <a:gd name="connsiteY114" fmla="*/ 4217458 h 4999652"/>
              <a:gd name="connsiteX115" fmla="*/ 11199600 w 11199600"/>
              <a:gd name="connsiteY115" fmla="*/ 4491698 h 4999652"/>
              <a:gd name="connsiteX116" fmla="*/ 11199600 w 11199600"/>
              <a:gd name="connsiteY116" fmla="*/ 4629302 h 4999652"/>
              <a:gd name="connsiteX117" fmla="*/ 11199600 w 11199600"/>
              <a:gd name="connsiteY117" fmla="*/ 4903542 h 4999652"/>
              <a:gd name="connsiteX118" fmla="*/ 11103603 w 11199600"/>
              <a:gd name="connsiteY118" fmla="*/ 4999652 h 4999652"/>
              <a:gd name="connsiteX119" fmla="*/ 95997 w 11199600"/>
              <a:gd name="connsiteY119" fmla="*/ 4999652 h 4999652"/>
              <a:gd name="connsiteX120" fmla="*/ 0 w 11199600"/>
              <a:gd name="connsiteY120" fmla="*/ 4903542 h 4999652"/>
              <a:gd name="connsiteX121" fmla="*/ 0 w 11199600"/>
              <a:gd name="connsiteY121" fmla="*/ 4899807 h 4999652"/>
              <a:gd name="connsiteX122" fmla="*/ 0 w 11199600"/>
              <a:gd name="connsiteY122" fmla="*/ 4890936 h 4999652"/>
              <a:gd name="connsiteX123" fmla="*/ 0 w 11199600"/>
              <a:gd name="connsiteY123" fmla="*/ 4873660 h 4999652"/>
              <a:gd name="connsiteX124" fmla="*/ 0 w 11199600"/>
              <a:gd name="connsiteY124" fmla="*/ 4845179 h 4999652"/>
              <a:gd name="connsiteX125" fmla="*/ 0 w 11199600"/>
              <a:gd name="connsiteY125" fmla="*/ 4802691 h 4999652"/>
              <a:gd name="connsiteX126" fmla="*/ 0 w 11199600"/>
              <a:gd name="connsiteY126" fmla="*/ 4743394 h 4999652"/>
              <a:gd name="connsiteX127" fmla="*/ 0 w 11199600"/>
              <a:gd name="connsiteY127" fmla="*/ 4664487 h 4999652"/>
              <a:gd name="connsiteX128" fmla="*/ 0 w 11199600"/>
              <a:gd name="connsiteY128" fmla="*/ 4629302 h 4999652"/>
              <a:gd name="connsiteX129" fmla="*/ 0 w 11199600"/>
              <a:gd name="connsiteY129" fmla="*/ 4628196 h 4999652"/>
              <a:gd name="connsiteX130" fmla="*/ 0 w 11199600"/>
              <a:gd name="connsiteY130" fmla="*/ 4620448 h 4999652"/>
              <a:gd name="connsiteX131" fmla="*/ 0 w 11199600"/>
              <a:gd name="connsiteY131" fmla="*/ 4599605 h 4999652"/>
              <a:gd name="connsiteX132" fmla="*/ 0 w 11199600"/>
              <a:gd name="connsiteY132" fmla="*/ 4599420 h 4999652"/>
              <a:gd name="connsiteX133" fmla="*/ 0 w 11199600"/>
              <a:gd name="connsiteY133" fmla="*/ 4558471 h 4999652"/>
              <a:gd name="connsiteX134" fmla="*/ 0 w 11199600"/>
              <a:gd name="connsiteY134" fmla="*/ 4528451 h 4999652"/>
              <a:gd name="connsiteX135" fmla="*/ 0 w 11199600"/>
              <a:gd name="connsiteY135" fmla="*/ 4523932 h 4999652"/>
              <a:gd name="connsiteX136" fmla="*/ 0 w 11199600"/>
              <a:gd name="connsiteY136" fmla="*/ 4490960 h 4999652"/>
              <a:gd name="connsiteX137" fmla="*/ 0 w 11199600"/>
              <a:gd name="connsiteY137" fmla="*/ 4445169 h 4999652"/>
              <a:gd name="connsiteX138" fmla="*/ 0 w 11199600"/>
              <a:gd name="connsiteY138" fmla="*/ 4436638 h 4999652"/>
              <a:gd name="connsiteX139" fmla="*/ 0 w 11199600"/>
              <a:gd name="connsiteY139" fmla="*/ 4390247 h 4999652"/>
              <a:gd name="connsiteX140" fmla="*/ 0 w 11199600"/>
              <a:gd name="connsiteY140" fmla="*/ 4336893 h 4999652"/>
              <a:gd name="connsiteX141" fmla="*/ 0 w 11199600"/>
              <a:gd name="connsiteY141" fmla="*/ 4325365 h 4999652"/>
              <a:gd name="connsiteX142" fmla="*/ 0 w 11199600"/>
              <a:gd name="connsiteY142" fmla="*/ 4249692 h 4999652"/>
              <a:gd name="connsiteX143" fmla="*/ 0 w 11199600"/>
              <a:gd name="connsiteY143" fmla="*/ 4223868 h 4999652"/>
              <a:gd name="connsiteX144" fmla="*/ 0 w 11199600"/>
              <a:gd name="connsiteY144" fmla="*/ 4162398 h 4999652"/>
              <a:gd name="connsiteX145" fmla="*/ 0 w 11199600"/>
              <a:gd name="connsiteY145" fmla="*/ 4096731 h 4999652"/>
              <a:gd name="connsiteX146" fmla="*/ 0 w 11199600"/>
              <a:gd name="connsiteY146" fmla="*/ 4062653 h 4999652"/>
              <a:gd name="connsiteX147" fmla="*/ 0 w 11199600"/>
              <a:gd name="connsiteY147" fmla="*/ 3983128 h 4999652"/>
              <a:gd name="connsiteX148" fmla="*/ 0 w 11199600"/>
              <a:gd name="connsiteY148" fmla="*/ 3979393 h 4999652"/>
              <a:gd name="connsiteX149" fmla="*/ 0 w 11199600"/>
              <a:gd name="connsiteY149" fmla="*/ 3970522 h 4999652"/>
              <a:gd name="connsiteX150" fmla="*/ 0 w 11199600"/>
              <a:gd name="connsiteY150" fmla="*/ 3954654 h 4999652"/>
              <a:gd name="connsiteX151" fmla="*/ 0 w 11199600"/>
              <a:gd name="connsiteY151" fmla="*/ 3953246 h 4999652"/>
              <a:gd name="connsiteX152" fmla="*/ 0 w 11199600"/>
              <a:gd name="connsiteY152" fmla="*/ 3949628 h 4999652"/>
              <a:gd name="connsiteX153" fmla="*/ 0 w 11199600"/>
              <a:gd name="connsiteY153" fmla="*/ 3924765 h 4999652"/>
              <a:gd name="connsiteX154" fmla="*/ 0 w 11199600"/>
              <a:gd name="connsiteY154" fmla="*/ 3882277 h 4999652"/>
              <a:gd name="connsiteX155" fmla="*/ 0 w 11199600"/>
              <a:gd name="connsiteY155" fmla="*/ 3822980 h 4999652"/>
              <a:gd name="connsiteX156" fmla="*/ 0 w 11199600"/>
              <a:gd name="connsiteY156" fmla="*/ 3822491 h 4999652"/>
              <a:gd name="connsiteX157" fmla="*/ 0 w 11199600"/>
              <a:gd name="connsiteY157" fmla="*/ 3796806 h 4999652"/>
              <a:gd name="connsiteX158" fmla="*/ 0 w 11199600"/>
              <a:gd name="connsiteY158" fmla="*/ 3744073 h 4999652"/>
              <a:gd name="connsiteX159" fmla="*/ 0 w 11199600"/>
              <a:gd name="connsiteY159" fmla="*/ 3708888 h 4999652"/>
              <a:gd name="connsiteX160" fmla="*/ 0 w 11199600"/>
              <a:gd name="connsiteY160" fmla="*/ 3707782 h 4999652"/>
              <a:gd name="connsiteX161" fmla="*/ 0 w 11199600"/>
              <a:gd name="connsiteY161" fmla="*/ 3700034 h 4999652"/>
              <a:gd name="connsiteX162" fmla="*/ 0 w 11199600"/>
              <a:gd name="connsiteY162" fmla="*/ 3680414 h 4999652"/>
              <a:gd name="connsiteX163" fmla="*/ 0 w 11199600"/>
              <a:gd name="connsiteY163" fmla="*/ 3679191 h 4999652"/>
              <a:gd name="connsiteX164" fmla="*/ 0 w 11199600"/>
              <a:gd name="connsiteY164" fmla="*/ 3679006 h 4999652"/>
              <a:gd name="connsiteX165" fmla="*/ 0 w 11199600"/>
              <a:gd name="connsiteY165" fmla="*/ 3638057 h 4999652"/>
              <a:gd name="connsiteX166" fmla="*/ 0 w 11199600"/>
              <a:gd name="connsiteY166" fmla="*/ 3622356 h 4999652"/>
              <a:gd name="connsiteX167" fmla="*/ 0 w 11199600"/>
              <a:gd name="connsiteY167" fmla="*/ 3608037 h 4999652"/>
              <a:gd name="connsiteX168" fmla="*/ 0 w 11199600"/>
              <a:gd name="connsiteY168" fmla="*/ 3603518 h 4999652"/>
              <a:gd name="connsiteX169" fmla="*/ 0 w 11199600"/>
              <a:gd name="connsiteY169" fmla="*/ 3570546 h 4999652"/>
              <a:gd name="connsiteX170" fmla="*/ 0 w 11199600"/>
              <a:gd name="connsiteY170" fmla="*/ 3524755 h 4999652"/>
              <a:gd name="connsiteX171" fmla="*/ 0 w 11199600"/>
              <a:gd name="connsiteY171" fmla="*/ 3522566 h 4999652"/>
              <a:gd name="connsiteX172" fmla="*/ 0 w 11199600"/>
              <a:gd name="connsiteY172" fmla="*/ 3516224 h 4999652"/>
              <a:gd name="connsiteX173" fmla="*/ 0 w 11199600"/>
              <a:gd name="connsiteY173" fmla="*/ 3469833 h 4999652"/>
              <a:gd name="connsiteX174" fmla="*/ 0 w 11199600"/>
              <a:gd name="connsiteY174" fmla="*/ 3430476 h 4999652"/>
              <a:gd name="connsiteX175" fmla="*/ 0 w 11199600"/>
              <a:gd name="connsiteY175" fmla="*/ 3416479 h 4999652"/>
              <a:gd name="connsiteX176" fmla="*/ 0 w 11199600"/>
              <a:gd name="connsiteY176" fmla="*/ 3404951 h 4999652"/>
              <a:gd name="connsiteX177" fmla="*/ 0 w 11199600"/>
              <a:gd name="connsiteY177" fmla="*/ 3348116 h 4999652"/>
              <a:gd name="connsiteX178" fmla="*/ 0 w 11199600"/>
              <a:gd name="connsiteY178" fmla="*/ 3329278 h 4999652"/>
              <a:gd name="connsiteX179" fmla="*/ 0 w 11199600"/>
              <a:gd name="connsiteY179" fmla="*/ 3303454 h 4999652"/>
              <a:gd name="connsiteX180" fmla="*/ 0 w 11199600"/>
              <a:gd name="connsiteY180" fmla="*/ 3241984 h 4999652"/>
              <a:gd name="connsiteX181" fmla="*/ 0 w 11199600"/>
              <a:gd name="connsiteY181" fmla="*/ 3220334 h 4999652"/>
              <a:gd name="connsiteX182" fmla="*/ 0 w 11199600"/>
              <a:gd name="connsiteY182" fmla="*/ 3176317 h 4999652"/>
              <a:gd name="connsiteX183" fmla="*/ 0 w 11199600"/>
              <a:gd name="connsiteY183" fmla="*/ 3156236 h 4999652"/>
              <a:gd name="connsiteX184" fmla="*/ 0 w 11199600"/>
              <a:gd name="connsiteY184" fmla="*/ 3142239 h 4999652"/>
              <a:gd name="connsiteX185" fmla="*/ 0 w 11199600"/>
              <a:gd name="connsiteY185" fmla="*/ 3034240 h 4999652"/>
              <a:gd name="connsiteX186" fmla="*/ 0 w 11199600"/>
              <a:gd name="connsiteY186" fmla="*/ 3029214 h 4999652"/>
              <a:gd name="connsiteX187" fmla="*/ 0 w 11199600"/>
              <a:gd name="connsiteY187" fmla="*/ 2991101 h 4999652"/>
              <a:gd name="connsiteX188" fmla="*/ 0 w 11199600"/>
              <a:gd name="connsiteY188" fmla="*/ 2946094 h 4999652"/>
              <a:gd name="connsiteX189" fmla="*/ 0 w 11199600"/>
              <a:gd name="connsiteY189" fmla="*/ 2902077 h 4999652"/>
              <a:gd name="connsiteX190" fmla="*/ 0 w 11199600"/>
              <a:gd name="connsiteY190" fmla="*/ 2876392 h 4999652"/>
              <a:gd name="connsiteX191" fmla="*/ 0 w 11199600"/>
              <a:gd name="connsiteY191" fmla="*/ 2790282 h 4999652"/>
              <a:gd name="connsiteX192" fmla="*/ 0 w 11199600"/>
              <a:gd name="connsiteY192" fmla="*/ 2787072 h 4999652"/>
              <a:gd name="connsiteX193" fmla="*/ 0 w 11199600"/>
              <a:gd name="connsiteY193" fmla="*/ 2760000 h 4999652"/>
              <a:gd name="connsiteX194" fmla="*/ 0 w 11199600"/>
              <a:gd name="connsiteY194" fmla="*/ 2741948 h 4999652"/>
              <a:gd name="connsiteX195" fmla="*/ 0 w 11199600"/>
              <a:gd name="connsiteY195" fmla="*/ 2741947 h 4999652"/>
              <a:gd name="connsiteX196" fmla="*/ 0 w 11199600"/>
              <a:gd name="connsiteY196" fmla="*/ 2716862 h 4999652"/>
              <a:gd name="connsiteX197" fmla="*/ 0 w 11199600"/>
              <a:gd name="connsiteY197" fmla="*/ 2716861 h 4999652"/>
              <a:gd name="connsiteX198" fmla="*/ 0 w 11199600"/>
              <a:gd name="connsiteY198" fmla="*/ 2701942 h 4999652"/>
              <a:gd name="connsiteX199" fmla="*/ 0 w 11199600"/>
              <a:gd name="connsiteY199" fmla="*/ 2602152 h 4999652"/>
              <a:gd name="connsiteX200" fmla="*/ 0 w 11199600"/>
              <a:gd name="connsiteY200" fmla="*/ 2512832 h 4999652"/>
              <a:gd name="connsiteX201" fmla="*/ 0 w 11199600"/>
              <a:gd name="connsiteY201" fmla="*/ 2510062 h 4999652"/>
              <a:gd name="connsiteX202" fmla="*/ 0 w 11199600"/>
              <a:gd name="connsiteY202" fmla="*/ 2472043 h 4999652"/>
              <a:gd name="connsiteX203" fmla="*/ 0 w 11199600"/>
              <a:gd name="connsiteY203" fmla="*/ 2472042 h 4999652"/>
              <a:gd name="connsiteX204" fmla="*/ 0 w 11199600"/>
              <a:gd name="connsiteY204" fmla="*/ 2467708 h 4999652"/>
              <a:gd name="connsiteX205" fmla="*/ 0 w 11199600"/>
              <a:gd name="connsiteY205" fmla="*/ 2467707 h 4999652"/>
              <a:gd name="connsiteX206" fmla="*/ 0 w 11199600"/>
              <a:gd name="connsiteY206" fmla="*/ 2449933 h 4999652"/>
              <a:gd name="connsiteX207" fmla="*/ 0 w 11199600"/>
              <a:gd name="connsiteY207" fmla="*/ 2427702 h 4999652"/>
              <a:gd name="connsiteX208" fmla="*/ 0 w 11199600"/>
              <a:gd name="connsiteY208" fmla="*/ 2299920 h 4999652"/>
              <a:gd name="connsiteX209" fmla="*/ 0 w 11199600"/>
              <a:gd name="connsiteY209" fmla="*/ 2235822 h 4999652"/>
              <a:gd name="connsiteX210" fmla="*/ 0 w 11199600"/>
              <a:gd name="connsiteY210" fmla="*/ 2197803 h 4999652"/>
              <a:gd name="connsiteX211" fmla="*/ 0 w 11199600"/>
              <a:gd name="connsiteY211" fmla="*/ 2197802 h 4999652"/>
              <a:gd name="connsiteX212" fmla="*/ 0 w 11199600"/>
              <a:gd name="connsiteY212" fmla="*/ 2180556 h 4999652"/>
              <a:gd name="connsiteX213" fmla="*/ 0 w 11199600"/>
              <a:gd name="connsiteY213" fmla="*/ 2180555 h 4999652"/>
              <a:gd name="connsiteX214" fmla="*/ 0 w 11199600"/>
              <a:gd name="connsiteY214" fmla="*/ 2175692 h 4999652"/>
              <a:gd name="connsiteX215" fmla="*/ 0 w 11199600"/>
              <a:gd name="connsiteY215" fmla="*/ 2088721 h 4999652"/>
              <a:gd name="connsiteX216" fmla="*/ 0 w 11199600"/>
              <a:gd name="connsiteY216" fmla="*/ 2070687 h 4999652"/>
              <a:gd name="connsiteX217" fmla="*/ 0 w 11199600"/>
              <a:gd name="connsiteY217" fmla="*/ 2025680 h 4999652"/>
              <a:gd name="connsiteX218" fmla="*/ 0 w 11199600"/>
              <a:gd name="connsiteY218" fmla="*/ 1906316 h 4999652"/>
              <a:gd name="connsiteX219" fmla="*/ 0 w 11199600"/>
              <a:gd name="connsiteY219" fmla="*/ 1906315 h 4999652"/>
              <a:gd name="connsiteX220" fmla="*/ 0 w 11199600"/>
              <a:gd name="connsiteY220" fmla="*/ 1866658 h 4999652"/>
              <a:gd name="connsiteX221" fmla="*/ 0 w 11199600"/>
              <a:gd name="connsiteY221" fmla="*/ 1866657 h 4999652"/>
              <a:gd name="connsiteX222" fmla="*/ 0 w 11199600"/>
              <a:gd name="connsiteY222" fmla="*/ 1821533 h 4999652"/>
              <a:gd name="connsiteX223" fmla="*/ 0 w 11199600"/>
              <a:gd name="connsiteY223" fmla="*/ 1814481 h 4999652"/>
              <a:gd name="connsiteX224" fmla="*/ 0 w 11199600"/>
              <a:gd name="connsiteY224" fmla="*/ 1796447 h 4999652"/>
              <a:gd name="connsiteX225" fmla="*/ 0 w 11199600"/>
              <a:gd name="connsiteY225" fmla="*/ 1702609 h 4999652"/>
              <a:gd name="connsiteX226" fmla="*/ 0 w 11199600"/>
              <a:gd name="connsiteY226" fmla="*/ 1592418 h 4999652"/>
              <a:gd name="connsiteX227" fmla="*/ 0 w 11199600"/>
              <a:gd name="connsiteY227" fmla="*/ 1592417 h 4999652"/>
              <a:gd name="connsiteX228" fmla="*/ 0 w 11199600"/>
              <a:gd name="connsiteY228" fmla="*/ 1551628 h 4999652"/>
              <a:gd name="connsiteX229" fmla="*/ 0 w 11199600"/>
              <a:gd name="connsiteY229" fmla="*/ 1547293 h 4999652"/>
              <a:gd name="connsiteX230" fmla="*/ 0 w 11199600"/>
              <a:gd name="connsiteY230" fmla="*/ 1529519 h 4999652"/>
              <a:gd name="connsiteX231" fmla="*/ 0 w 11199600"/>
              <a:gd name="connsiteY231" fmla="*/ 1529518 h 4999652"/>
              <a:gd name="connsiteX232" fmla="*/ 0 w 11199600"/>
              <a:gd name="connsiteY232" fmla="*/ 1428369 h 4999652"/>
              <a:gd name="connsiteX233" fmla="*/ 0 w 11199600"/>
              <a:gd name="connsiteY233" fmla="*/ 1290764 h 4999652"/>
              <a:gd name="connsiteX234" fmla="*/ 0 w 11199600"/>
              <a:gd name="connsiteY234" fmla="*/ 1277388 h 4999652"/>
              <a:gd name="connsiteX235" fmla="*/ 0 w 11199600"/>
              <a:gd name="connsiteY235" fmla="*/ 1260141 h 4999652"/>
              <a:gd name="connsiteX236" fmla="*/ 0 w 11199600"/>
              <a:gd name="connsiteY236" fmla="*/ 1255278 h 4999652"/>
              <a:gd name="connsiteX237" fmla="*/ 0 w 11199600"/>
              <a:gd name="connsiteY237" fmla="*/ 1255277 h 4999652"/>
              <a:gd name="connsiteX238" fmla="*/ 0 w 11199600"/>
              <a:gd name="connsiteY238" fmla="*/ 1208224 h 4999652"/>
              <a:gd name="connsiteX239" fmla="*/ 0 w 11199600"/>
              <a:gd name="connsiteY239" fmla="*/ 1168307 h 4999652"/>
              <a:gd name="connsiteX240" fmla="*/ 0 w 11199600"/>
              <a:gd name="connsiteY240" fmla="*/ 1016524 h 4999652"/>
              <a:gd name="connsiteX241" fmla="*/ 0 w 11199600"/>
              <a:gd name="connsiteY241" fmla="*/ 894067 h 4999652"/>
              <a:gd name="connsiteX242" fmla="*/ 0 w 11199600"/>
              <a:gd name="connsiteY242" fmla="*/ 782195 h 4999652"/>
              <a:gd name="connsiteX243" fmla="*/ 0 w 11199600"/>
              <a:gd name="connsiteY243" fmla="*/ 507955 h 4999652"/>
              <a:gd name="connsiteX244" fmla="*/ 0 w 11199600"/>
              <a:gd name="connsiteY244" fmla="*/ 370350 h 4999652"/>
              <a:gd name="connsiteX245" fmla="*/ 0 w 11199600"/>
              <a:gd name="connsiteY245" fmla="*/ 96110 h 4999652"/>
              <a:gd name="connsiteX246" fmla="*/ 95997 w 11199600"/>
              <a:gd name="connsiteY246" fmla="*/ 0 h 49996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</a:cxnLst>
            <a:rect l="l" t="t" r="r" b="b"/>
            <a:pathLst>
              <a:path w="11199600" h="4999652">
                <a:moveTo>
                  <a:pt x="95997" y="0"/>
                </a:moveTo>
                <a:lnTo>
                  <a:pt x="11103603" y="0"/>
                </a:lnTo>
                <a:cubicBezTo>
                  <a:pt x="11199600" y="0"/>
                  <a:pt x="11199600" y="96110"/>
                  <a:pt x="11199600" y="96110"/>
                </a:cubicBezTo>
                <a:cubicBezTo>
                  <a:pt x="11199600" y="96110"/>
                  <a:pt x="11199600" y="96110"/>
                  <a:pt x="11199600" y="335165"/>
                </a:cubicBezTo>
                <a:lnTo>
                  <a:pt x="11199600" y="370350"/>
                </a:lnTo>
                <a:cubicBezTo>
                  <a:pt x="11199600" y="370350"/>
                  <a:pt x="11199600" y="370350"/>
                  <a:pt x="11199600" y="379204"/>
                </a:cubicBezTo>
                <a:lnTo>
                  <a:pt x="11199600" y="400048"/>
                </a:lnTo>
                <a:lnTo>
                  <a:pt x="11199600" y="400232"/>
                </a:lnTo>
                <a:cubicBezTo>
                  <a:pt x="11199600" y="415173"/>
                  <a:pt x="11199600" y="437585"/>
                  <a:pt x="11199600" y="471202"/>
                </a:cubicBezTo>
                <a:lnTo>
                  <a:pt x="11199600" y="475721"/>
                </a:lnTo>
                <a:lnTo>
                  <a:pt x="11199600" y="508692"/>
                </a:lnTo>
                <a:cubicBezTo>
                  <a:pt x="11199600" y="522527"/>
                  <a:pt x="11199600" y="537744"/>
                  <a:pt x="11199600" y="554484"/>
                </a:cubicBezTo>
                <a:lnTo>
                  <a:pt x="11199600" y="563015"/>
                </a:lnTo>
                <a:lnTo>
                  <a:pt x="11199600" y="609405"/>
                </a:lnTo>
                <a:lnTo>
                  <a:pt x="11199600" y="662759"/>
                </a:lnTo>
                <a:lnTo>
                  <a:pt x="11199600" y="674288"/>
                </a:lnTo>
                <a:cubicBezTo>
                  <a:pt x="11199600" y="697668"/>
                  <a:pt x="11199600" y="722846"/>
                  <a:pt x="11199600" y="749961"/>
                </a:cubicBezTo>
                <a:lnTo>
                  <a:pt x="11199600" y="775785"/>
                </a:lnTo>
                <a:lnTo>
                  <a:pt x="11199600" y="837255"/>
                </a:lnTo>
                <a:lnTo>
                  <a:pt x="11199600" y="902921"/>
                </a:lnTo>
                <a:lnTo>
                  <a:pt x="11199600" y="936999"/>
                </a:lnTo>
                <a:lnTo>
                  <a:pt x="11199600" y="1016524"/>
                </a:lnTo>
                <a:cubicBezTo>
                  <a:pt x="11199600" y="1016524"/>
                  <a:pt x="11199600" y="1016524"/>
                  <a:pt x="11199600" y="1029131"/>
                </a:cubicBezTo>
                <a:lnTo>
                  <a:pt x="11199600" y="1044999"/>
                </a:lnTo>
                <a:lnTo>
                  <a:pt x="11199600" y="1046406"/>
                </a:lnTo>
                <a:lnTo>
                  <a:pt x="11199600" y="1050025"/>
                </a:lnTo>
                <a:lnTo>
                  <a:pt x="11199600" y="1074887"/>
                </a:lnTo>
                <a:cubicBezTo>
                  <a:pt x="11199600" y="1098232"/>
                  <a:pt x="11199600" y="1130916"/>
                  <a:pt x="11199600" y="1176672"/>
                </a:cubicBezTo>
                <a:lnTo>
                  <a:pt x="11199600" y="1177161"/>
                </a:lnTo>
                <a:lnTo>
                  <a:pt x="11199600" y="1202847"/>
                </a:lnTo>
                <a:lnTo>
                  <a:pt x="11199600" y="1208224"/>
                </a:lnTo>
                <a:lnTo>
                  <a:pt x="11199600" y="1255579"/>
                </a:lnTo>
                <a:lnTo>
                  <a:pt x="11199600" y="1290764"/>
                </a:lnTo>
                <a:cubicBezTo>
                  <a:pt x="11199600" y="1290764"/>
                  <a:pt x="11199600" y="1290764"/>
                  <a:pt x="11199600" y="1299618"/>
                </a:cubicBezTo>
                <a:lnTo>
                  <a:pt x="11199600" y="1319238"/>
                </a:lnTo>
                <a:lnTo>
                  <a:pt x="11199600" y="1319239"/>
                </a:lnTo>
                <a:lnTo>
                  <a:pt x="11199600" y="1320462"/>
                </a:lnTo>
                <a:lnTo>
                  <a:pt x="11199600" y="1320646"/>
                </a:lnTo>
                <a:lnTo>
                  <a:pt x="11199600" y="1337290"/>
                </a:lnTo>
                <a:lnTo>
                  <a:pt x="11199600" y="1349128"/>
                </a:lnTo>
                <a:lnTo>
                  <a:pt x="11199600" y="1362376"/>
                </a:lnTo>
                <a:lnTo>
                  <a:pt x="11199600" y="1377295"/>
                </a:lnTo>
                <a:lnTo>
                  <a:pt x="11199600" y="1377296"/>
                </a:lnTo>
                <a:lnTo>
                  <a:pt x="11199600" y="1391616"/>
                </a:lnTo>
                <a:lnTo>
                  <a:pt x="11199600" y="1396135"/>
                </a:lnTo>
                <a:lnTo>
                  <a:pt x="11199600" y="1429106"/>
                </a:lnTo>
                <a:cubicBezTo>
                  <a:pt x="11199600" y="1442941"/>
                  <a:pt x="11199600" y="1458158"/>
                  <a:pt x="11199600" y="1474898"/>
                </a:cubicBezTo>
                <a:lnTo>
                  <a:pt x="11199600" y="1477086"/>
                </a:lnTo>
                <a:lnTo>
                  <a:pt x="11199600" y="1477087"/>
                </a:lnTo>
                <a:lnTo>
                  <a:pt x="11199600" y="1483429"/>
                </a:lnTo>
                <a:lnTo>
                  <a:pt x="11199600" y="1529819"/>
                </a:lnTo>
                <a:lnTo>
                  <a:pt x="11199600" y="1569176"/>
                </a:lnTo>
                <a:lnTo>
                  <a:pt x="11199600" y="1569177"/>
                </a:lnTo>
                <a:lnTo>
                  <a:pt x="11199600" y="1583173"/>
                </a:lnTo>
                <a:lnTo>
                  <a:pt x="11199600" y="1594702"/>
                </a:lnTo>
                <a:lnTo>
                  <a:pt x="11199600" y="1607195"/>
                </a:lnTo>
                <a:lnTo>
                  <a:pt x="11199600" y="1611530"/>
                </a:lnTo>
                <a:lnTo>
                  <a:pt x="11199600" y="1651535"/>
                </a:lnTo>
                <a:lnTo>
                  <a:pt x="11199600" y="1651536"/>
                </a:lnTo>
                <a:lnTo>
                  <a:pt x="11199600" y="1670375"/>
                </a:lnTo>
                <a:lnTo>
                  <a:pt x="11199600" y="1696199"/>
                </a:lnTo>
                <a:lnTo>
                  <a:pt x="11199600" y="1757669"/>
                </a:lnTo>
                <a:lnTo>
                  <a:pt x="11199600" y="1779317"/>
                </a:lnTo>
                <a:lnTo>
                  <a:pt x="11199600" y="1779318"/>
                </a:lnTo>
                <a:lnTo>
                  <a:pt x="11199600" y="1823335"/>
                </a:lnTo>
                <a:lnTo>
                  <a:pt x="11199600" y="1843416"/>
                </a:lnTo>
                <a:lnTo>
                  <a:pt x="11199600" y="1843417"/>
                </a:lnTo>
                <a:lnTo>
                  <a:pt x="11199600" y="1857413"/>
                </a:lnTo>
                <a:lnTo>
                  <a:pt x="11199600" y="1881436"/>
                </a:lnTo>
                <a:lnTo>
                  <a:pt x="11199600" y="1898682"/>
                </a:lnTo>
                <a:lnTo>
                  <a:pt x="11199600" y="1965413"/>
                </a:lnTo>
                <a:lnTo>
                  <a:pt x="11199600" y="1970439"/>
                </a:lnTo>
                <a:lnTo>
                  <a:pt x="11199600" y="2008550"/>
                </a:lnTo>
                <a:lnTo>
                  <a:pt x="11199600" y="2008551"/>
                </a:lnTo>
                <a:lnTo>
                  <a:pt x="11199600" y="2053557"/>
                </a:lnTo>
                <a:lnTo>
                  <a:pt x="11199600" y="2053558"/>
                </a:lnTo>
                <a:lnTo>
                  <a:pt x="11199600" y="2097575"/>
                </a:lnTo>
                <a:lnTo>
                  <a:pt x="11199600" y="2123261"/>
                </a:lnTo>
                <a:lnTo>
                  <a:pt x="11199600" y="2172922"/>
                </a:lnTo>
                <a:lnTo>
                  <a:pt x="11199600" y="2212580"/>
                </a:lnTo>
                <a:lnTo>
                  <a:pt x="11199600" y="2239653"/>
                </a:lnTo>
                <a:lnTo>
                  <a:pt x="11199600" y="2257704"/>
                </a:lnTo>
                <a:lnTo>
                  <a:pt x="11199600" y="2257705"/>
                </a:lnTo>
                <a:lnTo>
                  <a:pt x="11199600" y="2282790"/>
                </a:lnTo>
                <a:lnTo>
                  <a:pt x="11199600" y="2282791"/>
                </a:lnTo>
                <a:lnTo>
                  <a:pt x="11199600" y="2297710"/>
                </a:lnTo>
                <a:lnTo>
                  <a:pt x="11199600" y="2397501"/>
                </a:lnTo>
                <a:lnTo>
                  <a:pt x="11199600" y="2486821"/>
                </a:lnTo>
                <a:lnTo>
                  <a:pt x="11199600" y="2489591"/>
                </a:lnTo>
                <a:lnTo>
                  <a:pt x="11199600" y="2527609"/>
                </a:lnTo>
                <a:lnTo>
                  <a:pt x="11199600" y="2527610"/>
                </a:lnTo>
                <a:lnTo>
                  <a:pt x="11199600" y="2531944"/>
                </a:lnTo>
                <a:lnTo>
                  <a:pt x="11199600" y="2531945"/>
                </a:lnTo>
                <a:lnTo>
                  <a:pt x="11199600" y="2549720"/>
                </a:lnTo>
                <a:lnTo>
                  <a:pt x="11199600" y="2571950"/>
                </a:lnTo>
                <a:lnTo>
                  <a:pt x="11199600" y="2699732"/>
                </a:lnTo>
                <a:lnTo>
                  <a:pt x="11199600" y="2763831"/>
                </a:lnTo>
                <a:lnTo>
                  <a:pt x="11199600" y="2790282"/>
                </a:lnTo>
                <a:lnTo>
                  <a:pt x="11199600" y="2801850"/>
                </a:lnTo>
                <a:lnTo>
                  <a:pt x="11199600" y="2819096"/>
                </a:lnTo>
                <a:lnTo>
                  <a:pt x="11199600" y="2823960"/>
                </a:lnTo>
                <a:lnTo>
                  <a:pt x="11199600" y="2910931"/>
                </a:lnTo>
                <a:lnTo>
                  <a:pt x="11199600" y="3093336"/>
                </a:lnTo>
                <a:lnTo>
                  <a:pt x="11199600" y="3132994"/>
                </a:lnTo>
                <a:lnTo>
                  <a:pt x="11199600" y="3185171"/>
                </a:lnTo>
                <a:lnTo>
                  <a:pt x="11199600" y="3297044"/>
                </a:lnTo>
                <a:lnTo>
                  <a:pt x="11199600" y="3407235"/>
                </a:lnTo>
                <a:lnTo>
                  <a:pt x="11199600" y="3470134"/>
                </a:lnTo>
                <a:lnTo>
                  <a:pt x="11199600" y="3571284"/>
                </a:lnTo>
                <a:lnTo>
                  <a:pt x="11199600" y="3708888"/>
                </a:lnTo>
                <a:lnTo>
                  <a:pt x="11199600" y="3744374"/>
                </a:lnTo>
                <a:lnTo>
                  <a:pt x="11199600" y="3831345"/>
                </a:lnTo>
                <a:lnTo>
                  <a:pt x="11199600" y="3983128"/>
                </a:lnTo>
                <a:lnTo>
                  <a:pt x="11199600" y="4105585"/>
                </a:lnTo>
                <a:lnTo>
                  <a:pt x="11199600" y="4217458"/>
                </a:lnTo>
                <a:lnTo>
                  <a:pt x="11199600" y="4491698"/>
                </a:lnTo>
                <a:lnTo>
                  <a:pt x="11199600" y="4629302"/>
                </a:lnTo>
                <a:lnTo>
                  <a:pt x="11199600" y="4903542"/>
                </a:lnTo>
                <a:cubicBezTo>
                  <a:pt x="11199600" y="4999652"/>
                  <a:pt x="11103603" y="4999652"/>
                  <a:pt x="11103603" y="4999652"/>
                </a:cubicBezTo>
                <a:cubicBezTo>
                  <a:pt x="11103603" y="4999652"/>
                  <a:pt x="11103603" y="4999652"/>
                  <a:pt x="95997" y="4999652"/>
                </a:cubicBezTo>
                <a:cubicBezTo>
                  <a:pt x="0" y="4999652"/>
                  <a:pt x="0" y="4903542"/>
                  <a:pt x="0" y="4903542"/>
                </a:cubicBezTo>
                <a:lnTo>
                  <a:pt x="0" y="4899807"/>
                </a:lnTo>
                <a:lnTo>
                  <a:pt x="0" y="4890936"/>
                </a:lnTo>
                <a:lnTo>
                  <a:pt x="0" y="4873660"/>
                </a:lnTo>
                <a:lnTo>
                  <a:pt x="0" y="4845179"/>
                </a:lnTo>
                <a:lnTo>
                  <a:pt x="0" y="4802691"/>
                </a:lnTo>
                <a:lnTo>
                  <a:pt x="0" y="4743394"/>
                </a:lnTo>
                <a:lnTo>
                  <a:pt x="0" y="4664487"/>
                </a:lnTo>
                <a:lnTo>
                  <a:pt x="0" y="4629302"/>
                </a:lnTo>
                <a:lnTo>
                  <a:pt x="0" y="4628196"/>
                </a:lnTo>
                <a:lnTo>
                  <a:pt x="0" y="4620448"/>
                </a:lnTo>
                <a:lnTo>
                  <a:pt x="0" y="4599605"/>
                </a:lnTo>
                <a:lnTo>
                  <a:pt x="0" y="4599420"/>
                </a:lnTo>
                <a:lnTo>
                  <a:pt x="0" y="4558471"/>
                </a:lnTo>
                <a:lnTo>
                  <a:pt x="0" y="4528451"/>
                </a:lnTo>
                <a:lnTo>
                  <a:pt x="0" y="4523932"/>
                </a:lnTo>
                <a:lnTo>
                  <a:pt x="0" y="4490960"/>
                </a:lnTo>
                <a:lnTo>
                  <a:pt x="0" y="4445169"/>
                </a:lnTo>
                <a:lnTo>
                  <a:pt x="0" y="4436638"/>
                </a:lnTo>
                <a:lnTo>
                  <a:pt x="0" y="4390247"/>
                </a:lnTo>
                <a:lnTo>
                  <a:pt x="0" y="4336893"/>
                </a:lnTo>
                <a:lnTo>
                  <a:pt x="0" y="4325365"/>
                </a:lnTo>
                <a:lnTo>
                  <a:pt x="0" y="4249692"/>
                </a:lnTo>
                <a:lnTo>
                  <a:pt x="0" y="4223868"/>
                </a:lnTo>
                <a:lnTo>
                  <a:pt x="0" y="4162398"/>
                </a:lnTo>
                <a:lnTo>
                  <a:pt x="0" y="4096731"/>
                </a:lnTo>
                <a:lnTo>
                  <a:pt x="0" y="4062653"/>
                </a:lnTo>
                <a:lnTo>
                  <a:pt x="0" y="3983128"/>
                </a:lnTo>
                <a:lnTo>
                  <a:pt x="0" y="3979393"/>
                </a:lnTo>
                <a:lnTo>
                  <a:pt x="0" y="3970522"/>
                </a:lnTo>
                <a:lnTo>
                  <a:pt x="0" y="3954654"/>
                </a:lnTo>
                <a:lnTo>
                  <a:pt x="0" y="3953246"/>
                </a:lnTo>
                <a:lnTo>
                  <a:pt x="0" y="3949628"/>
                </a:lnTo>
                <a:lnTo>
                  <a:pt x="0" y="3924765"/>
                </a:lnTo>
                <a:lnTo>
                  <a:pt x="0" y="3882277"/>
                </a:lnTo>
                <a:lnTo>
                  <a:pt x="0" y="3822980"/>
                </a:lnTo>
                <a:lnTo>
                  <a:pt x="0" y="3822491"/>
                </a:lnTo>
                <a:lnTo>
                  <a:pt x="0" y="3796806"/>
                </a:lnTo>
                <a:lnTo>
                  <a:pt x="0" y="3744073"/>
                </a:lnTo>
                <a:lnTo>
                  <a:pt x="0" y="3708888"/>
                </a:lnTo>
                <a:lnTo>
                  <a:pt x="0" y="3707782"/>
                </a:lnTo>
                <a:lnTo>
                  <a:pt x="0" y="3700034"/>
                </a:lnTo>
                <a:lnTo>
                  <a:pt x="0" y="3680414"/>
                </a:lnTo>
                <a:lnTo>
                  <a:pt x="0" y="3679191"/>
                </a:lnTo>
                <a:lnTo>
                  <a:pt x="0" y="3679006"/>
                </a:lnTo>
                <a:lnTo>
                  <a:pt x="0" y="3638057"/>
                </a:lnTo>
                <a:lnTo>
                  <a:pt x="0" y="3622356"/>
                </a:lnTo>
                <a:lnTo>
                  <a:pt x="0" y="3608037"/>
                </a:lnTo>
                <a:lnTo>
                  <a:pt x="0" y="3603518"/>
                </a:lnTo>
                <a:lnTo>
                  <a:pt x="0" y="3570546"/>
                </a:lnTo>
                <a:lnTo>
                  <a:pt x="0" y="3524755"/>
                </a:lnTo>
                <a:lnTo>
                  <a:pt x="0" y="3522566"/>
                </a:lnTo>
                <a:lnTo>
                  <a:pt x="0" y="3516224"/>
                </a:lnTo>
                <a:lnTo>
                  <a:pt x="0" y="3469833"/>
                </a:lnTo>
                <a:lnTo>
                  <a:pt x="0" y="3430476"/>
                </a:lnTo>
                <a:lnTo>
                  <a:pt x="0" y="3416479"/>
                </a:lnTo>
                <a:lnTo>
                  <a:pt x="0" y="3404951"/>
                </a:lnTo>
                <a:lnTo>
                  <a:pt x="0" y="3348116"/>
                </a:lnTo>
                <a:lnTo>
                  <a:pt x="0" y="3329278"/>
                </a:lnTo>
                <a:lnTo>
                  <a:pt x="0" y="3303454"/>
                </a:lnTo>
                <a:lnTo>
                  <a:pt x="0" y="3241984"/>
                </a:lnTo>
                <a:lnTo>
                  <a:pt x="0" y="3220334"/>
                </a:lnTo>
                <a:lnTo>
                  <a:pt x="0" y="3176317"/>
                </a:lnTo>
                <a:lnTo>
                  <a:pt x="0" y="3156236"/>
                </a:lnTo>
                <a:lnTo>
                  <a:pt x="0" y="3142239"/>
                </a:lnTo>
                <a:lnTo>
                  <a:pt x="0" y="3034240"/>
                </a:lnTo>
                <a:lnTo>
                  <a:pt x="0" y="3029214"/>
                </a:lnTo>
                <a:lnTo>
                  <a:pt x="0" y="2991101"/>
                </a:lnTo>
                <a:lnTo>
                  <a:pt x="0" y="2946094"/>
                </a:lnTo>
                <a:lnTo>
                  <a:pt x="0" y="2902077"/>
                </a:lnTo>
                <a:lnTo>
                  <a:pt x="0" y="2876392"/>
                </a:lnTo>
                <a:lnTo>
                  <a:pt x="0" y="2790282"/>
                </a:lnTo>
                <a:lnTo>
                  <a:pt x="0" y="2787072"/>
                </a:lnTo>
                <a:lnTo>
                  <a:pt x="0" y="2760000"/>
                </a:lnTo>
                <a:lnTo>
                  <a:pt x="0" y="2741948"/>
                </a:lnTo>
                <a:lnTo>
                  <a:pt x="0" y="2741947"/>
                </a:lnTo>
                <a:lnTo>
                  <a:pt x="0" y="2716862"/>
                </a:lnTo>
                <a:lnTo>
                  <a:pt x="0" y="2716861"/>
                </a:lnTo>
                <a:lnTo>
                  <a:pt x="0" y="2701942"/>
                </a:lnTo>
                <a:lnTo>
                  <a:pt x="0" y="2602152"/>
                </a:lnTo>
                <a:lnTo>
                  <a:pt x="0" y="2512832"/>
                </a:lnTo>
                <a:lnTo>
                  <a:pt x="0" y="2510062"/>
                </a:lnTo>
                <a:lnTo>
                  <a:pt x="0" y="2472043"/>
                </a:lnTo>
                <a:lnTo>
                  <a:pt x="0" y="2472042"/>
                </a:lnTo>
                <a:lnTo>
                  <a:pt x="0" y="2467708"/>
                </a:lnTo>
                <a:lnTo>
                  <a:pt x="0" y="2467707"/>
                </a:lnTo>
                <a:lnTo>
                  <a:pt x="0" y="2449933"/>
                </a:lnTo>
                <a:lnTo>
                  <a:pt x="0" y="2427702"/>
                </a:lnTo>
                <a:lnTo>
                  <a:pt x="0" y="2299920"/>
                </a:lnTo>
                <a:lnTo>
                  <a:pt x="0" y="2235822"/>
                </a:lnTo>
                <a:lnTo>
                  <a:pt x="0" y="2197803"/>
                </a:lnTo>
                <a:lnTo>
                  <a:pt x="0" y="2197802"/>
                </a:lnTo>
                <a:lnTo>
                  <a:pt x="0" y="2180556"/>
                </a:lnTo>
                <a:lnTo>
                  <a:pt x="0" y="2180555"/>
                </a:lnTo>
                <a:lnTo>
                  <a:pt x="0" y="2175692"/>
                </a:lnTo>
                <a:lnTo>
                  <a:pt x="0" y="2088721"/>
                </a:lnTo>
                <a:lnTo>
                  <a:pt x="0" y="2070687"/>
                </a:lnTo>
                <a:lnTo>
                  <a:pt x="0" y="2025680"/>
                </a:lnTo>
                <a:lnTo>
                  <a:pt x="0" y="1906316"/>
                </a:lnTo>
                <a:lnTo>
                  <a:pt x="0" y="1906315"/>
                </a:lnTo>
                <a:lnTo>
                  <a:pt x="0" y="1866658"/>
                </a:lnTo>
                <a:lnTo>
                  <a:pt x="0" y="1866657"/>
                </a:lnTo>
                <a:lnTo>
                  <a:pt x="0" y="1821533"/>
                </a:lnTo>
                <a:lnTo>
                  <a:pt x="0" y="1814481"/>
                </a:lnTo>
                <a:lnTo>
                  <a:pt x="0" y="1796447"/>
                </a:lnTo>
                <a:lnTo>
                  <a:pt x="0" y="1702609"/>
                </a:lnTo>
                <a:lnTo>
                  <a:pt x="0" y="1592418"/>
                </a:lnTo>
                <a:lnTo>
                  <a:pt x="0" y="1592417"/>
                </a:lnTo>
                <a:lnTo>
                  <a:pt x="0" y="1551628"/>
                </a:lnTo>
                <a:lnTo>
                  <a:pt x="0" y="1547293"/>
                </a:lnTo>
                <a:lnTo>
                  <a:pt x="0" y="1529519"/>
                </a:lnTo>
                <a:lnTo>
                  <a:pt x="0" y="1529518"/>
                </a:lnTo>
                <a:lnTo>
                  <a:pt x="0" y="1428369"/>
                </a:lnTo>
                <a:lnTo>
                  <a:pt x="0" y="1290764"/>
                </a:lnTo>
                <a:lnTo>
                  <a:pt x="0" y="1277388"/>
                </a:lnTo>
                <a:lnTo>
                  <a:pt x="0" y="1260141"/>
                </a:lnTo>
                <a:lnTo>
                  <a:pt x="0" y="1255278"/>
                </a:lnTo>
                <a:lnTo>
                  <a:pt x="0" y="1255277"/>
                </a:lnTo>
                <a:lnTo>
                  <a:pt x="0" y="1208224"/>
                </a:lnTo>
                <a:lnTo>
                  <a:pt x="0" y="1168307"/>
                </a:lnTo>
                <a:lnTo>
                  <a:pt x="0" y="1016524"/>
                </a:lnTo>
                <a:lnTo>
                  <a:pt x="0" y="894067"/>
                </a:lnTo>
                <a:lnTo>
                  <a:pt x="0" y="782195"/>
                </a:lnTo>
                <a:lnTo>
                  <a:pt x="0" y="507955"/>
                </a:lnTo>
                <a:lnTo>
                  <a:pt x="0" y="370350"/>
                </a:lnTo>
                <a:lnTo>
                  <a:pt x="0" y="96110"/>
                </a:lnTo>
                <a:cubicBezTo>
                  <a:pt x="0" y="0"/>
                  <a:pt x="95997" y="0"/>
                  <a:pt x="95997" y="0"/>
                </a:cubicBezTo>
                <a:close/>
              </a:path>
            </a:pathLst>
          </a:custGeom>
          <a:solidFill>
            <a:schemeClr val="bg1">
              <a:lumMod val="95000"/>
              <a:alpha val="10000"/>
            </a:schemeClr>
          </a:solidFill>
        </p:spPr>
        <p:txBody>
          <a:bodyPr wrap="square" lIns="3240000" tIns="36000" rIns="36000" bIns="36000" anchor="ctr" anchorCtr="0">
            <a:noAutofit/>
          </a:bodyPr>
          <a:lstStyle>
            <a:lvl1pPr algn="ctr">
              <a:defRPr sz="1400" b="0"/>
            </a:lvl1pPr>
          </a:lstStyle>
          <a:p>
            <a:r>
              <a:rPr lang="nl-NL" smtClean="0"/>
              <a:t>Klik op het pictogram als u een afbeelding wilt toevoegen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45152786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1" pos="302">
          <p15:clr>
            <a:srgbClr val="FBAE40"/>
          </p15:clr>
        </p15:guide>
      </p15:sldGuideLst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4"/>
          </p:nvPr>
        </p:nvSpPr>
        <p:spPr bwMode="gray">
          <a:xfrm>
            <a:off x="566241" y="280736"/>
            <a:ext cx="9099675" cy="5920067"/>
          </a:xfrm>
          <a:custGeom>
            <a:avLst/>
            <a:gdLst>
              <a:gd name="connsiteX0" fmla="*/ 95997 w 11199600"/>
              <a:gd name="connsiteY0" fmla="*/ 0 h 5920067"/>
              <a:gd name="connsiteX1" fmla="*/ 11103603 w 11199600"/>
              <a:gd name="connsiteY1" fmla="*/ 0 h 5920067"/>
              <a:gd name="connsiteX2" fmla="*/ 11199600 w 11199600"/>
              <a:gd name="connsiteY2" fmla="*/ 96110 h 5920067"/>
              <a:gd name="connsiteX3" fmla="*/ 11199600 w 11199600"/>
              <a:gd name="connsiteY3" fmla="*/ 335165 h 5920067"/>
              <a:gd name="connsiteX4" fmla="*/ 11199600 w 11199600"/>
              <a:gd name="connsiteY4" fmla="*/ 370350 h 5920067"/>
              <a:gd name="connsiteX5" fmla="*/ 11199600 w 11199600"/>
              <a:gd name="connsiteY5" fmla="*/ 379204 h 5920067"/>
              <a:gd name="connsiteX6" fmla="*/ 11199600 w 11199600"/>
              <a:gd name="connsiteY6" fmla="*/ 400048 h 5920067"/>
              <a:gd name="connsiteX7" fmla="*/ 11199600 w 11199600"/>
              <a:gd name="connsiteY7" fmla="*/ 400232 h 5920067"/>
              <a:gd name="connsiteX8" fmla="*/ 11199600 w 11199600"/>
              <a:gd name="connsiteY8" fmla="*/ 471202 h 5920067"/>
              <a:gd name="connsiteX9" fmla="*/ 11199600 w 11199600"/>
              <a:gd name="connsiteY9" fmla="*/ 475721 h 5920067"/>
              <a:gd name="connsiteX10" fmla="*/ 11199600 w 11199600"/>
              <a:gd name="connsiteY10" fmla="*/ 508692 h 5920067"/>
              <a:gd name="connsiteX11" fmla="*/ 11199600 w 11199600"/>
              <a:gd name="connsiteY11" fmla="*/ 554484 h 5920067"/>
              <a:gd name="connsiteX12" fmla="*/ 11199600 w 11199600"/>
              <a:gd name="connsiteY12" fmla="*/ 563015 h 5920067"/>
              <a:gd name="connsiteX13" fmla="*/ 11199600 w 11199600"/>
              <a:gd name="connsiteY13" fmla="*/ 609405 h 5920067"/>
              <a:gd name="connsiteX14" fmla="*/ 11199600 w 11199600"/>
              <a:gd name="connsiteY14" fmla="*/ 662759 h 5920067"/>
              <a:gd name="connsiteX15" fmla="*/ 11199600 w 11199600"/>
              <a:gd name="connsiteY15" fmla="*/ 674288 h 5920067"/>
              <a:gd name="connsiteX16" fmla="*/ 11199600 w 11199600"/>
              <a:gd name="connsiteY16" fmla="*/ 749961 h 5920067"/>
              <a:gd name="connsiteX17" fmla="*/ 11199600 w 11199600"/>
              <a:gd name="connsiteY17" fmla="*/ 775785 h 5920067"/>
              <a:gd name="connsiteX18" fmla="*/ 11199600 w 11199600"/>
              <a:gd name="connsiteY18" fmla="*/ 837255 h 5920067"/>
              <a:gd name="connsiteX19" fmla="*/ 11199600 w 11199600"/>
              <a:gd name="connsiteY19" fmla="*/ 902921 h 5920067"/>
              <a:gd name="connsiteX20" fmla="*/ 11199600 w 11199600"/>
              <a:gd name="connsiteY20" fmla="*/ 936999 h 5920067"/>
              <a:gd name="connsiteX21" fmla="*/ 11199600 w 11199600"/>
              <a:gd name="connsiteY21" fmla="*/ 1016524 h 5920067"/>
              <a:gd name="connsiteX22" fmla="*/ 11199600 w 11199600"/>
              <a:gd name="connsiteY22" fmla="*/ 1029131 h 5920067"/>
              <a:gd name="connsiteX23" fmla="*/ 11199600 w 11199600"/>
              <a:gd name="connsiteY23" fmla="*/ 1044999 h 5920067"/>
              <a:gd name="connsiteX24" fmla="*/ 11199600 w 11199600"/>
              <a:gd name="connsiteY24" fmla="*/ 1046406 h 5920067"/>
              <a:gd name="connsiteX25" fmla="*/ 11199600 w 11199600"/>
              <a:gd name="connsiteY25" fmla="*/ 1050025 h 5920067"/>
              <a:gd name="connsiteX26" fmla="*/ 11199600 w 11199600"/>
              <a:gd name="connsiteY26" fmla="*/ 1074887 h 5920067"/>
              <a:gd name="connsiteX27" fmla="*/ 11199600 w 11199600"/>
              <a:gd name="connsiteY27" fmla="*/ 1176672 h 5920067"/>
              <a:gd name="connsiteX28" fmla="*/ 11199600 w 11199600"/>
              <a:gd name="connsiteY28" fmla="*/ 1177161 h 5920067"/>
              <a:gd name="connsiteX29" fmla="*/ 11199600 w 11199600"/>
              <a:gd name="connsiteY29" fmla="*/ 1202847 h 5920067"/>
              <a:gd name="connsiteX30" fmla="*/ 11199600 w 11199600"/>
              <a:gd name="connsiteY30" fmla="*/ 1255579 h 5920067"/>
              <a:gd name="connsiteX31" fmla="*/ 11199600 w 11199600"/>
              <a:gd name="connsiteY31" fmla="*/ 1290764 h 5920067"/>
              <a:gd name="connsiteX32" fmla="*/ 11199600 w 11199600"/>
              <a:gd name="connsiteY32" fmla="*/ 1299618 h 5920067"/>
              <a:gd name="connsiteX33" fmla="*/ 11199600 w 11199600"/>
              <a:gd name="connsiteY33" fmla="*/ 1319239 h 5920067"/>
              <a:gd name="connsiteX34" fmla="*/ 11199600 w 11199600"/>
              <a:gd name="connsiteY34" fmla="*/ 1320462 h 5920067"/>
              <a:gd name="connsiteX35" fmla="*/ 11199600 w 11199600"/>
              <a:gd name="connsiteY35" fmla="*/ 1320646 h 5920067"/>
              <a:gd name="connsiteX36" fmla="*/ 11199600 w 11199600"/>
              <a:gd name="connsiteY36" fmla="*/ 1349128 h 5920067"/>
              <a:gd name="connsiteX37" fmla="*/ 11199600 w 11199600"/>
              <a:gd name="connsiteY37" fmla="*/ 1377296 h 5920067"/>
              <a:gd name="connsiteX38" fmla="*/ 11199600 w 11199600"/>
              <a:gd name="connsiteY38" fmla="*/ 1391616 h 5920067"/>
              <a:gd name="connsiteX39" fmla="*/ 11199600 w 11199600"/>
              <a:gd name="connsiteY39" fmla="*/ 1396135 h 5920067"/>
              <a:gd name="connsiteX40" fmla="*/ 11199600 w 11199600"/>
              <a:gd name="connsiteY40" fmla="*/ 1429106 h 5920067"/>
              <a:gd name="connsiteX41" fmla="*/ 11199600 w 11199600"/>
              <a:gd name="connsiteY41" fmla="*/ 1474898 h 5920067"/>
              <a:gd name="connsiteX42" fmla="*/ 11199600 w 11199600"/>
              <a:gd name="connsiteY42" fmla="*/ 1477087 h 5920067"/>
              <a:gd name="connsiteX43" fmla="*/ 11199600 w 11199600"/>
              <a:gd name="connsiteY43" fmla="*/ 1483429 h 5920067"/>
              <a:gd name="connsiteX44" fmla="*/ 11199600 w 11199600"/>
              <a:gd name="connsiteY44" fmla="*/ 1529819 h 5920067"/>
              <a:gd name="connsiteX45" fmla="*/ 11199600 w 11199600"/>
              <a:gd name="connsiteY45" fmla="*/ 1569177 h 5920067"/>
              <a:gd name="connsiteX46" fmla="*/ 11199600 w 11199600"/>
              <a:gd name="connsiteY46" fmla="*/ 1583173 h 5920067"/>
              <a:gd name="connsiteX47" fmla="*/ 11199600 w 11199600"/>
              <a:gd name="connsiteY47" fmla="*/ 1594702 h 5920067"/>
              <a:gd name="connsiteX48" fmla="*/ 11199600 w 11199600"/>
              <a:gd name="connsiteY48" fmla="*/ 1651536 h 5920067"/>
              <a:gd name="connsiteX49" fmla="*/ 11199600 w 11199600"/>
              <a:gd name="connsiteY49" fmla="*/ 1670375 h 5920067"/>
              <a:gd name="connsiteX50" fmla="*/ 11199600 w 11199600"/>
              <a:gd name="connsiteY50" fmla="*/ 1696199 h 5920067"/>
              <a:gd name="connsiteX51" fmla="*/ 11199600 w 11199600"/>
              <a:gd name="connsiteY51" fmla="*/ 1757669 h 5920067"/>
              <a:gd name="connsiteX52" fmla="*/ 11199600 w 11199600"/>
              <a:gd name="connsiteY52" fmla="*/ 1779318 h 5920067"/>
              <a:gd name="connsiteX53" fmla="*/ 11199600 w 11199600"/>
              <a:gd name="connsiteY53" fmla="*/ 1823335 h 5920067"/>
              <a:gd name="connsiteX54" fmla="*/ 11199600 w 11199600"/>
              <a:gd name="connsiteY54" fmla="*/ 1843417 h 5920067"/>
              <a:gd name="connsiteX55" fmla="*/ 11199600 w 11199600"/>
              <a:gd name="connsiteY55" fmla="*/ 1857413 h 5920067"/>
              <a:gd name="connsiteX56" fmla="*/ 11199600 w 11199600"/>
              <a:gd name="connsiteY56" fmla="*/ 1965413 h 5920067"/>
              <a:gd name="connsiteX57" fmla="*/ 11199600 w 11199600"/>
              <a:gd name="connsiteY57" fmla="*/ 1970439 h 5920067"/>
              <a:gd name="connsiteX58" fmla="*/ 11199600 w 11199600"/>
              <a:gd name="connsiteY58" fmla="*/ 2008551 h 5920067"/>
              <a:gd name="connsiteX59" fmla="*/ 11199600 w 11199600"/>
              <a:gd name="connsiteY59" fmla="*/ 2053558 h 5920067"/>
              <a:gd name="connsiteX60" fmla="*/ 11199600 w 11199600"/>
              <a:gd name="connsiteY60" fmla="*/ 2097575 h 5920067"/>
              <a:gd name="connsiteX61" fmla="*/ 11199600 w 11199600"/>
              <a:gd name="connsiteY61" fmla="*/ 2123261 h 5920067"/>
              <a:gd name="connsiteX62" fmla="*/ 11199600 w 11199600"/>
              <a:gd name="connsiteY62" fmla="*/ 2239653 h 5920067"/>
              <a:gd name="connsiteX63" fmla="*/ 11199600 w 11199600"/>
              <a:gd name="connsiteY63" fmla="*/ 2257705 h 5920067"/>
              <a:gd name="connsiteX64" fmla="*/ 11199600 w 11199600"/>
              <a:gd name="connsiteY64" fmla="*/ 2282791 h 5920067"/>
              <a:gd name="connsiteX65" fmla="*/ 11199600 w 11199600"/>
              <a:gd name="connsiteY65" fmla="*/ 2297710 h 5920067"/>
              <a:gd name="connsiteX66" fmla="*/ 11199600 w 11199600"/>
              <a:gd name="connsiteY66" fmla="*/ 2397501 h 5920067"/>
              <a:gd name="connsiteX67" fmla="*/ 11199600 w 11199600"/>
              <a:gd name="connsiteY67" fmla="*/ 2489591 h 5920067"/>
              <a:gd name="connsiteX68" fmla="*/ 11199600 w 11199600"/>
              <a:gd name="connsiteY68" fmla="*/ 2527610 h 5920067"/>
              <a:gd name="connsiteX69" fmla="*/ 11199600 w 11199600"/>
              <a:gd name="connsiteY69" fmla="*/ 2531945 h 5920067"/>
              <a:gd name="connsiteX70" fmla="*/ 11199600 w 11199600"/>
              <a:gd name="connsiteY70" fmla="*/ 2571950 h 5920067"/>
              <a:gd name="connsiteX71" fmla="*/ 11199600 w 11199600"/>
              <a:gd name="connsiteY71" fmla="*/ 2699732 h 5920067"/>
              <a:gd name="connsiteX72" fmla="*/ 11199600 w 11199600"/>
              <a:gd name="connsiteY72" fmla="*/ 2763831 h 5920067"/>
              <a:gd name="connsiteX73" fmla="*/ 11199600 w 11199600"/>
              <a:gd name="connsiteY73" fmla="*/ 2801851 h 5920067"/>
              <a:gd name="connsiteX74" fmla="*/ 11199600 w 11199600"/>
              <a:gd name="connsiteY74" fmla="*/ 2819097 h 5920067"/>
              <a:gd name="connsiteX75" fmla="*/ 11199600 w 11199600"/>
              <a:gd name="connsiteY75" fmla="*/ 2928965 h 5920067"/>
              <a:gd name="connsiteX76" fmla="*/ 11199600 w 11199600"/>
              <a:gd name="connsiteY76" fmla="*/ 2973972 h 5920067"/>
              <a:gd name="connsiteX77" fmla="*/ 11199600 w 11199600"/>
              <a:gd name="connsiteY77" fmla="*/ 3093337 h 5920067"/>
              <a:gd name="connsiteX78" fmla="*/ 11199600 w 11199600"/>
              <a:gd name="connsiteY78" fmla="*/ 3132995 h 5920067"/>
              <a:gd name="connsiteX79" fmla="*/ 11199600 w 11199600"/>
              <a:gd name="connsiteY79" fmla="*/ 3178119 h 5920067"/>
              <a:gd name="connsiteX80" fmla="*/ 11199600 w 11199600"/>
              <a:gd name="connsiteY80" fmla="*/ 3203205 h 5920067"/>
              <a:gd name="connsiteX81" fmla="*/ 11199600 w 11199600"/>
              <a:gd name="connsiteY81" fmla="*/ 3407236 h 5920067"/>
              <a:gd name="connsiteX82" fmla="*/ 11199600 w 11199600"/>
              <a:gd name="connsiteY82" fmla="*/ 3448024 h 5920067"/>
              <a:gd name="connsiteX83" fmla="*/ 11199600 w 11199600"/>
              <a:gd name="connsiteY83" fmla="*/ 3452359 h 5920067"/>
              <a:gd name="connsiteX84" fmla="*/ 11199600 w 11199600"/>
              <a:gd name="connsiteY84" fmla="*/ 3470135 h 5920067"/>
              <a:gd name="connsiteX85" fmla="*/ 11199600 w 11199600"/>
              <a:gd name="connsiteY85" fmla="*/ 3722265 h 5920067"/>
              <a:gd name="connsiteX86" fmla="*/ 11199600 w 11199600"/>
              <a:gd name="connsiteY86" fmla="*/ 3739511 h 5920067"/>
              <a:gd name="connsiteX87" fmla="*/ 11199600 w 11199600"/>
              <a:gd name="connsiteY87" fmla="*/ 3744375 h 5920067"/>
              <a:gd name="connsiteX88" fmla="*/ 11199600 w 11199600"/>
              <a:gd name="connsiteY88" fmla="*/ 3831346 h 5920067"/>
              <a:gd name="connsiteX89" fmla="*/ 11199600 w 11199600"/>
              <a:gd name="connsiteY89" fmla="*/ 4013751 h 5920067"/>
              <a:gd name="connsiteX90" fmla="*/ 11199600 w 11199600"/>
              <a:gd name="connsiteY90" fmla="*/ 4053409 h 5920067"/>
              <a:gd name="connsiteX91" fmla="*/ 11199600 w 11199600"/>
              <a:gd name="connsiteY91" fmla="*/ 4105586 h 5920067"/>
              <a:gd name="connsiteX92" fmla="*/ 11199600 w 11199600"/>
              <a:gd name="connsiteY92" fmla="*/ 4217459 h 5920067"/>
              <a:gd name="connsiteX93" fmla="*/ 11199600 w 11199600"/>
              <a:gd name="connsiteY93" fmla="*/ 4327650 h 5920067"/>
              <a:gd name="connsiteX94" fmla="*/ 11199600 w 11199600"/>
              <a:gd name="connsiteY94" fmla="*/ 4390549 h 5920067"/>
              <a:gd name="connsiteX95" fmla="*/ 11199600 w 11199600"/>
              <a:gd name="connsiteY95" fmla="*/ 4491699 h 5920067"/>
              <a:gd name="connsiteX96" fmla="*/ 11199600 w 11199600"/>
              <a:gd name="connsiteY96" fmla="*/ 4629303 h 5920067"/>
              <a:gd name="connsiteX97" fmla="*/ 11199600 w 11199600"/>
              <a:gd name="connsiteY97" fmla="*/ 4664789 h 5920067"/>
              <a:gd name="connsiteX98" fmla="*/ 11199600 w 11199600"/>
              <a:gd name="connsiteY98" fmla="*/ 4751760 h 5920067"/>
              <a:gd name="connsiteX99" fmla="*/ 11199600 w 11199600"/>
              <a:gd name="connsiteY99" fmla="*/ 4903543 h 5920067"/>
              <a:gd name="connsiteX100" fmla="*/ 11199600 w 11199600"/>
              <a:gd name="connsiteY100" fmla="*/ 5026000 h 5920067"/>
              <a:gd name="connsiteX101" fmla="*/ 11199600 w 11199600"/>
              <a:gd name="connsiteY101" fmla="*/ 5137873 h 5920067"/>
              <a:gd name="connsiteX102" fmla="*/ 11199600 w 11199600"/>
              <a:gd name="connsiteY102" fmla="*/ 5412113 h 5920067"/>
              <a:gd name="connsiteX103" fmla="*/ 11199600 w 11199600"/>
              <a:gd name="connsiteY103" fmla="*/ 5549717 h 5920067"/>
              <a:gd name="connsiteX104" fmla="*/ 11199600 w 11199600"/>
              <a:gd name="connsiteY104" fmla="*/ 5823957 h 5920067"/>
              <a:gd name="connsiteX105" fmla="*/ 11103603 w 11199600"/>
              <a:gd name="connsiteY105" fmla="*/ 5920067 h 5920067"/>
              <a:gd name="connsiteX106" fmla="*/ 95997 w 11199600"/>
              <a:gd name="connsiteY106" fmla="*/ 5920067 h 5920067"/>
              <a:gd name="connsiteX107" fmla="*/ 0 w 11199600"/>
              <a:gd name="connsiteY107" fmla="*/ 5823957 h 5920067"/>
              <a:gd name="connsiteX108" fmla="*/ 0 w 11199600"/>
              <a:gd name="connsiteY108" fmla="*/ 5820222 h 5920067"/>
              <a:gd name="connsiteX109" fmla="*/ 0 w 11199600"/>
              <a:gd name="connsiteY109" fmla="*/ 5811351 h 5920067"/>
              <a:gd name="connsiteX110" fmla="*/ 0 w 11199600"/>
              <a:gd name="connsiteY110" fmla="*/ 5794075 h 5920067"/>
              <a:gd name="connsiteX111" fmla="*/ 0 w 11199600"/>
              <a:gd name="connsiteY111" fmla="*/ 5765594 h 5920067"/>
              <a:gd name="connsiteX112" fmla="*/ 0 w 11199600"/>
              <a:gd name="connsiteY112" fmla="*/ 5723106 h 5920067"/>
              <a:gd name="connsiteX113" fmla="*/ 0 w 11199600"/>
              <a:gd name="connsiteY113" fmla="*/ 5663809 h 5920067"/>
              <a:gd name="connsiteX114" fmla="*/ 0 w 11199600"/>
              <a:gd name="connsiteY114" fmla="*/ 5584902 h 5920067"/>
              <a:gd name="connsiteX115" fmla="*/ 0 w 11199600"/>
              <a:gd name="connsiteY115" fmla="*/ 5549717 h 5920067"/>
              <a:gd name="connsiteX116" fmla="*/ 0 w 11199600"/>
              <a:gd name="connsiteY116" fmla="*/ 5548611 h 5920067"/>
              <a:gd name="connsiteX117" fmla="*/ 0 w 11199600"/>
              <a:gd name="connsiteY117" fmla="*/ 5540863 h 5920067"/>
              <a:gd name="connsiteX118" fmla="*/ 0 w 11199600"/>
              <a:gd name="connsiteY118" fmla="*/ 5520020 h 5920067"/>
              <a:gd name="connsiteX119" fmla="*/ 0 w 11199600"/>
              <a:gd name="connsiteY119" fmla="*/ 5519835 h 5920067"/>
              <a:gd name="connsiteX120" fmla="*/ 0 w 11199600"/>
              <a:gd name="connsiteY120" fmla="*/ 5478886 h 5920067"/>
              <a:gd name="connsiteX121" fmla="*/ 0 w 11199600"/>
              <a:gd name="connsiteY121" fmla="*/ 5448866 h 5920067"/>
              <a:gd name="connsiteX122" fmla="*/ 0 w 11199600"/>
              <a:gd name="connsiteY122" fmla="*/ 5444347 h 5920067"/>
              <a:gd name="connsiteX123" fmla="*/ 0 w 11199600"/>
              <a:gd name="connsiteY123" fmla="*/ 5411375 h 5920067"/>
              <a:gd name="connsiteX124" fmla="*/ 0 w 11199600"/>
              <a:gd name="connsiteY124" fmla="*/ 5365584 h 5920067"/>
              <a:gd name="connsiteX125" fmla="*/ 0 w 11199600"/>
              <a:gd name="connsiteY125" fmla="*/ 5357053 h 5920067"/>
              <a:gd name="connsiteX126" fmla="*/ 0 w 11199600"/>
              <a:gd name="connsiteY126" fmla="*/ 5310662 h 5920067"/>
              <a:gd name="connsiteX127" fmla="*/ 0 w 11199600"/>
              <a:gd name="connsiteY127" fmla="*/ 5257308 h 5920067"/>
              <a:gd name="connsiteX128" fmla="*/ 0 w 11199600"/>
              <a:gd name="connsiteY128" fmla="*/ 5245780 h 5920067"/>
              <a:gd name="connsiteX129" fmla="*/ 0 w 11199600"/>
              <a:gd name="connsiteY129" fmla="*/ 5170107 h 5920067"/>
              <a:gd name="connsiteX130" fmla="*/ 0 w 11199600"/>
              <a:gd name="connsiteY130" fmla="*/ 5144283 h 5920067"/>
              <a:gd name="connsiteX131" fmla="*/ 0 w 11199600"/>
              <a:gd name="connsiteY131" fmla="*/ 5082813 h 5920067"/>
              <a:gd name="connsiteX132" fmla="*/ 0 w 11199600"/>
              <a:gd name="connsiteY132" fmla="*/ 5017146 h 5920067"/>
              <a:gd name="connsiteX133" fmla="*/ 0 w 11199600"/>
              <a:gd name="connsiteY133" fmla="*/ 4983068 h 5920067"/>
              <a:gd name="connsiteX134" fmla="*/ 0 w 11199600"/>
              <a:gd name="connsiteY134" fmla="*/ 4903543 h 5920067"/>
              <a:gd name="connsiteX135" fmla="*/ 0 w 11199600"/>
              <a:gd name="connsiteY135" fmla="*/ 4899808 h 5920067"/>
              <a:gd name="connsiteX136" fmla="*/ 0 w 11199600"/>
              <a:gd name="connsiteY136" fmla="*/ 4890937 h 5920067"/>
              <a:gd name="connsiteX137" fmla="*/ 0 w 11199600"/>
              <a:gd name="connsiteY137" fmla="*/ 4875069 h 5920067"/>
              <a:gd name="connsiteX138" fmla="*/ 0 w 11199600"/>
              <a:gd name="connsiteY138" fmla="*/ 4873661 h 5920067"/>
              <a:gd name="connsiteX139" fmla="*/ 0 w 11199600"/>
              <a:gd name="connsiteY139" fmla="*/ 4870043 h 5920067"/>
              <a:gd name="connsiteX140" fmla="*/ 0 w 11199600"/>
              <a:gd name="connsiteY140" fmla="*/ 4845180 h 5920067"/>
              <a:gd name="connsiteX141" fmla="*/ 0 w 11199600"/>
              <a:gd name="connsiteY141" fmla="*/ 4802692 h 5920067"/>
              <a:gd name="connsiteX142" fmla="*/ 0 w 11199600"/>
              <a:gd name="connsiteY142" fmla="*/ 4743395 h 5920067"/>
              <a:gd name="connsiteX143" fmla="*/ 0 w 11199600"/>
              <a:gd name="connsiteY143" fmla="*/ 4742906 h 5920067"/>
              <a:gd name="connsiteX144" fmla="*/ 0 w 11199600"/>
              <a:gd name="connsiteY144" fmla="*/ 4717221 h 5920067"/>
              <a:gd name="connsiteX145" fmla="*/ 0 w 11199600"/>
              <a:gd name="connsiteY145" fmla="*/ 4664488 h 5920067"/>
              <a:gd name="connsiteX146" fmla="*/ 0 w 11199600"/>
              <a:gd name="connsiteY146" fmla="*/ 4629303 h 5920067"/>
              <a:gd name="connsiteX147" fmla="*/ 0 w 11199600"/>
              <a:gd name="connsiteY147" fmla="*/ 4628197 h 5920067"/>
              <a:gd name="connsiteX148" fmla="*/ 0 w 11199600"/>
              <a:gd name="connsiteY148" fmla="*/ 4620449 h 5920067"/>
              <a:gd name="connsiteX149" fmla="*/ 0 w 11199600"/>
              <a:gd name="connsiteY149" fmla="*/ 4600829 h 5920067"/>
              <a:gd name="connsiteX150" fmla="*/ 0 w 11199600"/>
              <a:gd name="connsiteY150" fmla="*/ 4599606 h 5920067"/>
              <a:gd name="connsiteX151" fmla="*/ 0 w 11199600"/>
              <a:gd name="connsiteY151" fmla="*/ 4599421 h 5920067"/>
              <a:gd name="connsiteX152" fmla="*/ 0 w 11199600"/>
              <a:gd name="connsiteY152" fmla="*/ 4558472 h 5920067"/>
              <a:gd name="connsiteX153" fmla="*/ 0 w 11199600"/>
              <a:gd name="connsiteY153" fmla="*/ 4542771 h 5920067"/>
              <a:gd name="connsiteX154" fmla="*/ 0 w 11199600"/>
              <a:gd name="connsiteY154" fmla="*/ 4528452 h 5920067"/>
              <a:gd name="connsiteX155" fmla="*/ 0 w 11199600"/>
              <a:gd name="connsiteY155" fmla="*/ 4523933 h 5920067"/>
              <a:gd name="connsiteX156" fmla="*/ 0 w 11199600"/>
              <a:gd name="connsiteY156" fmla="*/ 4490961 h 5920067"/>
              <a:gd name="connsiteX157" fmla="*/ 0 w 11199600"/>
              <a:gd name="connsiteY157" fmla="*/ 4445170 h 5920067"/>
              <a:gd name="connsiteX158" fmla="*/ 0 w 11199600"/>
              <a:gd name="connsiteY158" fmla="*/ 4442981 h 5920067"/>
              <a:gd name="connsiteX159" fmla="*/ 0 w 11199600"/>
              <a:gd name="connsiteY159" fmla="*/ 4436639 h 5920067"/>
              <a:gd name="connsiteX160" fmla="*/ 0 w 11199600"/>
              <a:gd name="connsiteY160" fmla="*/ 4390248 h 5920067"/>
              <a:gd name="connsiteX161" fmla="*/ 0 w 11199600"/>
              <a:gd name="connsiteY161" fmla="*/ 4350891 h 5920067"/>
              <a:gd name="connsiteX162" fmla="*/ 0 w 11199600"/>
              <a:gd name="connsiteY162" fmla="*/ 4336894 h 5920067"/>
              <a:gd name="connsiteX163" fmla="*/ 0 w 11199600"/>
              <a:gd name="connsiteY163" fmla="*/ 4325366 h 5920067"/>
              <a:gd name="connsiteX164" fmla="*/ 0 w 11199600"/>
              <a:gd name="connsiteY164" fmla="*/ 4268531 h 5920067"/>
              <a:gd name="connsiteX165" fmla="*/ 0 w 11199600"/>
              <a:gd name="connsiteY165" fmla="*/ 4249693 h 5920067"/>
              <a:gd name="connsiteX166" fmla="*/ 0 w 11199600"/>
              <a:gd name="connsiteY166" fmla="*/ 4223869 h 5920067"/>
              <a:gd name="connsiteX167" fmla="*/ 0 w 11199600"/>
              <a:gd name="connsiteY167" fmla="*/ 4162399 h 5920067"/>
              <a:gd name="connsiteX168" fmla="*/ 0 w 11199600"/>
              <a:gd name="connsiteY168" fmla="*/ 4140749 h 5920067"/>
              <a:gd name="connsiteX169" fmla="*/ 0 w 11199600"/>
              <a:gd name="connsiteY169" fmla="*/ 4096732 h 5920067"/>
              <a:gd name="connsiteX170" fmla="*/ 0 w 11199600"/>
              <a:gd name="connsiteY170" fmla="*/ 4076651 h 5920067"/>
              <a:gd name="connsiteX171" fmla="*/ 0 w 11199600"/>
              <a:gd name="connsiteY171" fmla="*/ 4062654 h 5920067"/>
              <a:gd name="connsiteX172" fmla="*/ 0 w 11199600"/>
              <a:gd name="connsiteY172" fmla="*/ 3954655 h 5920067"/>
              <a:gd name="connsiteX173" fmla="*/ 0 w 11199600"/>
              <a:gd name="connsiteY173" fmla="*/ 3949629 h 5920067"/>
              <a:gd name="connsiteX174" fmla="*/ 0 w 11199600"/>
              <a:gd name="connsiteY174" fmla="*/ 3911516 h 5920067"/>
              <a:gd name="connsiteX175" fmla="*/ 0 w 11199600"/>
              <a:gd name="connsiteY175" fmla="*/ 3866509 h 5920067"/>
              <a:gd name="connsiteX176" fmla="*/ 0 w 11199600"/>
              <a:gd name="connsiteY176" fmla="*/ 3822492 h 5920067"/>
              <a:gd name="connsiteX177" fmla="*/ 0 w 11199600"/>
              <a:gd name="connsiteY177" fmla="*/ 3796807 h 5920067"/>
              <a:gd name="connsiteX178" fmla="*/ 0 w 11199600"/>
              <a:gd name="connsiteY178" fmla="*/ 3680415 h 5920067"/>
              <a:gd name="connsiteX179" fmla="*/ 0 w 11199600"/>
              <a:gd name="connsiteY179" fmla="*/ 3662362 h 5920067"/>
              <a:gd name="connsiteX180" fmla="*/ 0 w 11199600"/>
              <a:gd name="connsiteY180" fmla="*/ 3637276 h 5920067"/>
              <a:gd name="connsiteX181" fmla="*/ 0 w 11199600"/>
              <a:gd name="connsiteY181" fmla="*/ 3622357 h 5920067"/>
              <a:gd name="connsiteX182" fmla="*/ 0 w 11199600"/>
              <a:gd name="connsiteY182" fmla="*/ 3522567 h 5920067"/>
              <a:gd name="connsiteX183" fmla="*/ 0 w 11199600"/>
              <a:gd name="connsiteY183" fmla="*/ 3430477 h 5920067"/>
              <a:gd name="connsiteX184" fmla="*/ 0 w 11199600"/>
              <a:gd name="connsiteY184" fmla="*/ 3392457 h 5920067"/>
              <a:gd name="connsiteX185" fmla="*/ 0 w 11199600"/>
              <a:gd name="connsiteY185" fmla="*/ 3388122 h 5920067"/>
              <a:gd name="connsiteX186" fmla="*/ 0 w 11199600"/>
              <a:gd name="connsiteY186" fmla="*/ 3348117 h 5920067"/>
              <a:gd name="connsiteX187" fmla="*/ 0 w 11199600"/>
              <a:gd name="connsiteY187" fmla="*/ 3220335 h 5920067"/>
              <a:gd name="connsiteX188" fmla="*/ 0 w 11199600"/>
              <a:gd name="connsiteY188" fmla="*/ 3156237 h 5920067"/>
              <a:gd name="connsiteX189" fmla="*/ 0 w 11199600"/>
              <a:gd name="connsiteY189" fmla="*/ 3118217 h 5920067"/>
              <a:gd name="connsiteX190" fmla="*/ 0 w 11199600"/>
              <a:gd name="connsiteY190" fmla="*/ 3100970 h 5920067"/>
              <a:gd name="connsiteX191" fmla="*/ 0 w 11199600"/>
              <a:gd name="connsiteY191" fmla="*/ 2991102 h 5920067"/>
              <a:gd name="connsiteX192" fmla="*/ 0 w 11199600"/>
              <a:gd name="connsiteY192" fmla="*/ 2946095 h 5920067"/>
              <a:gd name="connsiteX193" fmla="*/ 0 w 11199600"/>
              <a:gd name="connsiteY193" fmla="*/ 2826730 h 5920067"/>
              <a:gd name="connsiteX194" fmla="*/ 0 w 11199600"/>
              <a:gd name="connsiteY194" fmla="*/ 2787072 h 5920067"/>
              <a:gd name="connsiteX195" fmla="*/ 0 w 11199600"/>
              <a:gd name="connsiteY195" fmla="*/ 2741948 h 5920067"/>
              <a:gd name="connsiteX196" fmla="*/ 0 w 11199600"/>
              <a:gd name="connsiteY196" fmla="*/ 2716862 h 5920067"/>
              <a:gd name="connsiteX197" fmla="*/ 0 w 11199600"/>
              <a:gd name="connsiteY197" fmla="*/ 2512832 h 5920067"/>
              <a:gd name="connsiteX198" fmla="*/ 0 w 11199600"/>
              <a:gd name="connsiteY198" fmla="*/ 2472043 h 5920067"/>
              <a:gd name="connsiteX199" fmla="*/ 0 w 11199600"/>
              <a:gd name="connsiteY199" fmla="*/ 2467708 h 5920067"/>
              <a:gd name="connsiteX200" fmla="*/ 0 w 11199600"/>
              <a:gd name="connsiteY200" fmla="*/ 2449933 h 5920067"/>
              <a:gd name="connsiteX201" fmla="*/ 0 w 11199600"/>
              <a:gd name="connsiteY201" fmla="*/ 2197803 h 5920067"/>
              <a:gd name="connsiteX202" fmla="*/ 0 w 11199600"/>
              <a:gd name="connsiteY202" fmla="*/ 2180556 h 5920067"/>
              <a:gd name="connsiteX203" fmla="*/ 0 w 11199600"/>
              <a:gd name="connsiteY203" fmla="*/ 2175692 h 5920067"/>
              <a:gd name="connsiteX204" fmla="*/ 0 w 11199600"/>
              <a:gd name="connsiteY204" fmla="*/ 2088721 h 5920067"/>
              <a:gd name="connsiteX205" fmla="*/ 0 w 11199600"/>
              <a:gd name="connsiteY205" fmla="*/ 1906316 h 5920067"/>
              <a:gd name="connsiteX206" fmla="*/ 0 w 11199600"/>
              <a:gd name="connsiteY206" fmla="*/ 1866658 h 5920067"/>
              <a:gd name="connsiteX207" fmla="*/ 0 w 11199600"/>
              <a:gd name="connsiteY207" fmla="*/ 1814481 h 5920067"/>
              <a:gd name="connsiteX208" fmla="*/ 0 w 11199600"/>
              <a:gd name="connsiteY208" fmla="*/ 1702609 h 5920067"/>
              <a:gd name="connsiteX209" fmla="*/ 0 w 11199600"/>
              <a:gd name="connsiteY209" fmla="*/ 1592418 h 5920067"/>
              <a:gd name="connsiteX210" fmla="*/ 0 w 11199600"/>
              <a:gd name="connsiteY210" fmla="*/ 1529519 h 5920067"/>
              <a:gd name="connsiteX211" fmla="*/ 0 w 11199600"/>
              <a:gd name="connsiteY211" fmla="*/ 1428369 h 5920067"/>
              <a:gd name="connsiteX212" fmla="*/ 0 w 11199600"/>
              <a:gd name="connsiteY212" fmla="*/ 1290764 h 5920067"/>
              <a:gd name="connsiteX213" fmla="*/ 0 w 11199600"/>
              <a:gd name="connsiteY213" fmla="*/ 1255278 h 5920067"/>
              <a:gd name="connsiteX214" fmla="*/ 0 w 11199600"/>
              <a:gd name="connsiteY214" fmla="*/ 1168307 h 5920067"/>
              <a:gd name="connsiteX215" fmla="*/ 0 w 11199600"/>
              <a:gd name="connsiteY215" fmla="*/ 1016524 h 5920067"/>
              <a:gd name="connsiteX216" fmla="*/ 0 w 11199600"/>
              <a:gd name="connsiteY216" fmla="*/ 894067 h 5920067"/>
              <a:gd name="connsiteX217" fmla="*/ 0 w 11199600"/>
              <a:gd name="connsiteY217" fmla="*/ 782195 h 5920067"/>
              <a:gd name="connsiteX218" fmla="*/ 0 w 11199600"/>
              <a:gd name="connsiteY218" fmla="*/ 507955 h 5920067"/>
              <a:gd name="connsiteX219" fmla="*/ 0 w 11199600"/>
              <a:gd name="connsiteY219" fmla="*/ 370350 h 5920067"/>
              <a:gd name="connsiteX220" fmla="*/ 0 w 11199600"/>
              <a:gd name="connsiteY220" fmla="*/ 96110 h 5920067"/>
              <a:gd name="connsiteX221" fmla="*/ 95997 w 11199600"/>
              <a:gd name="connsiteY221" fmla="*/ 0 h 59200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</a:cxnLst>
            <a:rect l="l" t="t" r="r" b="b"/>
            <a:pathLst>
              <a:path w="11199600" h="5920067">
                <a:moveTo>
                  <a:pt x="95997" y="0"/>
                </a:moveTo>
                <a:lnTo>
                  <a:pt x="11103603" y="0"/>
                </a:lnTo>
                <a:cubicBezTo>
                  <a:pt x="11199600" y="0"/>
                  <a:pt x="11199600" y="96110"/>
                  <a:pt x="11199600" y="96110"/>
                </a:cubicBezTo>
                <a:cubicBezTo>
                  <a:pt x="11199600" y="96110"/>
                  <a:pt x="11199600" y="96110"/>
                  <a:pt x="11199600" y="335165"/>
                </a:cubicBezTo>
                <a:lnTo>
                  <a:pt x="11199600" y="370350"/>
                </a:lnTo>
                <a:cubicBezTo>
                  <a:pt x="11199600" y="370350"/>
                  <a:pt x="11199600" y="370350"/>
                  <a:pt x="11199600" y="379204"/>
                </a:cubicBezTo>
                <a:lnTo>
                  <a:pt x="11199600" y="400048"/>
                </a:lnTo>
                <a:lnTo>
                  <a:pt x="11199600" y="400232"/>
                </a:lnTo>
                <a:cubicBezTo>
                  <a:pt x="11199600" y="415173"/>
                  <a:pt x="11199600" y="437585"/>
                  <a:pt x="11199600" y="471202"/>
                </a:cubicBezTo>
                <a:lnTo>
                  <a:pt x="11199600" y="475721"/>
                </a:lnTo>
                <a:lnTo>
                  <a:pt x="11199600" y="508692"/>
                </a:lnTo>
                <a:cubicBezTo>
                  <a:pt x="11199600" y="522527"/>
                  <a:pt x="11199600" y="537744"/>
                  <a:pt x="11199600" y="554484"/>
                </a:cubicBezTo>
                <a:lnTo>
                  <a:pt x="11199600" y="563015"/>
                </a:lnTo>
                <a:lnTo>
                  <a:pt x="11199600" y="609405"/>
                </a:lnTo>
                <a:lnTo>
                  <a:pt x="11199600" y="662759"/>
                </a:lnTo>
                <a:lnTo>
                  <a:pt x="11199600" y="674288"/>
                </a:lnTo>
                <a:cubicBezTo>
                  <a:pt x="11199600" y="697668"/>
                  <a:pt x="11199600" y="722846"/>
                  <a:pt x="11199600" y="749961"/>
                </a:cubicBezTo>
                <a:lnTo>
                  <a:pt x="11199600" y="775785"/>
                </a:lnTo>
                <a:lnTo>
                  <a:pt x="11199600" y="837255"/>
                </a:lnTo>
                <a:lnTo>
                  <a:pt x="11199600" y="902921"/>
                </a:lnTo>
                <a:lnTo>
                  <a:pt x="11199600" y="936999"/>
                </a:lnTo>
                <a:lnTo>
                  <a:pt x="11199600" y="1016524"/>
                </a:lnTo>
                <a:cubicBezTo>
                  <a:pt x="11199600" y="1016524"/>
                  <a:pt x="11199600" y="1016524"/>
                  <a:pt x="11199600" y="1029131"/>
                </a:cubicBezTo>
                <a:lnTo>
                  <a:pt x="11199600" y="1044999"/>
                </a:lnTo>
                <a:lnTo>
                  <a:pt x="11199600" y="1046406"/>
                </a:lnTo>
                <a:lnTo>
                  <a:pt x="11199600" y="1050025"/>
                </a:lnTo>
                <a:lnTo>
                  <a:pt x="11199600" y="1074887"/>
                </a:lnTo>
                <a:cubicBezTo>
                  <a:pt x="11199600" y="1098232"/>
                  <a:pt x="11199600" y="1130916"/>
                  <a:pt x="11199600" y="1176672"/>
                </a:cubicBezTo>
                <a:lnTo>
                  <a:pt x="11199600" y="1177161"/>
                </a:lnTo>
                <a:lnTo>
                  <a:pt x="11199600" y="1202847"/>
                </a:lnTo>
                <a:lnTo>
                  <a:pt x="11199600" y="1255579"/>
                </a:lnTo>
                <a:lnTo>
                  <a:pt x="11199600" y="1290764"/>
                </a:lnTo>
                <a:cubicBezTo>
                  <a:pt x="11199600" y="1290764"/>
                  <a:pt x="11199600" y="1290764"/>
                  <a:pt x="11199600" y="1299618"/>
                </a:cubicBezTo>
                <a:lnTo>
                  <a:pt x="11199600" y="1319239"/>
                </a:lnTo>
                <a:lnTo>
                  <a:pt x="11199600" y="1320462"/>
                </a:lnTo>
                <a:lnTo>
                  <a:pt x="11199600" y="1320646"/>
                </a:lnTo>
                <a:cubicBezTo>
                  <a:pt x="11199600" y="1328117"/>
                  <a:pt x="11199600" y="1337455"/>
                  <a:pt x="11199600" y="1349128"/>
                </a:cubicBezTo>
                <a:lnTo>
                  <a:pt x="11199600" y="1377296"/>
                </a:lnTo>
                <a:lnTo>
                  <a:pt x="11199600" y="1391616"/>
                </a:lnTo>
                <a:lnTo>
                  <a:pt x="11199600" y="1396135"/>
                </a:lnTo>
                <a:lnTo>
                  <a:pt x="11199600" y="1429106"/>
                </a:lnTo>
                <a:cubicBezTo>
                  <a:pt x="11199600" y="1442941"/>
                  <a:pt x="11199600" y="1458158"/>
                  <a:pt x="11199600" y="1474898"/>
                </a:cubicBezTo>
                <a:lnTo>
                  <a:pt x="11199600" y="1477087"/>
                </a:lnTo>
                <a:lnTo>
                  <a:pt x="11199600" y="1483429"/>
                </a:lnTo>
                <a:lnTo>
                  <a:pt x="11199600" y="1529819"/>
                </a:lnTo>
                <a:lnTo>
                  <a:pt x="11199600" y="1569177"/>
                </a:lnTo>
                <a:lnTo>
                  <a:pt x="11199600" y="1583173"/>
                </a:lnTo>
                <a:lnTo>
                  <a:pt x="11199600" y="1594702"/>
                </a:lnTo>
                <a:lnTo>
                  <a:pt x="11199600" y="1651536"/>
                </a:lnTo>
                <a:lnTo>
                  <a:pt x="11199600" y="1670375"/>
                </a:lnTo>
                <a:lnTo>
                  <a:pt x="11199600" y="1696199"/>
                </a:lnTo>
                <a:lnTo>
                  <a:pt x="11199600" y="1757669"/>
                </a:lnTo>
                <a:lnTo>
                  <a:pt x="11199600" y="1779318"/>
                </a:lnTo>
                <a:lnTo>
                  <a:pt x="11199600" y="1823335"/>
                </a:lnTo>
                <a:lnTo>
                  <a:pt x="11199600" y="1843417"/>
                </a:lnTo>
                <a:lnTo>
                  <a:pt x="11199600" y="1857413"/>
                </a:lnTo>
                <a:lnTo>
                  <a:pt x="11199600" y="1965413"/>
                </a:lnTo>
                <a:lnTo>
                  <a:pt x="11199600" y="1970439"/>
                </a:lnTo>
                <a:lnTo>
                  <a:pt x="11199600" y="2008551"/>
                </a:lnTo>
                <a:lnTo>
                  <a:pt x="11199600" y="2053558"/>
                </a:lnTo>
                <a:lnTo>
                  <a:pt x="11199600" y="2097575"/>
                </a:lnTo>
                <a:lnTo>
                  <a:pt x="11199600" y="2123261"/>
                </a:lnTo>
                <a:lnTo>
                  <a:pt x="11199600" y="2239653"/>
                </a:lnTo>
                <a:lnTo>
                  <a:pt x="11199600" y="2257705"/>
                </a:lnTo>
                <a:lnTo>
                  <a:pt x="11199600" y="2282791"/>
                </a:lnTo>
                <a:lnTo>
                  <a:pt x="11199600" y="2297710"/>
                </a:lnTo>
                <a:lnTo>
                  <a:pt x="11199600" y="2397501"/>
                </a:lnTo>
                <a:lnTo>
                  <a:pt x="11199600" y="2489591"/>
                </a:lnTo>
                <a:lnTo>
                  <a:pt x="11199600" y="2527610"/>
                </a:lnTo>
                <a:lnTo>
                  <a:pt x="11199600" y="2531945"/>
                </a:lnTo>
                <a:lnTo>
                  <a:pt x="11199600" y="2571950"/>
                </a:lnTo>
                <a:lnTo>
                  <a:pt x="11199600" y="2699732"/>
                </a:lnTo>
                <a:lnTo>
                  <a:pt x="11199600" y="2763831"/>
                </a:lnTo>
                <a:lnTo>
                  <a:pt x="11199600" y="2801851"/>
                </a:lnTo>
                <a:lnTo>
                  <a:pt x="11199600" y="2819097"/>
                </a:lnTo>
                <a:lnTo>
                  <a:pt x="11199600" y="2928965"/>
                </a:lnTo>
                <a:lnTo>
                  <a:pt x="11199600" y="2973972"/>
                </a:lnTo>
                <a:lnTo>
                  <a:pt x="11199600" y="3093337"/>
                </a:lnTo>
                <a:lnTo>
                  <a:pt x="11199600" y="3132995"/>
                </a:lnTo>
                <a:lnTo>
                  <a:pt x="11199600" y="3178119"/>
                </a:lnTo>
                <a:lnTo>
                  <a:pt x="11199600" y="3203205"/>
                </a:lnTo>
                <a:lnTo>
                  <a:pt x="11199600" y="3407236"/>
                </a:lnTo>
                <a:lnTo>
                  <a:pt x="11199600" y="3448024"/>
                </a:lnTo>
                <a:lnTo>
                  <a:pt x="11199600" y="3452359"/>
                </a:lnTo>
                <a:lnTo>
                  <a:pt x="11199600" y="3470135"/>
                </a:lnTo>
                <a:lnTo>
                  <a:pt x="11199600" y="3722265"/>
                </a:lnTo>
                <a:lnTo>
                  <a:pt x="11199600" y="3739511"/>
                </a:lnTo>
                <a:lnTo>
                  <a:pt x="11199600" y="3744375"/>
                </a:lnTo>
                <a:lnTo>
                  <a:pt x="11199600" y="3831346"/>
                </a:lnTo>
                <a:lnTo>
                  <a:pt x="11199600" y="4013751"/>
                </a:lnTo>
                <a:lnTo>
                  <a:pt x="11199600" y="4053409"/>
                </a:lnTo>
                <a:lnTo>
                  <a:pt x="11199600" y="4105586"/>
                </a:lnTo>
                <a:lnTo>
                  <a:pt x="11199600" y="4217459"/>
                </a:lnTo>
                <a:lnTo>
                  <a:pt x="11199600" y="4327650"/>
                </a:lnTo>
                <a:lnTo>
                  <a:pt x="11199600" y="4390549"/>
                </a:lnTo>
                <a:lnTo>
                  <a:pt x="11199600" y="4491699"/>
                </a:lnTo>
                <a:lnTo>
                  <a:pt x="11199600" y="4629303"/>
                </a:lnTo>
                <a:lnTo>
                  <a:pt x="11199600" y="4664789"/>
                </a:lnTo>
                <a:lnTo>
                  <a:pt x="11199600" y="4751760"/>
                </a:lnTo>
                <a:lnTo>
                  <a:pt x="11199600" y="4903543"/>
                </a:lnTo>
                <a:lnTo>
                  <a:pt x="11199600" y="5026000"/>
                </a:lnTo>
                <a:lnTo>
                  <a:pt x="11199600" y="5137873"/>
                </a:lnTo>
                <a:lnTo>
                  <a:pt x="11199600" y="5412113"/>
                </a:lnTo>
                <a:lnTo>
                  <a:pt x="11199600" y="5549717"/>
                </a:lnTo>
                <a:lnTo>
                  <a:pt x="11199600" y="5823957"/>
                </a:lnTo>
                <a:cubicBezTo>
                  <a:pt x="11199600" y="5920067"/>
                  <a:pt x="11103603" y="5920067"/>
                  <a:pt x="11103603" y="5920067"/>
                </a:cubicBezTo>
                <a:cubicBezTo>
                  <a:pt x="11103603" y="5920067"/>
                  <a:pt x="11103603" y="5920067"/>
                  <a:pt x="95997" y="5920067"/>
                </a:cubicBezTo>
                <a:cubicBezTo>
                  <a:pt x="0" y="5920067"/>
                  <a:pt x="0" y="5823957"/>
                  <a:pt x="0" y="5823957"/>
                </a:cubicBezTo>
                <a:lnTo>
                  <a:pt x="0" y="5820222"/>
                </a:lnTo>
                <a:lnTo>
                  <a:pt x="0" y="5811351"/>
                </a:lnTo>
                <a:lnTo>
                  <a:pt x="0" y="5794075"/>
                </a:lnTo>
                <a:lnTo>
                  <a:pt x="0" y="5765594"/>
                </a:lnTo>
                <a:lnTo>
                  <a:pt x="0" y="5723106"/>
                </a:lnTo>
                <a:lnTo>
                  <a:pt x="0" y="5663809"/>
                </a:lnTo>
                <a:lnTo>
                  <a:pt x="0" y="5584902"/>
                </a:lnTo>
                <a:lnTo>
                  <a:pt x="0" y="5549717"/>
                </a:lnTo>
                <a:lnTo>
                  <a:pt x="0" y="5548611"/>
                </a:lnTo>
                <a:lnTo>
                  <a:pt x="0" y="5540863"/>
                </a:lnTo>
                <a:lnTo>
                  <a:pt x="0" y="5520020"/>
                </a:lnTo>
                <a:lnTo>
                  <a:pt x="0" y="5519835"/>
                </a:lnTo>
                <a:lnTo>
                  <a:pt x="0" y="5478886"/>
                </a:lnTo>
                <a:lnTo>
                  <a:pt x="0" y="5448866"/>
                </a:lnTo>
                <a:lnTo>
                  <a:pt x="0" y="5444347"/>
                </a:lnTo>
                <a:lnTo>
                  <a:pt x="0" y="5411375"/>
                </a:lnTo>
                <a:lnTo>
                  <a:pt x="0" y="5365584"/>
                </a:lnTo>
                <a:lnTo>
                  <a:pt x="0" y="5357053"/>
                </a:lnTo>
                <a:lnTo>
                  <a:pt x="0" y="5310662"/>
                </a:lnTo>
                <a:lnTo>
                  <a:pt x="0" y="5257308"/>
                </a:lnTo>
                <a:lnTo>
                  <a:pt x="0" y="5245780"/>
                </a:lnTo>
                <a:lnTo>
                  <a:pt x="0" y="5170107"/>
                </a:lnTo>
                <a:lnTo>
                  <a:pt x="0" y="5144283"/>
                </a:lnTo>
                <a:lnTo>
                  <a:pt x="0" y="5082813"/>
                </a:lnTo>
                <a:lnTo>
                  <a:pt x="0" y="5017146"/>
                </a:lnTo>
                <a:lnTo>
                  <a:pt x="0" y="4983068"/>
                </a:lnTo>
                <a:lnTo>
                  <a:pt x="0" y="4903543"/>
                </a:lnTo>
                <a:lnTo>
                  <a:pt x="0" y="4899808"/>
                </a:lnTo>
                <a:lnTo>
                  <a:pt x="0" y="4890937"/>
                </a:lnTo>
                <a:lnTo>
                  <a:pt x="0" y="4875069"/>
                </a:lnTo>
                <a:lnTo>
                  <a:pt x="0" y="4873661"/>
                </a:lnTo>
                <a:lnTo>
                  <a:pt x="0" y="4870043"/>
                </a:lnTo>
                <a:lnTo>
                  <a:pt x="0" y="4845180"/>
                </a:lnTo>
                <a:lnTo>
                  <a:pt x="0" y="4802692"/>
                </a:lnTo>
                <a:lnTo>
                  <a:pt x="0" y="4743395"/>
                </a:lnTo>
                <a:lnTo>
                  <a:pt x="0" y="4742906"/>
                </a:lnTo>
                <a:lnTo>
                  <a:pt x="0" y="4717221"/>
                </a:lnTo>
                <a:lnTo>
                  <a:pt x="0" y="4664488"/>
                </a:lnTo>
                <a:lnTo>
                  <a:pt x="0" y="4629303"/>
                </a:lnTo>
                <a:lnTo>
                  <a:pt x="0" y="4628197"/>
                </a:lnTo>
                <a:lnTo>
                  <a:pt x="0" y="4620449"/>
                </a:lnTo>
                <a:lnTo>
                  <a:pt x="0" y="4600829"/>
                </a:lnTo>
                <a:lnTo>
                  <a:pt x="0" y="4599606"/>
                </a:lnTo>
                <a:lnTo>
                  <a:pt x="0" y="4599421"/>
                </a:lnTo>
                <a:lnTo>
                  <a:pt x="0" y="4558472"/>
                </a:lnTo>
                <a:lnTo>
                  <a:pt x="0" y="4542771"/>
                </a:lnTo>
                <a:lnTo>
                  <a:pt x="0" y="4528452"/>
                </a:lnTo>
                <a:lnTo>
                  <a:pt x="0" y="4523933"/>
                </a:lnTo>
                <a:lnTo>
                  <a:pt x="0" y="4490961"/>
                </a:lnTo>
                <a:lnTo>
                  <a:pt x="0" y="4445170"/>
                </a:lnTo>
                <a:lnTo>
                  <a:pt x="0" y="4442981"/>
                </a:lnTo>
                <a:lnTo>
                  <a:pt x="0" y="4436639"/>
                </a:lnTo>
                <a:lnTo>
                  <a:pt x="0" y="4390248"/>
                </a:lnTo>
                <a:lnTo>
                  <a:pt x="0" y="4350891"/>
                </a:lnTo>
                <a:lnTo>
                  <a:pt x="0" y="4336894"/>
                </a:lnTo>
                <a:lnTo>
                  <a:pt x="0" y="4325366"/>
                </a:lnTo>
                <a:lnTo>
                  <a:pt x="0" y="4268531"/>
                </a:lnTo>
                <a:lnTo>
                  <a:pt x="0" y="4249693"/>
                </a:lnTo>
                <a:lnTo>
                  <a:pt x="0" y="4223869"/>
                </a:lnTo>
                <a:lnTo>
                  <a:pt x="0" y="4162399"/>
                </a:lnTo>
                <a:lnTo>
                  <a:pt x="0" y="4140749"/>
                </a:lnTo>
                <a:lnTo>
                  <a:pt x="0" y="4096732"/>
                </a:lnTo>
                <a:lnTo>
                  <a:pt x="0" y="4076651"/>
                </a:lnTo>
                <a:lnTo>
                  <a:pt x="0" y="4062654"/>
                </a:lnTo>
                <a:lnTo>
                  <a:pt x="0" y="3954655"/>
                </a:lnTo>
                <a:lnTo>
                  <a:pt x="0" y="3949629"/>
                </a:lnTo>
                <a:lnTo>
                  <a:pt x="0" y="3911516"/>
                </a:lnTo>
                <a:lnTo>
                  <a:pt x="0" y="3866509"/>
                </a:lnTo>
                <a:lnTo>
                  <a:pt x="0" y="3822492"/>
                </a:lnTo>
                <a:lnTo>
                  <a:pt x="0" y="3796807"/>
                </a:lnTo>
                <a:lnTo>
                  <a:pt x="0" y="3680415"/>
                </a:lnTo>
                <a:lnTo>
                  <a:pt x="0" y="3662362"/>
                </a:lnTo>
                <a:lnTo>
                  <a:pt x="0" y="3637276"/>
                </a:lnTo>
                <a:lnTo>
                  <a:pt x="0" y="3622357"/>
                </a:lnTo>
                <a:lnTo>
                  <a:pt x="0" y="3522567"/>
                </a:lnTo>
                <a:lnTo>
                  <a:pt x="0" y="3430477"/>
                </a:lnTo>
                <a:lnTo>
                  <a:pt x="0" y="3392457"/>
                </a:lnTo>
                <a:lnTo>
                  <a:pt x="0" y="3388122"/>
                </a:lnTo>
                <a:lnTo>
                  <a:pt x="0" y="3348117"/>
                </a:lnTo>
                <a:lnTo>
                  <a:pt x="0" y="3220335"/>
                </a:lnTo>
                <a:lnTo>
                  <a:pt x="0" y="3156237"/>
                </a:lnTo>
                <a:lnTo>
                  <a:pt x="0" y="3118217"/>
                </a:lnTo>
                <a:lnTo>
                  <a:pt x="0" y="3100970"/>
                </a:lnTo>
                <a:lnTo>
                  <a:pt x="0" y="2991102"/>
                </a:lnTo>
                <a:lnTo>
                  <a:pt x="0" y="2946095"/>
                </a:lnTo>
                <a:lnTo>
                  <a:pt x="0" y="2826730"/>
                </a:lnTo>
                <a:lnTo>
                  <a:pt x="0" y="2787072"/>
                </a:lnTo>
                <a:lnTo>
                  <a:pt x="0" y="2741948"/>
                </a:lnTo>
                <a:lnTo>
                  <a:pt x="0" y="2716862"/>
                </a:lnTo>
                <a:lnTo>
                  <a:pt x="0" y="2512832"/>
                </a:lnTo>
                <a:lnTo>
                  <a:pt x="0" y="2472043"/>
                </a:lnTo>
                <a:lnTo>
                  <a:pt x="0" y="2467708"/>
                </a:lnTo>
                <a:lnTo>
                  <a:pt x="0" y="2449933"/>
                </a:lnTo>
                <a:lnTo>
                  <a:pt x="0" y="2197803"/>
                </a:lnTo>
                <a:lnTo>
                  <a:pt x="0" y="2180556"/>
                </a:lnTo>
                <a:lnTo>
                  <a:pt x="0" y="2175692"/>
                </a:lnTo>
                <a:lnTo>
                  <a:pt x="0" y="2088721"/>
                </a:lnTo>
                <a:lnTo>
                  <a:pt x="0" y="1906316"/>
                </a:lnTo>
                <a:lnTo>
                  <a:pt x="0" y="1866658"/>
                </a:lnTo>
                <a:lnTo>
                  <a:pt x="0" y="1814481"/>
                </a:lnTo>
                <a:lnTo>
                  <a:pt x="0" y="1702609"/>
                </a:lnTo>
                <a:lnTo>
                  <a:pt x="0" y="1592418"/>
                </a:lnTo>
                <a:lnTo>
                  <a:pt x="0" y="1529519"/>
                </a:lnTo>
                <a:lnTo>
                  <a:pt x="0" y="1428369"/>
                </a:lnTo>
                <a:lnTo>
                  <a:pt x="0" y="1290764"/>
                </a:lnTo>
                <a:lnTo>
                  <a:pt x="0" y="1255278"/>
                </a:lnTo>
                <a:lnTo>
                  <a:pt x="0" y="1168307"/>
                </a:lnTo>
                <a:lnTo>
                  <a:pt x="0" y="1016524"/>
                </a:lnTo>
                <a:lnTo>
                  <a:pt x="0" y="894067"/>
                </a:lnTo>
                <a:lnTo>
                  <a:pt x="0" y="782195"/>
                </a:lnTo>
                <a:lnTo>
                  <a:pt x="0" y="507955"/>
                </a:lnTo>
                <a:lnTo>
                  <a:pt x="0" y="370350"/>
                </a:lnTo>
                <a:lnTo>
                  <a:pt x="0" y="96110"/>
                </a:lnTo>
                <a:cubicBezTo>
                  <a:pt x="0" y="0"/>
                  <a:pt x="95997" y="0"/>
                  <a:pt x="95997" y="0"/>
                </a:cubicBezTo>
                <a:close/>
              </a:path>
            </a:pathLst>
          </a:custGeom>
          <a:solidFill>
            <a:schemeClr val="bg2">
              <a:lumMod val="20000"/>
              <a:lumOff val="80000"/>
              <a:alpha val="10000"/>
            </a:schemeClr>
          </a:solidFill>
        </p:spPr>
        <p:txBody>
          <a:bodyPr wrap="square" lIns="3240000" tIns="36000" rIns="36000" bIns="36000" anchor="ctr" anchorCtr="0">
            <a:noAutofit/>
          </a:bodyPr>
          <a:lstStyle>
            <a:lvl1pPr algn="ctr">
              <a:defRPr sz="1400" b="0"/>
            </a:lvl1pPr>
          </a:lstStyle>
          <a:p>
            <a:r>
              <a:rPr lang="nl-NL" noProof="0" smtClean="0"/>
              <a:t>Klik op het pictogram als u een afbeelding wilt toevoegen</a:t>
            </a:r>
            <a:endParaRPr lang="en-GB" noProof="0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7286802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llee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9669267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Confidential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0" name="Group 49"/>
          <p:cNvGrpSpPr/>
          <p:nvPr userDrawn="1"/>
        </p:nvGrpSpPr>
        <p:grpSpPr bwMode="gray">
          <a:xfrm>
            <a:off x="1" y="1643202"/>
            <a:ext cx="9213354" cy="3055937"/>
            <a:chOff x="409575" y="3144838"/>
            <a:chExt cx="11339513" cy="3055937"/>
          </a:xfrm>
        </p:grpSpPr>
        <p:sp>
          <p:nvSpPr>
            <p:cNvPr id="51" name="Freeform 5"/>
            <p:cNvSpPr>
              <a:spLocks/>
            </p:cNvSpPr>
            <p:nvPr/>
          </p:nvSpPr>
          <p:spPr bwMode="gray">
            <a:xfrm>
              <a:off x="409575" y="5521325"/>
              <a:ext cx="11339513" cy="679450"/>
            </a:xfrm>
            <a:custGeom>
              <a:avLst/>
              <a:gdLst>
                <a:gd name="T0" fmla="*/ 0 w 2680"/>
                <a:gd name="T1" fmla="*/ 0 h 160"/>
                <a:gd name="T2" fmla="*/ 0 w 2680"/>
                <a:gd name="T3" fmla="*/ 160 h 160"/>
                <a:gd name="T4" fmla="*/ 2656 w 2680"/>
                <a:gd name="T5" fmla="*/ 160 h 160"/>
                <a:gd name="T6" fmla="*/ 2680 w 2680"/>
                <a:gd name="T7" fmla="*/ 136 h 160"/>
                <a:gd name="T8" fmla="*/ 2680 w 2680"/>
                <a:gd name="T9" fmla="*/ 0 h 160"/>
                <a:gd name="T10" fmla="*/ 0 w 2680"/>
                <a:gd name="T11" fmla="*/ 0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80" h="160">
                  <a:moveTo>
                    <a:pt x="0" y="0"/>
                  </a:moveTo>
                  <a:cubicBezTo>
                    <a:pt x="0" y="160"/>
                    <a:pt x="0" y="160"/>
                    <a:pt x="0" y="160"/>
                  </a:cubicBezTo>
                  <a:cubicBezTo>
                    <a:pt x="2656" y="160"/>
                    <a:pt x="2656" y="160"/>
                    <a:pt x="2656" y="160"/>
                  </a:cubicBezTo>
                  <a:cubicBezTo>
                    <a:pt x="2656" y="160"/>
                    <a:pt x="2680" y="160"/>
                    <a:pt x="2680" y="136"/>
                  </a:cubicBezTo>
                  <a:cubicBezTo>
                    <a:pt x="2680" y="0"/>
                    <a:pt x="2680" y="0"/>
                    <a:pt x="2680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EAEAE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2" name="Freeform 6"/>
            <p:cNvSpPr>
              <a:spLocks/>
            </p:cNvSpPr>
            <p:nvPr/>
          </p:nvSpPr>
          <p:spPr bwMode="gray">
            <a:xfrm>
              <a:off x="409575" y="3144838"/>
              <a:ext cx="11339513" cy="2376487"/>
            </a:xfrm>
            <a:custGeom>
              <a:avLst/>
              <a:gdLst>
                <a:gd name="T0" fmla="*/ 0 w 2680"/>
                <a:gd name="T1" fmla="*/ 0 h 560"/>
                <a:gd name="T2" fmla="*/ 0 w 2680"/>
                <a:gd name="T3" fmla="*/ 560 h 560"/>
                <a:gd name="T4" fmla="*/ 2680 w 2680"/>
                <a:gd name="T5" fmla="*/ 560 h 560"/>
                <a:gd name="T6" fmla="*/ 2680 w 2680"/>
                <a:gd name="T7" fmla="*/ 24 h 560"/>
                <a:gd name="T8" fmla="*/ 2656 w 2680"/>
                <a:gd name="T9" fmla="*/ 0 h 560"/>
                <a:gd name="T10" fmla="*/ 0 w 2680"/>
                <a:gd name="T11" fmla="*/ 0 h 5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80" h="560">
                  <a:moveTo>
                    <a:pt x="0" y="0"/>
                  </a:moveTo>
                  <a:cubicBezTo>
                    <a:pt x="0" y="560"/>
                    <a:pt x="0" y="560"/>
                    <a:pt x="0" y="560"/>
                  </a:cubicBezTo>
                  <a:cubicBezTo>
                    <a:pt x="2680" y="560"/>
                    <a:pt x="2680" y="560"/>
                    <a:pt x="2680" y="560"/>
                  </a:cubicBezTo>
                  <a:cubicBezTo>
                    <a:pt x="2680" y="24"/>
                    <a:pt x="2680" y="24"/>
                    <a:pt x="2680" y="24"/>
                  </a:cubicBezTo>
                  <a:cubicBezTo>
                    <a:pt x="2680" y="24"/>
                    <a:pt x="2680" y="0"/>
                    <a:pt x="2656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F62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8" name="Rectangle 7"/>
          <p:cNvSpPr/>
          <p:nvPr userDrawn="1"/>
        </p:nvSpPr>
        <p:spPr bwMode="gray">
          <a:xfrm>
            <a:off x="2" y="6024880"/>
            <a:ext cx="9904532" cy="8331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2400"/>
          </a:p>
        </p:txBody>
      </p:sp>
      <p:sp>
        <p:nvSpPr>
          <p:cNvPr id="25" name="Title 1"/>
          <p:cNvSpPr>
            <a:spLocks noGrp="1"/>
          </p:cNvSpPr>
          <p:nvPr>
            <p:ph type="ctrTitle"/>
          </p:nvPr>
        </p:nvSpPr>
        <p:spPr bwMode="gray">
          <a:xfrm>
            <a:off x="684477" y="2116803"/>
            <a:ext cx="8379482" cy="1227573"/>
          </a:xfrm>
        </p:spPr>
        <p:txBody>
          <a:bodyPr anchor="ctr" anchorCtr="0">
            <a:noAutofit/>
          </a:bodyPr>
          <a:lstStyle>
            <a:lvl1pPr algn="l">
              <a:lnSpc>
                <a:spcPts val="4600"/>
              </a:lnSpc>
              <a:defRPr sz="4600">
                <a:solidFill>
                  <a:schemeClr val="bg1"/>
                </a:solidFill>
              </a:defRPr>
            </a:lvl1pPr>
          </a:lstStyle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  <p:sp>
        <p:nvSpPr>
          <p:cNvPr id="26" name="Subtitle 2"/>
          <p:cNvSpPr>
            <a:spLocks noGrp="1"/>
          </p:cNvSpPr>
          <p:nvPr>
            <p:ph type="subTitle" idx="1"/>
          </p:nvPr>
        </p:nvSpPr>
        <p:spPr bwMode="gray">
          <a:xfrm>
            <a:off x="684477" y="4240704"/>
            <a:ext cx="5754721" cy="306798"/>
          </a:xfrm>
        </p:spPr>
        <p:txBody>
          <a:bodyPr anchor="ctr" anchorCtr="0">
            <a:noAutofit/>
          </a:bodyPr>
          <a:lstStyle>
            <a:lvl1pPr marL="0" indent="0" algn="l">
              <a:lnSpc>
                <a:spcPts val="2200"/>
              </a:lnSpc>
              <a:buNone/>
              <a:defRPr sz="2000" b="0" i="0"/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nl-NL" noProof="0" smtClean="0"/>
              <a:t>Klik om de ondertitelstijl van het model te bewerken</a:t>
            </a:r>
            <a:endParaRPr lang="en-GB" noProof="0" dirty="0"/>
          </a:p>
        </p:txBody>
      </p:sp>
      <p:sp>
        <p:nvSpPr>
          <p:cNvPr id="27" name="Text Placeholder 6"/>
          <p:cNvSpPr>
            <a:spLocks noGrp="1"/>
          </p:cNvSpPr>
          <p:nvPr>
            <p:ph type="body" sz="quarter" idx="11"/>
          </p:nvPr>
        </p:nvSpPr>
        <p:spPr bwMode="gray">
          <a:xfrm>
            <a:off x="684451" y="3556803"/>
            <a:ext cx="8373361" cy="385233"/>
          </a:xfrm>
        </p:spPr>
        <p:txBody>
          <a:bodyPr>
            <a:noAutofit/>
          </a:bodyPr>
          <a:lstStyle>
            <a:lvl1pPr>
              <a:lnSpc>
                <a:spcPts val="2200"/>
              </a:lnSpc>
              <a:defRPr sz="220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noProof="0" smtClean="0"/>
              <a:t>Klik om de modelstijlen te bewerken</a:t>
            </a:r>
          </a:p>
        </p:txBody>
      </p:sp>
      <p:sp>
        <p:nvSpPr>
          <p:cNvPr id="28" name="Picture Placeholder 2"/>
          <p:cNvSpPr>
            <a:spLocks noGrp="1"/>
          </p:cNvSpPr>
          <p:nvPr>
            <p:ph type="pic" sz="quarter" idx="13" hasCustomPrompt="1"/>
          </p:nvPr>
        </p:nvSpPr>
        <p:spPr>
          <a:xfrm>
            <a:off x="681038" y="5242062"/>
            <a:ext cx="1784250" cy="1317138"/>
          </a:xfrm>
        </p:spPr>
        <p:txBody>
          <a:bodyPr lIns="0" anchor="ctr" anchorCtr="0"/>
          <a:lstStyle>
            <a:lvl1pPr algn="l">
              <a:lnSpc>
                <a:spcPct val="100000"/>
              </a:lnSpc>
              <a:defRPr sz="900" b="0"/>
            </a:lvl1pPr>
          </a:lstStyle>
          <a:p>
            <a:r>
              <a:rPr lang="en-GB" dirty="0" smtClean="0"/>
              <a:t>Click to insert project logo</a:t>
            </a:r>
            <a:endParaRPr lang="en-GB" dirty="0"/>
          </a:p>
        </p:txBody>
      </p:sp>
      <p:pic>
        <p:nvPicPr>
          <p:cNvPr id="30" name="Picture 29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428199" y="6203775"/>
            <a:ext cx="1233535" cy="378000"/>
          </a:xfrm>
          <a:prstGeom prst="rect">
            <a:avLst/>
          </a:prstGeom>
        </p:spPr>
      </p:pic>
      <p:cxnSp>
        <p:nvCxnSpPr>
          <p:cNvPr id="16" name="Straight Connector 15"/>
          <p:cNvCxnSpPr/>
          <p:nvPr userDrawn="1"/>
        </p:nvCxnSpPr>
        <p:spPr>
          <a:xfrm>
            <a:off x="2449809" y="6953250"/>
            <a:ext cx="0" cy="36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/>
          <p:cNvCxnSpPr/>
          <p:nvPr userDrawn="1"/>
        </p:nvCxnSpPr>
        <p:spPr>
          <a:xfrm>
            <a:off x="-346674" y="6200775"/>
            <a:ext cx="292500" cy="0"/>
          </a:xfrm>
          <a:prstGeom prst="line">
            <a:avLst/>
          </a:prstGeom>
          <a:ln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xtBox 19"/>
          <p:cNvSpPr txBox="1"/>
          <p:nvPr userDrawn="1"/>
        </p:nvSpPr>
        <p:spPr>
          <a:xfrm>
            <a:off x="980423" y="7019958"/>
            <a:ext cx="1170000" cy="226591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ctr"/>
            <a:r>
              <a:rPr lang="en-GB" sz="1000" smtClean="0"/>
              <a:t>Max.</a:t>
            </a:r>
            <a:r>
              <a:rPr lang="en-GB" sz="1000" baseline="0" smtClean="0"/>
              <a:t> width</a:t>
            </a:r>
            <a:endParaRPr lang="en-GB" sz="1000" smtClean="0"/>
          </a:p>
        </p:txBody>
      </p:sp>
      <p:sp>
        <p:nvSpPr>
          <p:cNvPr id="22" name="TextBox 21"/>
          <p:cNvSpPr txBox="1"/>
          <p:nvPr userDrawn="1"/>
        </p:nvSpPr>
        <p:spPr>
          <a:xfrm>
            <a:off x="-1224174" y="6266695"/>
            <a:ext cx="1170000" cy="226591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r"/>
            <a:r>
              <a:rPr lang="en-GB" sz="1000" smtClean="0"/>
              <a:t>Min.</a:t>
            </a:r>
            <a:r>
              <a:rPr lang="en-GB" sz="1000" baseline="0" smtClean="0"/>
              <a:t> height</a:t>
            </a:r>
            <a:endParaRPr lang="en-GB" sz="1000" smtClean="0"/>
          </a:p>
        </p:txBody>
      </p:sp>
      <p:cxnSp>
        <p:nvCxnSpPr>
          <p:cNvPr id="31" name="Straight Connector 30"/>
          <p:cNvCxnSpPr/>
          <p:nvPr userDrawn="1"/>
        </p:nvCxnSpPr>
        <p:spPr>
          <a:xfrm>
            <a:off x="-346674" y="5242062"/>
            <a:ext cx="2925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TextBox 31"/>
          <p:cNvSpPr txBox="1"/>
          <p:nvPr userDrawn="1"/>
        </p:nvSpPr>
        <p:spPr>
          <a:xfrm>
            <a:off x="-1224174" y="5297121"/>
            <a:ext cx="1170000" cy="226591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r"/>
            <a:r>
              <a:rPr lang="en-GB" sz="1000" smtClean="0"/>
              <a:t>Max.</a:t>
            </a:r>
            <a:r>
              <a:rPr lang="en-GB" sz="1000" baseline="0" smtClean="0"/>
              <a:t> height</a:t>
            </a:r>
            <a:endParaRPr lang="en-GB" sz="1000" smtClean="0"/>
          </a:p>
        </p:txBody>
      </p:sp>
      <p:cxnSp>
        <p:nvCxnSpPr>
          <p:cNvPr id="33" name="Straight Connector 32"/>
          <p:cNvCxnSpPr/>
          <p:nvPr userDrawn="1"/>
        </p:nvCxnSpPr>
        <p:spPr>
          <a:xfrm>
            <a:off x="681038" y="6953250"/>
            <a:ext cx="0" cy="360000"/>
          </a:xfrm>
          <a:prstGeom prst="line">
            <a:avLst/>
          </a:prstGeom>
          <a:ln>
            <a:head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traight Connector 33"/>
          <p:cNvCxnSpPr/>
          <p:nvPr userDrawn="1"/>
        </p:nvCxnSpPr>
        <p:spPr>
          <a:xfrm>
            <a:off x="-346674" y="6559200"/>
            <a:ext cx="292500" cy="0"/>
          </a:xfrm>
          <a:prstGeom prst="line">
            <a:avLst/>
          </a:prstGeom>
          <a:ln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8" name="Group 57"/>
          <p:cNvGrpSpPr/>
          <p:nvPr userDrawn="1"/>
        </p:nvGrpSpPr>
        <p:grpSpPr bwMode="gray">
          <a:xfrm>
            <a:off x="-1653580" y="0"/>
            <a:ext cx="1521000" cy="4689612"/>
            <a:chOff x="-2581275" y="595116"/>
            <a:chExt cx="1872000" cy="4689612"/>
          </a:xfrm>
        </p:grpSpPr>
        <p:sp>
          <p:nvSpPr>
            <p:cNvPr id="59" name="Rectangle 104"/>
            <p:cNvSpPr>
              <a:spLocks noChangeArrowheads="1"/>
            </p:cNvSpPr>
            <p:nvPr/>
          </p:nvSpPr>
          <p:spPr bwMode="gray">
            <a:xfrm>
              <a:off x="-2581275" y="4276728"/>
              <a:ext cx="1872000" cy="100800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60" name="Rectangle 104"/>
            <p:cNvSpPr>
              <a:spLocks noChangeArrowheads="1"/>
            </p:cNvSpPr>
            <p:nvPr userDrawn="1"/>
          </p:nvSpPr>
          <p:spPr bwMode="gray">
            <a:xfrm>
              <a:off x="-2581275" y="595116"/>
              <a:ext cx="1872000" cy="3672087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61" name="Rectangle 105"/>
            <p:cNvSpPr>
              <a:spLocks noChangeArrowheads="1"/>
            </p:cNvSpPr>
            <p:nvPr userDrawn="1"/>
          </p:nvSpPr>
          <p:spPr bwMode="gray">
            <a:xfrm>
              <a:off x="-2449513" y="1136650"/>
              <a:ext cx="215900" cy="215900"/>
            </a:xfrm>
            <a:prstGeom prst="rect">
              <a:avLst/>
            </a:prstGeom>
            <a:solidFill>
              <a:srgbClr val="FF6200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62" name="Rectangle 106"/>
            <p:cNvSpPr>
              <a:spLocks noChangeArrowheads="1"/>
            </p:cNvSpPr>
            <p:nvPr userDrawn="1"/>
          </p:nvSpPr>
          <p:spPr bwMode="gray">
            <a:xfrm>
              <a:off x="-2159000" y="1146175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Orang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55, 98, 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3" name="Rectangle 107"/>
            <p:cNvSpPr>
              <a:spLocks noChangeArrowheads="1"/>
            </p:cNvSpPr>
            <p:nvPr userDrawn="1"/>
          </p:nvSpPr>
          <p:spPr bwMode="gray">
            <a:xfrm>
              <a:off x="-2449513" y="1571626"/>
              <a:ext cx="215900" cy="215900"/>
            </a:xfrm>
            <a:prstGeom prst="rect">
              <a:avLst/>
            </a:prstGeom>
            <a:solidFill>
              <a:srgbClr val="A8A8A8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64" name="Rectangle 108"/>
            <p:cNvSpPr>
              <a:spLocks noChangeArrowheads="1"/>
            </p:cNvSpPr>
            <p:nvPr userDrawn="1"/>
          </p:nvSpPr>
          <p:spPr bwMode="gray">
            <a:xfrm>
              <a:off x="-2159000" y="15970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ght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68, 168, 16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5" name="Rectangle 109"/>
            <p:cNvSpPr>
              <a:spLocks noChangeArrowheads="1"/>
            </p:cNvSpPr>
            <p:nvPr userDrawn="1"/>
          </p:nvSpPr>
          <p:spPr bwMode="gray">
            <a:xfrm>
              <a:off x="-2449513" y="2058988"/>
              <a:ext cx="215900" cy="215900"/>
            </a:xfrm>
            <a:prstGeom prst="rect">
              <a:avLst/>
            </a:prstGeom>
            <a:solidFill>
              <a:srgbClr val="52519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66" name="Rectangle 110"/>
            <p:cNvSpPr>
              <a:spLocks noChangeArrowheads="1"/>
            </p:cNvSpPr>
            <p:nvPr userDrawn="1"/>
          </p:nvSpPr>
          <p:spPr bwMode="gray">
            <a:xfrm>
              <a:off x="-2159000" y="2068513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Indigo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82, 81, 153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7" name="Rectangle 111"/>
            <p:cNvSpPr>
              <a:spLocks noChangeArrowheads="1"/>
            </p:cNvSpPr>
            <p:nvPr userDrawn="1"/>
          </p:nvSpPr>
          <p:spPr bwMode="gray">
            <a:xfrm>
              <a:off x="-2449513" y="2527301"/>
              <a:ext cx="215900" cy="215900"/>
            </a:xfrm>
            <a:prstGeom prst="rect">
              <a:avLst/>
            </a:prstGeom>
            <a:solidFill>
              <a:srgbClr val="60A6DA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68" name="Rectangle 112"/>
            <p:cNvSpPr>
              <a:spLocks noChangeArrowheads="1"/>
            </p:cNvSpPr>
            <p:nvPr userDrawn="1"/>
          </p:nvSpPr>
          <p:spPr bwMode="gray">
            <a:xfrm>
              <a:off x="-2159000" y="25368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Sk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96, 166, 2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9" name="Rectangle 113"/>
            <p:cNvSpPr>
              <a:spLocks noChangeArrowheads="1"/>
            </p:cNvSpPr>
            <p:nvPr userDrawn="1"/>
          </p:nvSpPr>
          <p:spPr bwMode="gray">
            <a:xfrm>
              <a:off x="-2449513" y="762000"/>
              <a:ext cx="1692000" cy="165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90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200" b="1" smtClean="0">
                  <a:solidFill>
                    <a:srgbClr val="333333"/>
                  </a:solidFill>
                </a:rPr>
                <a:t>Colour Guidelines</a:t>
              </a:r>
              <a:endParaRPr lang="en-GB" altLang="en-US" sz="1200" b="1">
                <a:solidFill>
                  <a:srgbClr val="333333"/>
                </a:solidFill>
              </a:endParaRPr>
            </a:p>
          </p:txBody>
        </p:sp>
        <p:sp>
          <p:nvSpPr>
            <p:cNvPr id="70" name="Rectangle 107"/>
            <p:cNvSpPr>
              <a:spLocks noChangeArrowheads="1"/>
            </p:cNvSpPr>
            <p:nvPr/>
          </p:nvSpPr>
          <p:spPr bwMode="gray">
            <a:xfrm>
              <a:off x="-2449513" y="2962277"/>
              <a:ext cx="215900" cy="215900"/>
            </a:xfrm>
            <a:prstGeom prst="rect">
              <a:avLst/>
            </a:prstGeom>
            <a:solidFill>
              <a:srgbClr val="AB006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71" name="Rectangle 108"/>
            <p:cNvSpPr>
              <a:spLocks noChangeArrowheads="1"/>
            </p:cNvSpPr>
            <p:nvPr/>
          </p:nvSpPr>
          <p:spPr bwMode="gray">
            <a:xfrm>
              <a:off x="-2159000" y="29876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Fuchsia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71, 0, 102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72" name="Rectangle 109"/>
            <p:cNvSpPr>
              <a:spLocks noChangeArrowheads="1"/>
            </p:cNvSpPr>
            <p:nvPr/>
          </p:nvSpPr>
          <p:spPr bwMode="gray">
            <a:xfrm>
              <a:off x="-2449513" y="3449639"/>
              <a:ext cx="215900" cy="215900"/>
            </a:xfrm>
            <a:prstGeom prst="rect">
              <a:avLst/>
            </a:prstGeom>
            <a:solidFill>
              <a:srgbClr val="D0D93C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73" name="Rectangle 110"/>
            <p:cNvSpPr>
              <a:spLocks noChangeArrowheads="1"/>
            </p:cNvSpPr>
            <p:nvPr/>
          </p:nvSpPr>
          <p:spPr bwMode="gray">
            <a:xfrm>
              <a:off x="-2159000" y="3459164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m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08, 217, 6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74" name="Rectangle 111"/>
            <p:cNvSpPr>
              <a:spLocks noChangeArrowheads="1"/>
            </p:cNvSpPr>
            <p:nvPr/>
          </p:nvSpPr>
          <p:spPr bwMode="gray">
            <a:xfrm>
              <a:off x="-2449513" y="3917952"/>
              <a:ext cx="215900" cy="215900"/>
            </a:xfrm>
            <a:prstGeom prst="rect">
              <a:avLst/>
            </a:prstGeom>
            <a:solidFill>
              <a:srgbClr val="01964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75" name="Rectangle 112"/>
            <p:cNvSpPr>
              <a:spLocks noChangeArrowheads="1"/>
            </p:cNvSpPr>
            <p:nvPr/>
          </p:nvSpPr>
          <p:spPr bwMode="gray">
            <a:xfrm>
              <a:off x="-2159000" y="39274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eaf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2, 150, 8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76" name="Rectangle 109"/>
            <p:cNvSpPr>
              <a:spLocks noChangeArrowheads="1"/>
            </p:cNvSpPr>
            <p:nvPr/>
          </p:nvSpPr>
          <p:spPr bwMode="gray">
            <a:xfrm>
              <a:off x="-2449513" y="4405314"/>
              <a:ext cx="215900" cy="215900"/>
            </a:xfrm>
            <a:prstGeom prst="rect">
              <a:avLst/>
            </a:prstGeom>
            <a:solidFill>
              <a:srgbClr val="76767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77" name="Rectangle 110"/>
            <p:cNvSpPr>
              <a:spLocks noChangeArrowheads="1"/>
            </p:cNvSpPr>
            <p:nvPr/>
          </p:nvSpPr>
          <p:spPr bwMode="gray">
            <a:xfrm>
              <a:off x="-2159000" y="4414839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Mid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18, 118, 1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78" name="Rectangle 111"/>
            <p:cNvSpPr>
              <a:spLocks noChangeArrowheads="1"/>
            </p:cNvSpPr>
            <p:nvPr/>
          </p:nvSpPr>
          <p:spPr bwMode="gray">
            <a:xfrm>
              <a:off x="-2449513" y="4873627"/>
              <a:ext cx="215900" cy="215900"/>
            </a:xfrm>
            <a:prstGeom prst="rect">
              <a:avLst/>
            </a:prstGeom>
            <a:solidFill>
              <a:srgbClr val="333333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79" name="Rectangle 112"/>
            <p:cNvSpPr>
              <a:spLocks noChangeArrowheads="1"/>
            </p:cNvSpPr>
            <p:nvPr/>
          </p:nvSpPr>
          <p:spPr bwMode="gray">
            <a:xfrm>
              <a:off x="-2159000" y="4883152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Text Colour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1, 51, 5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</p:grpSp>
      <p:pic>
        <p:nvPicPr>
          <p:cNvPr id="45" name="Picture 44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-1466554" y="4402733"/>
            <a:ext cx="125761" cy="138908"/>
          </a:xfrm>
          <a:prstGeom prst="rect">
            <a:avLst/>
          </a:prstGeom>
        </p:spPr>
      </p:pic>
      <p:sp>
        <p:nvSpPr>
          <p:cNvPr id="47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6636209" y="4291504"/>
            <a:ext cx="2427750" cy="275612"/>
          </a:xfrm>
        </p:spPr>
        <p:txBody>
          <a:bodyPr tIns="0" bIns="0"/>
          <a:lstStyle>
            <a:lvl1pPr marL="0" indent="0" algn="r">
              <a:lnSpc>
                <a:spcPct val="100000"/>
              </a:lnSpc>
              <a:buNone/>
              <a:defRPr sz="1500">
                <a:solidFill>
                  <a:srgbClr val="000000"/>
                </a:solidFill>
                <a:latin typeface="+mn-lt"/>
              </a:defRPr>
            </a:lvl1pPr>
            <a:lvl2pPr>
              <a:defRPr sz="2200">
                <a:solidFill>
                  <a:srgbClr val="000000"/>
                </a:solidFill>
              </a:defRPr>
            </a:lvl2pPr>
            <a:lvl3pPr>
              <a:defRPr sz="2200">
                <a:solidFill>
                  <a:srgbClr val="000000"/>
                </a:solidFill>
              </a:defRPr>
            </a:lvl3pPr>
            <a:lvl4pPr>
              <a:defRPr sz="2200">
                <a:solidFill>
                  <a:srgbClr val="000000"/>
                </a:solidFill>
              </a:defRPr>
            </a:lvl4pPr>
            <a:lvl5pPr>
              <a:defRPr sz="2200">
                <a:solidFill>
                  <a:srgbClr val="000000"/>
                </a:solidFill>
              </a:defRPr>
            </a:lvl5pPr>
          </a:lstStyle>
          <a:p>
            <a:pPr lvl="0"/>
            <a:r>
              <a:rPr lang="en-GB" noProof="0" dirty="0" smtClean="0"/>
              <a:t>Click to edit location and date</a:t>
            </a:r>
          </a:p>
        </p:txBody>
      </p:sp>
      <p:grpSp>
        <p:nvGrpSpPr>
          <p:cNvPr id="46" name="Group 45"/>
          <p:cNvGrpSpPr/>
          <p:nvPr userDrawn="1"/>
        </p:nvGrpSpPr>
        <p:grpSpPr>
          <a:xfrm>
            <a:off x="8733700" y="-133099"/>
            <a:ext cx="1170834" cy="1565166"/>
            <a:chOff x="5364088" y="4720073"/>
            <a:chExt cx="1441027" cy="1565166"/>
          </a:xfrm>
        </p:grpSpPr>
        <p:sp>
          <p:nvSpPr>
            <p:cNvPr id="48" name="Freeform 5"/>
            <p:cNvSpPr>
              <a:spLocks/>
            </p:cNvSpPr>
            <p:nvPr/>
          </p:nvSpPr>
          <p:spPr bwMode="gray">
            <a:xfrm>
              <a:off x="5364088" y="4844212"/>
              <a:ext cx="1441027" cy="1441027"/>
            </a:xfrm>
            <a:custGeom>
              <a:avLst/>
              <a:gdLst>
                <a:gd name="T0" fmla="*/ 0 w 810"/>
                <a:gd name="T1" fmla="*/ 0 h 810"/>
                <a:gd name="T2" fmla="*/ 810 w 810"/>
                <a:gd name="T3" fmla="*/ 810 h 810"/>
                <a:gd name="T4" fmla="*/ 810 w 810"/>
                <a:gd name="T5" fmla="*/ 536 h 810"/>
                <a:gd name="T6" fmla="*/ 274 w 810"/>
                <a:gd name="T7" fmla="*/ 0 h 810"/>
                <a:gd name="T8" fmla="*/ 0 w 810"/>
                <a:gd name="T9" fmla="*/ 0 h 8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10" h="810">
                  <a:moveTo>
                    <a:pt x="0" y="0"/>
                  </a:moveTo>
                  <a:lnTo>
                    <a:pt x="810" y="810"/>
                  </a:lnTo>
                  <a:lnTo>
                    <a:pt x="810" y="536"/>
                  </a:lnTo>
                  <a:lnTo>
                    <a:pt x="274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17A7DC"/>
            </a:solidFill>
            <a:ln w="3175">
              <a:solidFill>
                <a:srgbClr val="17A7DC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/>
            </a:p>
          </p:txBody>
        </p:sp>
        <p:sp>
          <p:nvSpPr>
            <p:cNvPr id="49" name="Title 14"/>
            <p:cNvSpPr txBox="1">
              <a:spLocks/>
            </p:cNvSpPr>
            <p:nvPr userDrawn="1"/>
          </p:nvSpPr>
          <p:spPr bwMode="gray">
            <a:xfrm rot="2700000">
              <a:off x="5481455" y="5320862"/>
              <a:ext cx="1447800" cy="246221"/>
            </a:xfrm>
            <a:prstGeom prst="rect">
              <a:avLst/>
            </a:prstGeom>
          </p:spPr>
          <p:txBody>
            <a:bodyPr vert="horz" wrap="none" lIns="0" tIns="0" rIns="0" bIns="0" rtlCol="0" anchor="ctr" anchorCtr="0">
              <a:noAutofit/>
            </a:bodyPr>
            <a:lstStyle>
              <a:lvl1pPr algn="l" defTabSz="914400" rtl="0" eaLnBrk="1" latinLnBrk="0" hangingPunct="1">
                <a:lnSpc>
                  <a:spcPts val="4600"/>
                </a:lnSpc>
                <a:spcBef>
                  <a:spcPct val="0"/>
                </a:spcBef>
                <a:buNone/>
                <a:defRPr sz="4400" b="1" kern="1200" baseline="0">
                  <a:solidFill>
                    <a:schemeClr val="bg1"/>
                  </a:solidFill>
                  <a:latin typeface="+mj-lt"/>
                  <a:ea typeface="+mj-ea"/>
                  <a:cs typeface="Arial" panose="020B0604020202020204" pitchFamily="34" charset="0"/>
                </a:defRPr>
              </a:lvl1pPr>
            </a:lstStyle>
            <a:p>
              <a:pPr algn="ctr">
                <a:lnSpc>
                  <a:spcPct val="100000"/>
                </a:lnSpc>
              </a:pPr>
              <a:r>
                <a:rPr lang="en-US" sz="1600" smtClean="0"/>
                <a:t>Confidential</a:t>
              </a:r>
              <a:endParaRPr lang="en-GB" sz="1600" dirty="0"/>
            </a:p>
          </p:txBody>
        </p:sp>
      </p:grpSp>
    </p:spTree>
    <p:extLst>
      <p:ext uri="{BB962C8B-B14F-4D97-AF65-F5344CB8AC3E}">
        <p14:creationId xmlns:p14="http://schemas.microsoft.com/office/powerpoint/2010/main" val="463800200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1" orient="horz" pos="4135" userDrawn="1">
          <p15:clr>
            <a:srgbClr val="FBAE40"/>
          </p15:clr>
        </p15:guide>
        <p15:guide id="2" orient="horz" pos="3304" userDrawn="1">
          <p15:clr>
            <a:srgbClr val="FBAE40"/>
          </p15:clr>
        </p15:guide>
      </p15:sldGuideLst>
    </p:ext>
  </p:extLs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sclaim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688046" y="1270000"/>
            <a:ext cx="4109625" cy="5004000"/>
          </a:xfrm>
        </p:spPr>
        <p:txBody>
          <a:bodyPr/>
          <a:lstStyle>
            <a:lvl1pPr>
              <a:lnSpc>
                <a:spcPts val="1400"/>
              </a:lnSpc>
              <a:spcAft>
                <a:spcPts val="0"/>
              </a:spcAft>
              <a:defRPr sz="1300" b="0"/>
            </a:lvl1pPr>
            <a:lvl2pPr>
              <a:lnSpc>
                <a:spcPts val="1400"/>
              </a:lnSpc>
              <a:spcAft>
                <a:spcPts val="0"/>
              </a:spcAft>
              <a:defRPr sz="1300"/>
            </a:lvl2pPr>
            <a:lvl3pPr>
              <a:lnSpc>
                <a:spcPts val="1400"/>
              </a:lnSpc>
              <a:spcAft>
                <a:spcPts val="0"/>
              </a:spcAft>
              <a:defRPr sz="1300"/>
            </a:lvl3pPr>
            <a:lvl4pPr>
              <a:lnSpc>
                <a:spcPts val="1400"/>
              </a:lnSpc>
              <a:spcAft>
                <a:spcPts val="0"/>
              </a:spcAft>
              <a:defRPr sz="1300"/>
            </a:lvl4pPr>
            <a:lvl5pPr>
              <a:lnSpc>
                <a:spcPts val="1400"/>
              </a:lnSpc>
              <a:spcAft>
                <a:spcPts val="0"/>
              </a:spcAft>
              <a:defRPr sz="1300"/>
            </a:lvl5pPr>
          </a:lstStyle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8" name="Content Placeholder 2"/>
          <p:cNvSpPr>
            <a:spLocks noGrp="1"/>
          </p:cNvSpPr>
          <p:nvPr>
            <p:ph idx="13"/>
          </p:nvPr>
        </p:nvSpPr>
        <p:spPr bwMode="gray">
          <a:xfrm>
            <a:off x="5099859" y="1270000"/>
            <a:ext cx="4109625" cy="5004000"/>
          </a:xfrm>
        </p:spPr>
        <p:txBody>
          <a:bodyPr/>
          <a:lstStyle>
            <a:lvl1pPr>
              <a:lnSpc>
                <a:spcPts val="1400"/>
              </a:lnSpc>
              <a:spcAft>
                <a:spcPts val="0"/>
              </a:spcAft>
              <a:defRPr sz="1300" b="0"/>
            </a:lvl1pPr>
            <a:lvl2pPr>
              <a:lnSpc>
                <a:spcPts val="1400"/>
              </a:lnSpc>
              <a:spcAft>
                <a:spcPts val="0"/>
              </a:spcAft>
              <a:defRPr sz="1300"/>
            </a:lvl2pPr>
            <a:lvl3pPr>
              <a:lnSpc>
                <a:spcPts val="1400"/>
              </a:lnSpc>
              <a:spcAft>
                <a:spcPts val="0"/>
              </a:spcAft>
              <a:defRPr sz="1300"/>
            </a:lvl3pPr>
            <a:lvl4pPr>
              <a:lnSpc>
                <a:spcPts val="1400"/>
              </a:lnSpc>
              <a:spcAft>
                <a:spcPts val="0"/>
              </a:spcAft>
              <a:defRPr sz="1300"/>
            </a:lvl4pPr>
            <a:lvl5pPr>
              <a:lnSpc>
                <a:spcPts val="1400"/>
              </a:lnSpc>
              <a:spcAft>
                <a:spcPts val="0"/>
              </a:spcAft>
              <a:defRPr sz="1300"/>
            </a:lvl5pPr>
          </a:lstStyle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27932036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1" pos="3720" userDrawn="1">
          <p15:clr>
            <a:srgbClr val="FBAE40"/>
          </p15:clr>
        </p15:guide>
        <p15:guide id="2" pos="3948" userDrawn="1">
          <p15:clr>
            <a:srgbClr val="FBAE40"/>
          </p15:clr>
        </p15:guide>
      </p15:sldGuideLst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e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2679055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Freeform 31"/>
          <p:cNvSpPr>
            <a:spLocks noChangeAspect="1"/>
          </p:cNvSpPr>
          <p:nvPr userDrawn="1"/>
        </p:nvSpPr>
        <p:spPr bwMode="gray">
          <a:xfrm>
            <a:off x="563662" y="1695452"/>
            <a:ext cx="8646300" cy="2630915"/>
          </a:xfrm>
          <a:custGeom>
            <a:avLst/>
            <a:gdLst>
              <a:gd name="T0" fmla="*/ 2480 w 2480"/>
              <a:gd name="T1" fmla="*/ 528 h 611"/>
              <a:gd name="T2" fmla="*/ 2480 w 2480"/>
              <a:gd name="T3" fmla="*/ 32 h 611"/>
              <a:gd name="T4" fmla="*/ 2448 w 2480"/>
              <a:gd name="T5" fmla="*/ 0 h 611"/>
              <a:gd name="T6" fmla="*/ 32 w 2480"/>
              <a:gd name="T7" fmla="*/ 0 h 611"/>
              <a:gd name="T8" fmla="*/ 0 w 2480"/>
              <a:gd name="T9" fmla="*/ 32 h 611"/>
              <a:gd name="T10" fmla="*/ 0 w 2480"/>
              <a:gd name="T11" fmla="*/ 528 h 611"/>
              <a:gd name="T12" fmla="*/ 32 w 2480"/>
              <a:gd name="T13" fmla="*/ 560 h 611"/>
              <a:gd name="T14" fmla="*/ 237 w 2480"/>
              <a:gd name="T15" fmla="*/ 560 h 611"/>
              <a:gd name="T16" fmla="*/ 271 w 2480"/>
              <a:gd name="T17" fmla="*/ 604 h 611"/>
              <a:gd name="T18" fmla="*/ 289 w 2480"/>
              <a:gd name="T19" fmla="*/ 604 h 611"/>
              <a:gd name="T20" fmla="*/ 323 w 2480"/>
              <a:gd name="T21" fmla="*/ 560 h 611"/>
              <a:gd name="T22" fmla="*/ 2448 w 2480"/>
              <a:gd name="T23" fmla="*/ 560 h 611"/>
              <a:gd name="T24" fmla="*/ 2480 w 2480"/>
              <a:gd name="T25" fmla="*/ 528 h 61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2480" h="611">
                <a:moveTo>
                  <a:pt x="2480" y="528"/>
                </a:moveTo>
                <a:cubicBezTo>
                  <a:pt x="2480" y="32"/>
                  <a:pt x="2480" y="32"/>
                  <a:pt x="2480" y="32"/>
                </a:cubicBezTo>
                <a:cubicBezTo>
                  <a:pt x="2480" y="32"/>
                  <a:pt x="2480" y="0"/>
                  <a:pt x="2448" y="0"/>
                </a:cubicBezTo>
                <a:cubicBezTo>
                  <a:pt x="32" y="0"/>
                  <a:pt x="32" y="0"/>
                  <a:pt x="32" y="0"/>
                </a:cubicBezTo>
                <a:cubicBezTo>
                  <a:pt x="32" y="0"/>
                  <a:pt x="0" y="0"/>
                  <a:pt x="0" y="32"/>
                </a:cubicBezTo>
                <a:cubicBezTo>
                  <a:pt x="0" y="528"/>
                  <a:pt x="0" y="528"/>
                  <a:pt x="0" y="528"/>
                </a:cubicBezTo>
                <a:cubicBezTo>
                  <a:pt x="0" y="528"/>
                  <a:pt x="0" y="560"/>
                  <a:pt x="32" y="560"/>
                </a:cubicBezTo>
                <a:cubicBezTo>
                  <a:pt x="237" y="560"/>
                  <a:pt x="237" y="560"/>
                  <a:pt x="237" y="560"/>
                </a:cubicBezTo>
                <a:cubicBezTo>
                  <a:pt x="271" y="604"/>
                  <a:pt x="271" y="604"/>
                  <a:pt x="271" y="604"/>
                </a:cubicBezTo>
                <a:cubicBezTo>
                  <a:pt x="276" y="611"/>
                  <a:pt x="284" y="611"/>
                  <a:pt x="289" y="604"/>
                </a:cubicBezTo>
                <a:cubicBezTo>
                  <a:pt x="323" y="560"/>
                  <a:pt x="323" y="560"/>
                  <a:pt x="323" y="560"/>
                </a:cubicBezTo>
                <a:cubicBezTo>
                  <a:pt x="2448" y="560"/>
                  <a:pt x="2448" y="560"/>
                  <a:pt x="2448" y="560"/>
                </a:cubicBezTo>
                <a:cubicBezTo>
                  <a:pt x="2448" y="560"/>
                  <a:pt x="2480" y="560"/>
                  <a:pt x="2480" y="528"/>
                </a:cubicBezTo>
              </a:path>
            </a:pathLst>
          </a:custGeom>
          <a:solidFill>
            <a:srgbClr val="FF62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>
              <a:solidFill>
                <a:srgbClr val="333333"/>
              </a:solidFill>
            </a:endParaRPr>
          </a:p>
        </p:txBody>
      </p:sp>
      <p:sp>
        <p:nvSpPr>
          <p:cNvPr id="5" name="Title 1"/>
          <p:cNvSpPr>
            <a:spLocks noGrp="1"/>
          </p:cNvSpPr>
          <p:nvPr>
            <p:ph type="ctrTitle"/>
          </p:nvPr>
        </p:nvSpPr>
        <p:spPr bwMode="gray">
          <a:xfrm>
            <a:off x="952372" y="1695454"/>
            <a:ext cx="8257113" cy="2368549"/>
          </a:xfrm>
        </p:spPr>
        <p:txBody>
          <a:bodyPr anchor="ctr" anchorCtr="0">
            <a:noAutofit/>
          </a:bodyPr>
          <a:lstStyle>
            <a:lvl1pPr algn="l">
              <a:lnSpc>
                <a:spcPts val="4600"/>
              </a:lnSpc>
              <a:defRPr sz="4600">
                <a:solidFill>
                  <a:schemeClr val="bg1"/>
                </a:solidFill>
              </a:defRPr>
            </a:lvl1pPr>
          </a:lstStyle>
          <a:p>
            <a:r>
              <a:rPr lang="nl-NL" smtClean="0"/>
              <a:t>Klik om de stijl te bewerken</a:t>
            </a:r>
            <a:endParaRPr lang="en-GB" dirty="0"/>
          </a:p>
        </p:txBody>
      </p:sp>
      <p:grpSp>
        <p:nvGrpSpPr>
          <p:cNvPr id="36" name="Group 35"/>
          <p:cNvGrpSpPr/>
          <p:nvPr userDrawn="1"/>
        </p:nvGrpSpPr>
        <p:grpSpPr bwMode="gray">
          <a:xfrm>
            <a:off x="-1653580" y="0"/>
            <a:ext cx="1521000" cy="4689612"/>
            <a:chOff x="-2581275" y="595116"/>
            <a:chExt cx="1872000" cy="4689612"/>
          </a:xfrm>
        </p:grpSpPr>
        <p:sp>
          <p:nvSpPr>
            <p:cNvPr id="37" name="Rectangle 104"/>
            <p:cNvSpPr>
              <a:spLocks noChangeArrowheads="1"/>
            </p:cNvSpPr>
            <p:nvPr/>
          </p:nvSpPr>
          <p:spPr bwMode="gray">
            <a:xfrm>
              <a:off x="-2581275" y="4276728"/>
              <a:ext cx="1872000" cy="100800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38" name="Rectangle 104"/>
            <p:cNvSpPr>
              <a:spLocks noChangeArrowheads="1"/>
            </p:cNvSpPr>
            <p:nvPr userDrawn="1"/>
          </p:nvSpPr>
          <p:spPr bwMode="gray">
            <a:xfrm>
              <a:off x="-2581275" y="595116"/>
              <a:ext cx="1872000" cy="3672087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39" name="Rectangle 105"/>
            <p:cNvSpPr>
              <a:spLocks noChangeArrowheads="1"/>
            </p:cNvSpPr>
            <p:nvPr userDrawn="1"/>
          </p:nvSpPr>
          <p:spPr bwMode="gray">
            <a:xfrm>
              <a:off x="-2449513" y="1136650"/>
              <a:ext cx="215900" cy="215900"/>
            </a:xfrm>
            <a:prstGeom prst="rect">
              <a:avLst/>
            </a:prstGeom>
            <a:solidFill>
              <a:srgbClr val="FF6200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40" name="Rectangle 106"/>
            <p:cNvSpPr>
              <a:spLocks noChangeArrowheads="1"/>
            </p:cNvSpPr>
            <p:nvPr userDrawn="1"/>
          </p:nvSpPr>
          <p:spPr bwMode="gray">
            <a:xfrm>
              <a:off x="-2159000" y="1146175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Orang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55, 98, 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41" name="Rectangle 107"/>
            <p:cNvSpPr>
              <a:spLocks noChangeArrowheads="1"/>
            </p:cNvSpPr>
            <p:nvPr userDrawn="1"/>
          </p:nvSpPr>
          <p:spPr bwMode="gray">
            <a:xfrm>
              <a:off x="-2449513" y="1571626"/>
              <a:ext cx="215900" cy="215900"/>
            </a:xfrm>
            <a:prstGeom prst="rect">
              <a:avLst/>
            </a:prstGeom>
            <a:solidFill>
              <a:srgbClr val="A8A8A8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42" name="Rectangle 108"/>
            <p:cNvSpPr>
              <a:spLocks noChangeArrowheads="1"/>
            </p:cNvSpPr>
            <p:nvPr userDrawn="1"/>
          </p:nvSpPr>
          <p:spPr bwMode="gray">
            <a:xfrm>
              <a:off x="-2159000" y="15970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ght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68, 168, 16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43" name="Rectangle 109"/>
            <p:cNvSpPr>
              <a:spLocks noChangeArrowheads="1"/>
            </p:cNvSpPr>
            <p:nvPr userDrawn="1"/>
          </p:nvSpPr>
          <p:spPr bwMode="gray">
            <a:xfrm>
              <a:off x="-2449513" y="2058988"/>
              <a:ext cx="215900" cy="215900"/>
            </a:xfrm>
            <a:prstGeom prst="rect">
              <a:avLst/>
            </a:prstGeom>
            <a:solidFill>
              <a:srgbClr val="52519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44" name="Rectangle 110"/>
            <p:cNvSpPr>
              <a:spLocks noChangeArrowheads="1"/>
            </p:cNvSpPr>
            <p:nvPr userDrawn="1"/>
          </p:nvSpPr>
          <p:spPr bwMode="gray">
            <a:xfrm>
              <a:off x="-2159000" y="2068513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Indigo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82, 81, 153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45" name="Rectangle 111"/>
            <p:cNvSpPr>
              <a:spLocks noChangeArrowheads="1"/>
            </p:cNvSpPr>
            <p:nvPr userDrawn="1"/>
          </p:nvSpPr>
          <p:spPr bwMode="gray">
            <a:xfrm>
              <a:off x="-2449513" y="2527301"/>
              <a:ext cx="215900" cy="215900"/>
            </a:xfrm>
            <a:prstGeom prst="rect">
              <a:avLst/>
            </a:prstGeom>
            <a:solidFill>
              <a:srgbClr val="60A6DA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46" name="Rectangle 112"/>
            <p:cNvSpPr>
              <a:spLocks noChangeArrowheads="1"/>
            </p:cNvSpPr>
            <p:nvPr userDrawn="1"/>
          </p:nvSpPr>
          <p:spPr bwMode="gray">
            <a:xfrm>
              <a:off x="-2159000" y="25368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Sk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96, 166, 2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47" name="Rectangle 113"/>
            <p:cNvSpPr>
              <a:spLocks noChangeArrowheads="1"/>
            </p:cNvSpPr>
            <p:nvPr userDrawn="1"/>
          </p:nvSpPr>
          <p:spPr bwMode="gray">
            <a:xfrm>
              <a:off x="-2449513" y="762000"/>
              <a:ext cx="1692000" cy="165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90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200" b="1" smtClean="0">
                  <a:solidFill>
                    <a:srgbClr val="333333"/>
                  </a:solidFill>
                </a:rPr>
                <a:t>Colour Guidelines</a:t>
              </a:r>
              <a:endParaRPr lang="en-GB" altLang="en-US" sz="1200" b="1">
                <a:solidFill>
                  <a:srgbClr val="333333"/>
                </a:solidFill>
              </a:endParaRPr>
            </a:p>
          </p:txBody>
        </p:sp>
        <p:sp>
          <p:nvSpPr>
            <p:cNvPr id="48" name="Rectangle 107"/>
            <p:cNvSpPr>
              <a:spLocks noChangeArrowheads="1"/>
            </p:cNvSpPr>
            <p:nvPr/>
          </p:nvSpPr>
          <p:spPr bwMode="gray">
            <a:xfrm>
              <a:off x="-2449513" y="2962277"/>
              <a:ext cx="215900" cy="215900"/>
            </a:xfrm>
            <a:prstGeom prst="rect">
              <a:avLst/>
            </a:prstGeom>
            <a:solidFill>
              <a:srgbClr val="AB006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49" name="Rectangle 108"/>
            <p:cNvSpPr>
              <a:spLocks noChangeArrowheads="1"/>
            </p:cNvSpPr>
            <p:nvPr/>
          </p:nvSpPr>
          <p:spPr bwMode="gray">
            <a:xfrm>
              <a:off x="-2159000" y="29876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Fuchsia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71, 0, 102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0" name="Rectangle 109"/>
            <p:cNvSpPr>
              <a:spLocks noChangeArrowheads="1"/>
            </p:cNvSpPr>
            <p:nvPr/>
          </p:nvSpPr>
          <p:spPr bwMode="gray">
            <a:xfrm>
              <a:off x="-2449513" y="3449639"/>
              <a:ext cx="215900" cy="215900"/>
            </a:xfrm>
            <a:prstGeom prst="rect">
              <a:avLst/>
            </a:prstGeom>
            <a:solidFill>
              <a:srgbClr val="D0D93C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1" name="Rectangle 110"/>
            <p:cNvSpPr>
              <a:spLocks noChangeArrowheads="1"/>
            </p:cNvSpPr>
            <p:nvPr/>
          </p:nvSpPr>
          <p:spPr bwMode="gray">
            <a:xfrm>
              <a:off x="-2159000" y="3459164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m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08, 217, 6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2" name="Rectangle 111"/>
            <p:cNvSpPr>
              <a:spLocks noChangeArrowheads="1"/>
            </p:cNvSpPr>
            <p:nvPr/>
          </p:nvSpPr>
          <p:spPr bwMode="gray">
            <a:xfrm>
              <a:off x="-2449513" y="3917952"/>
              <a:ext cx="215900" cy="215900"/>
            </a:xfrm>
            <a:prstGeom prst="rect">
              <a:avLst/>
            </a:prstGeom>
            <a:solidFill>
              <a:srgbClr val="01964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3" name="Rectangle 112"/>
            <p:cNvSpPr>
              <a:spLocks noChangeArrowheads="1"/>
            </p:cNvSpPr>
            <p:nvPr/>
          </p:nvSpPr>
          <p:spPr bwMode="gray">
            <a:xfrm>
              <a:off x="-2159000" y="39274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eaf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2, 150, 8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4" name="Rectangle 109"/>
            <p:cNvSpPr>
              <a:spLocks noChangeArrowheads="1"/>
            </p:cNvSpPr>
            <p:nvPr/>
          </p:nvSpPr>
          <p:spPr bwMode="gray">
            <a:xfrm>
              <a:off x="-2449513" y="4405314"/>
              <a:ext cx="215900" cy="215900"/>
            </a:xfrm>
            <a:prstGeom prst="rect">
              <a:avLst/>
            </a:prstGeom>
            <a:solidFill>
              <a:srgbClr val="76767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5" name="Rectangle 110"/>
            <p:cNvSpPr>
              <a:spLocks noChangeArrowheads="1"/>
            </p:cNvSpPr>
            <p:nvPr/>
          </p:nvSpPr>
          <p:spPr bwMode="gray">
            <a:xfrm>
              <a:off x="-2159000" y="4414839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Mid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18, 118, 1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6" name="Rectangle 111"/>
            <p:cNvSpPr>
              <a:spLocks noChangeArrowheads="1"/>
            </p:cNvSpPr>
            <p:nvPr/>
          </p:nvSpPr>
          <p:spPr bwMode="gray">
            <a:xfrm>
              <a:off x="-2449513" y="4873627"/>
              <a:ext cx="215900" cy="215900"/>
            </a:xfrm>
            <a:prstGeom prst="rect">
              <a:avLst/>
            </a:prstGeom>
            <a:solidFill>
              <a:srgbClr val="333333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7" name="Rectangle 112"/>
            <p:cNvSpPr>
              <a:spLocks noChangeArrowheads="1"/>
            </p:cNvSpPr>
            <p:nvPr/>
          </p:nvSpPr>
          <p:spPr bwMode="gray">
            <a:xfrm>
              <a:off x="-2159000" y="4883152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Text Colour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1, 51, 5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</p:grpSp>
      <p:pic>
        <p:nvPicPr>
          <p:cNvPr id="27" name="Picture 2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28199" y="6203775"/>
            <a:ext cx="1233535" cy="378000"/>
          </a:xfrm>
          <a:prstGeom prst="rect">
            <a:avLst/>
          </a:prstGeom>
        </p:spPr>
      </p:pic>
      <p:pic>
        <p:nvPicPr>
          <p:cNvPr id="28" name="Picture 27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466554" y="4402733"/>
            <a:ext cx="125761" cy="1389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3642951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86644713"/>
              </p:ext>
            </p:extLst>
          </p:nvPr>
        </p:nvGraphicFramePr>
        <p:xfrm>
          <a:off x="1290" y="1590"/>
          <a:ext cx="128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6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290" y="1590"/>
                        <a:ext cx="1289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Rectangle 20"/>
          <p:cNvSpPr>
            <a:spLocks/>
          </p:cNvSpPr>
          <p:nvPr userDrawn="1"/>
        </p:nvSpPr>
        <p:spPr bwMode="auto">
          <a:xfrm>
            <a:off x="537586" y="4997450"/>
            <a:ext cx="8830830" cy="852488"/>
          </a:xfrm>
          <a:prstGeom prst="rect">
            <a:avLst/>
          </a:prstGeom>
          <a:solidFill>
            <a:srgbClr val="FFFFFF">
              <a:lumMod val="95000"/>
              <a:alpha val="70000"/>
            </a:srgbClr>
          </a:solidFill>
          <a:ln w="25400" cap="flat" cmpd="sng" algn="ctr">
            <a:noFill/>
            <a:prstDash val="solid"/>
          </a:ln>
          <a:effectLst/>
        </p:spPr>
        <p:txBody>
          <a:bodyPr anchor="ctr"/>
          <a:lstStyle/>
          <a:p>
            <a:pPr algn="ctr">
              <a:defRPr/>
            </a:pPr>
            <a:endParaRPr lang="en-US" sz="2400" kern="0" dirty="0">
              <a:solidFill>
                <a:srgbClr val="FFFFFF"/>
              </a:solidFill>
            </a:endParaRPr>
          </a:p>
        </p:txBody>
      </p:sp>
      <p:sp>
        <p:nvSpPr>
          <p:cNvPr id="4" name="Working Draft Text" hidden="1"/>
          <p:cNvSpPr txBox="1">
            <a:spLocks noChangeArrowheads="1"/>
          </p:cNvSpPr>
          <p:nvPr/>
        </p:nvSpPr>
        <p:spPr bwMode="auto">
          <a:xfrm>
            <a:off x="537585" y="349867"/>
            <a:ext cx="1216680" cy="1692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100" b="1" dirty="0" smtClean="0">
                <a:solidFill>
                  <a:srgbClr val="000000"/>
                </a:solidFill>
                <a:latin typeface="Arial"/>
                <a:ea typeface="Arial Unicode MS" pitchFamily="34" charset="-128"/>
                <a:cs typeface="Arial Unicode MS" pitchFamily="34" charset="-128"/>
              </a:rPr>
              <a:t>WORKING DRAFT</a:t>
            </a: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auto">
          <a:xfrm>
            <a:off x="537586" y="548441"/>
            <a:ext cx="3811941" cy="1692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100" smtClean="0">
                <a:solidFill>
                  <a:srgbClr val="000000"/>
                </a:solidFill>
                <a:latin typeface="Arial"/>
                <a:ea typeface="Arial Unicode MS" pitchFamily="34" charset="-128"/>
                <a:cs typeface="Arial Unicode MS" pitchFamily="34" charset="-128"/>
              </a:rPr>
              <a:t>Last Modified 11/20/2015 3:14 PM W. Europe Standard Time</a:t>
            </a:r>
            <a:endParaRPr lang="en-US" sz="1100" dirty="0" smtClean="0">
              <a:solidFill>
                <a:srgbClr val="000000"/>
              </a:solidFill>
              <a:latin typeface="Arial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auto">
          <a:xfrm>
            <a:off x="537586" y="747015"/>
            <a:ext cx="3499356" cy="1692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100" smtClean="0">
                <a:solidFill>
                  <a:srgbClr val="000000"/>
                </a:solidFill>
                <a:latin typeface="Arial"/>
                <a:ea typeface="Arial Unicode MS" pitchFamily="34" charset="-128"/>
                <a:cs typeface="Arial Unicode MS" pitchFamily="34" charset="-128"/>
              </a:rPr>
              <a:t>Printed 11/20/2015 11:18 AM W. Europe Standard Time</a:t>
            </a:r>
            <a:endParaRPr lang="en-US" sz="1100" dirty="0" smtClean="0">
              <a:solidFill>
                <a:srgbClr val="000000"/>
              </a:solidFill>
              <a:latin typeface="Arial"/>
              <a:ea typeface="Arial Unicode MS" pitchFamily="34" charset="-128"/>
              <a:cs typeface="Arial Unicode MS" pitchFamily="34" charset="-128"/>
            </a:endParaRPr>
          </a:p>
        </p:txBody>
      </p:sp>
      <p:grpSp>
        <p:nvGrpSpPr>
          <p:cNvPr id="8" name="McK Title Elements" hidden="1"/>
          <p:cNvGrpSpPr>
            <a:grpSpLocks/>
          </p:cNvGrpSpPr>
          <p:nvPr/>
        </p:nvGrpSpPr>
        <p:grpSpPr bwMode="auto">
          <a:xfrm>
            <a:off x="537585" y="4219384"/>
            <a:ext cx="5455758" cy="578249"/>
            <a:chOff x="1663" y="3080"/>
            <a:chExt cx="3109" cy="357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auto">
            <a:xfrm>
              <a:off x="1663" y="3080"/>
              <a:ext cx="3109" cy="16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700" dirty="0" smtClean="0">
                  <a:solidFill>
                    <a:srgbClr val="000000"/>
                  </a:solidFill>
                  <a:latin typeface="Arial"/>
                </a:rPr>
                <a:t>Document type</a:t>
              </a: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auto">
            <a:xfrm>
              <a:off x="1663" y="3275"/>
              <a:ext cx="3109" cy="16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700" dirty="0" smtClean="0">
                  <a:solidFill>
                    <a:srgbClr val="000000"/>
                  </a:solidFill>
                  <a:latin typeface="Arial"/>
                </a:rPr>
                <a:t>Date</a:t>
              </a:r>
            </a:p>
          </p:txBody>
        </p:sp>
      </p:grpSp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 bwMode="auto">
          <a:xfrm>
            <a:off x="537586" y="1853553"/>
            <a:ext cx="7969600" cy="600164"/>
          </a:xfrm>
          <a:prstGeom prst="rect">
            <a:avLst/>
          </a:prstGeom>
        </p:spPr>
        <p:txBody>
          <a:bodyPr/>
          <a:lstStyle>
            <a:lvl1pPr>
              <a:defRPr sz="3900" b="1" baseline="0"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 bwMode="auto">
          <a:xfrm>
            <a:off x="537586" y="3205745"/>
            <a:ext cx="7969600" cy="261610"/>
          </a:xfrm>
        </p:spPr>
        <p:txBody>
          <a:bodyPr wrap="square">
            <a:spAutoFit/>
          </a:bodyPr>
          <a:lstStyle>
            <a:lvl1pPr>
              <a:defRPr sz="1700" baseline="0"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 lvl="0"/>
            <a:r>
              <a:rPr lang="en-US" noProof="0" smtClean="0"/>
              <a:t>Click to edit Master subtitle style</a:t>
            </a:r>
          </a:p>
        </p:txBody>
      </p:sp>
      <p:grpSp>
        <p:nvGrpSpPr>
          <p:cNvPr id="3" name="Group 2"/>
          <p:cNvGrpSpPr>
            <a:grpSpLocks/>
          </p:cNvGrpSpPr>
          <p:nvPr userDrawn="1"/>
        </p:nvGrpSpPr>
        <p:grpSpPr bwMode="auto">
          <a:xfrm>
            <a:off x="537586" y="6321425"/>
            <a:ext cx="8830830" cy="357188"/>
            <a:chOff x="930275" y="6321425"/>
            <a:chExt cx="10874375" cy="357188"/>
          </a:xfrm>
        </p:grpSpPr>
        <p:pic>
          <p:nvPicPr>
            <p:cNvPr id="23" name="Picture 32" descr="thinkforward.png"/>
            <p:cNvPicPr>
              <a:picLocks noChangeAspect="1"/>
            </p:cNvPicPr>
            <p:nvPr userDrawn="1"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30275" y="6421438"/>
              <a:ext cx="1955800" cy="254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4" name="Picture 33"/>
            <p:cNvPicPr>
              <a:picLocks noChangeAspect="1"/>
            </p:cNvPicPr>
            <p:nvPr userDrawn="1"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366375" y="6321425"/>
              <a:ext cx="1438275" cy="3571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26" name="doc id"/>
          <p:cNvSpPr>
            <a:spLocks noChangeArrowheads="1"/>
          </p:cNvSpPr>
          <p:nvPr userDrawn="1"/>
        </p:nvSpPr>
        <p:spPr bwMode="auto">
          <a:xfrm>
            <a:off x="8641916" y="37255"/>
            <a:ext cx="726499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1087940" fontAlgn="base">
              <a:spcBef>
                <a:spcPct val="0"/>
              </a:spcBef>
              <a:spcAft>
                <a:spcPct val="0"/>
              </a:spcAft>
            </a:pPr>
            <a:endParaRPr lang="en-US" sz="8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9010441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cK 2. Slide 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88873715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54145953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230900669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dia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4" name="Group 43"/>
          <p:cNvGrpSpPr/>
          <p:nvPr userDrawn="1"/>
        </p:nvGrpSpPr>
        <p:grpSpPr bwMode="gray">
          <a:xfrm>
            <a:off x="1" y="1643200"/>
            <a:ext cx="9213354" cy="3055937"/>
            <a:chOff x="409575" y="3144838"/>
            <a:chExt cx="11339513" cy="3055937"/>
          </a:xfrm>
        </p:grpSpPr>
        <p:sp>
          <p:nvSpPr>
            <p:cNvPr id="45" name="Freeform 5"/>
            <p:cNvSpPr>
              <a:spLocks/>
            </p:cNvSpPr>
            <p:nvPr/>
          </p:nvSpPr>
          <p:spPr bwMode="gray">
            <a:xfrm>
              <a:off x="409575" y="5521325"/>
              <a:ext cx="11339513" cy="679450"/>
            </a:xfrm>
            <a:custGeom>
              <a:avLst/>
              <a:gdLst>
                <a:gd name="T0" fmla="*/ 0 w 2680"/>
                <a:gd name="T1" fmla="*/ 0 h 160"/>
                <a:gd name="T2" fmla="*/ 0 w 2680"/>
                <a:gd name="T3" fmla="*/ 160 h 160"/>
                <a:gd name="T4" fmla="*/ 2656 w 2680"/>
                <a:gd name="T5" fmla="*/ 160 h 160"/>
                <a:gd name="T6" fmla="*/ 2680 w 2680"/>
                <a:gd name="T7" fmla="*/ 136 h 160"/>
                <a:gd name="T8" fmla="*/ 2680 w 2680"/>
                <a:gd name="T9" fmla="*/ 0 h 160"/>
                <a:gd name="T10" fmla="*/ 0 w 2680"/>
                <a:gd name="T11" fmla="*/ 0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80" h="160">
                  <a:moveTo>
                    <a:pt x="0" y="0"/>
                  </a:moveTo>
                  <a:cubicBezTo>
                    <a:pt x="0" y="160"/>
                    <a:pt x="0" y="160"/>
                    <a:pt x="0" y="160"/>
                  </a:cubicBezTo>
                  <a:cubicBezTo>
                    <a:pt x="2656" y="160"/>
                    <a:pt x="2656" y="160"/>
                    <a:pt x="2656" y="160"/>
                  </a:cubicBezTo>
                  <a:cubicBezTo>
                    <a:pt x="2656" y="160"/>
                    <a:pt x="2680" y="160"/>
                    <a:pt x="2680" y="136"/>
                  </a:cubicBezTo>
                  <a:cubicBezTo>
                    <a:pt x="2680" y="0"/>
                    <a:pt x="2680" y="0"/>
                    <a:pt x="2680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EAEAE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333333"/>
                </a:solidFill>
              </a:endParaRPr>
            </a:p>
          </p:txBody>
        </p:sp>
        <p:sp>
          <p:nvSpPr>
            <p:cNvPr id="46" name="Freeform 6"/>
            <p:cNvSpPr>
              <a:spLocks/>
            </p:cNvSpPr>
            <p:nvPr/>
          </p:nvSpPr>
          <p:spPr bwMode="gray">
            <a:xfrm>
              <a:off x="409575" y="3144838"/>
              <a:ext cx="11339513" cy="2376487"/>
            </a:xfrm>
            <a:custGeom>
              <a:avLst/>
              <a:gdLst>
                <a:gd name="T0" fmla="*/ 0 w 2680"/>
                <a:gd name="T1" fmla="*/ 0 h 560"/>
                <a:gd name="T2" fmla="*/ 0 w 2680"/>
                <a:gd name="T3" fmla="*/ 560 h 560"/>
                <a:gd name="T4" fmla="*/ 2680 w 2680"/>
                <a:gd name="T5" fmla="*/ 560 h 560"/>
                <a:gd name="T6" fmla="*/ 2680 w 2680"/>
                <a:gd name="T7" fmla="*/ 24 h 560"/>
                <a:gd name="T8" fmla="*/ 2656 w 2680"/>
                <a:gd name="T9" fmla="*/ 0 h 560"/>
                <a:gd name="T10" fmla="*/ 0 w 2680"/>
                <a:gd name="T11" fmla="*/ 0 h 5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80" h="560">
                  <a:moveTo>
                    <a:pt x="0" y="0"/>
                  </a:moveTo>
                  <a:cubicBezTo>
                    <a:pt x="0" y="560"/>
                    <a:pt x="0" y="560"/>
                    <a:pt x="0" y="560"/>
                  </a:cubicBezTo>
                  <a:cubicBezTo>
                    <a:pt x="2680" y="560"/>
                    <a:pt x="2680" y="560"/>
                    <a:pt x="2680" y="560"/>
                  </a:cubicBezTo>
                  <a:cubicBezTo>
                    <a:pt x="2680" y="24"/>
                    <a:pt x="2680" y="24"/>
                    <a:pt x="2680" y="24"/>
                  </a:cubicBezTo>
                  <a:cubicBezTo>
                    <a:pt x="2680" y="24"/>
                    <a:pt x="2680" y="0"/>
                    <a:pt x="2656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F62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333333"/>
                </a:solidFill>
              </a:endParaRPr>
            </a:p>
          </p:txBody>
        </p:sp>
      </p:grpSp>
      <p:sp>
        <p:nvSpPr>
          <p:cNvPr id="8" name="Rectangle 7"/>
          <p:cNvSpPr/>
          <p:nvPr userDrawn="1"/>
        </p:nvSpPr>
        <p:spPr bwMode="gray">
          <a:xfrm>
            <a:off x="1" y="6024880"/>
            <a:ext cx="9904532" cy="8331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2400">
              <a:solidFill>
                <a:prstClr val="white"/>
              </a:solidFill>
            </a:endParaRPr>
          </a:p>
        </p:txBody>
      </p:sp>
      <p:sp>
        <p:nvSpPr>
          <p:cNvPr id="25" name="Title 1"/>
          <p:cNvSpPr>
            <a:spLocks noGrp="1"/>
          </p:cNvSpPr>
          <p:nvPr>
            <p:ph type="ctrTitle"/>
          </p:nvPr>
        </p:nvSpPr>
        <p:spPr bwMode="gray">
          <a:xfrm>
            <a:off x="684477" y="2116801"/>
            <a:ext cx="8379482" cy="1227573"/>
          </a:xfrm>
        </p:spPr>
        <p:txBody>
          <a:bodyPr anchor="ctr" anchorCtr="0">
            <a:noAutofit/>
          </a:bodyPr>
          <a:lstStyle>
            <a:lvl1pPr algn="l">
              <a:lnSpc>
                <a:spcPts val="4600"/>
              </a:lnSpc>
              <a:defRPr sz="4600">
                <a:solidFill>
                  <a:schemeClr val="bg1"/>
                </a:solidFill>
              </a:defRPr>
            </a:lvl1pPr>
          </a:lstStyle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  <p:sp>
        <p:nvSpPr>
          <p:cNvPr id="26" name="Subtitle 2"/>
          <p:cNvSpPr>
            <a:spLocks noGrp="1"/>
          </p:cNvSpPr>
          <p:nvPr>
            <p:ph type="subTitle" idx="1"/>
          </p:nvPr>
        </p:nvSpPr>
        <p:spPr bwMode="gray">
          <a:xfrm>
            <a:off x="684477" y="4240704"/>
            <a:ext cx="5754721" cy="306798"/>
          </a:xfrm>
        </p:spPr>
        <p:txBody>
          <a:bodyPr anchor="ctr" anchorCtr="0">
            <a:noAutofit/>
          </a:bodyPr>
          <a:lstStyle>
            <a:lvl1pPr marL="0" indent="0" algn="l">
              <a:lnSpc>
                <a:spcPts val="2200"/>
              </a:lnSpc>
              <a:buNone/>
              <a:defRPr sz="2000" b="0" i="0"/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nl-NL" noProof="0" smtClean="0"/>
              <a:t>Klik om de ondertitelstijl van het model te bewerken</a:t>
            </a:r>
            <a:endParaRPr lang="en-GB" noProof="0" dirty="0"/>
          </a:p>
        </p:txBody>
      </p:sp>
      <p:sp>
        <p:nvSpPr>
          <p:cNvPr id="27" name="Text Placeholder 6"/>
          <p:cNvSpPr>
            <a:spLocks noGrp="1"/>
          </p:cNvSpPr>
          <p:nvPr>
            <p:ph type="body" sz="quarter" idx="11"/>
          </p:nvPr>
        </p:nvSpPr>
        <p:spPr bwMode="gray">
          <a:xfrm>
            <a:off x="684450" y="3556801"/>
            <a:ext cx="8373361" cy="385233"/>
          </a:xfrm>
        </p:spPr>
        <p:txBody>
          <a:bodyPr>
            <a:noAutofit/>
          </a:bodyPr>
          <a:lstStyle>
            <a:lvl1pPr>
              <a:lnSpc>
                <a:spcPts val="2200"/>
              </a:lnSpc>
              <a:defRPr sz="220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noProof="0" smtClean="0"/>
              <a:t>Klik om de modelstijlen te bewerken</a:t>
            </a:r>
          </a:p>
        </p:txBody>
      </p:sp>
      <p:sp>
        <p:nvSpPr>
          <p:cNvPr id="23" name="Picture Placeholder 2"/>
          <p:cNvSpPr>
            <a:spLocks noGrp="1"/>
          </p:cNvSpPr>
          <p:nvPr>
            <p:ph type="pic" sz="quarter" idx="13" hasCustomPrompt="1"/>
          </p:nvPr>
        </p:nvSpPr>
        <p:spPr>
          <a:xfrm>
            <a:off x="681038" y="5242062"/>
            <a:ext cx="1784250" cy="1318571"/>
          </a:xfrm>
        </p:spPr>
        <p:txBody>
          <a:bodyPr lIns="0" anchor="ctr" anchorCtr="0"/>
          <a:lstStyle>
            <a:lvl1pPr algn="l">
              <a:lnSpc>
                <a:spcPct val="100000"/>
              </a:lnSpc>
              <a:defRPr sz="900" b="0"/>
            </a:lvl1pPr>
          </a:lstStyle>
          <a:p>
            <a:r>
              <a:rPr lang="en-GB" dirty="0" smtClean="0"/>
              <a:t>Click to insert project logo</a:t>
            </a:r>
            <a:endParaRPr lang="en-GB" dirty="0"/>
          </a:p>
        </p:txBody>
      </p:sp>
      <p:pic>
        <p:nvPicPr>
          <p:cNvPr id="38" name="Picture 3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28199" y="6203775"/>
            <a:ext cx="1233535" cy="378000"/>
          </a:xfrm>
          <a:prstGeom prst="rect">
            <a:avLst/>
          </a:prstGeom>
        </p:spPr>
      </p:pic>
      <p:cxnSp>
        <p:nvCxnSpPr>
          <p:cNvPr id="13" name="Straight Connector 12"/>
          <p:cNvCxnSpPr/>
          <p:nvPr userDrawn="1"/>
        </p:nvCxnSpPr>
        <p:spPr>
          <a:xfrm>
            <a:off x="681038" y="6953250"/>
            <a:ext cx="0" cy="360000"/>
          </a:xfrm>
          <a:prstGeom prst="line">
            <a:avLst/>
          </a:prstGeom>
          <a:ln>
            <a:head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>
            <a:off x="2449809" y="6953250"/>
            <a:ext cx="0" cy="36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/>
          <p:cNvCxnSpPr/>
          <p:nvPr userDrawn="1"/>
        </p:nvCxnSpPr>
        <p:spPr>
          <a:xfrm>
            <a:off x="-346674" y="6559200"/>
            <a:ext cx="292500" cy="0"/>
          </a:xfrm>
          <a:prstGeom prst="line">
            <a:avLst/>
          </a:prstGeom>
          <a:ln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/>
          <p:cNvCxnSpPr/>
          <p:nvPr userDrawn="1"/>
        </p:nvCxnSpPr>
        <p:spPr>
          <a:xfrm>
            <a:off x="-346674" y="6200775"/>
            <a:ext cx="292500" cy="0"/>
          </a:xfrm>
          <a:prstGeom prst="line">
            <a:avLst/>
          </a:prstGeom>
          <a:ln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extBox 20"/>
          <p:cNvSpPr txBox="1"/>
          <p:nvPr userDrawn="1"/>
        </p:nvSpPr>
        <p:spPr>
          <a:xfrm>
            <a:off x="980423" y="7019956"/>
            <a:ext cx="1170000" cy="226591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ctr"/>
            <a:r>
              <a:rPr lang="en-GB" sz="1000" smtClean="0">
                <a:solidFill>
                  <a:srgbClr val="333333"/>
                </a:solidFill>
              </a:rPr>
              <a:t>Max. width</a:t>
            </a:r>
          </a:p>
        </p:txBody>
      </p:sp>
      <p:sp>
        <p:nvSpPr>
          <p:cNvPr id="22" name="TextBox 21"/>
          <p:cNvSpPr txBox="1"/>
          <p:nvPr userDrawn="1"/>
        </p:nvSpPr>
        <p:spPr>
          <a:xfrm>
            <a:off x="-1224174" y="6266693"/>
            <a:ext cx="1170000" cy="226591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r"/>
            <a:r>
              <a:rPr lang="en-GB" sz="1000" smtClean="0">
                <a:solidFill>
                  <a:srgbClr val="333333"/>
                </a:solidFill>
              </a:rPr>
              <a:t>Min. height</a:t>
            </a:r>
          </a:p>
        </p:txBody>
      </p:sp>
      <p:cxnSp>
        <p:nvCxnSpPr>
          <p:cNvPr id="24" name="Straight Connector 23"/>
          <p:cNvCxnSpPr/>
          <p:nvPr userDrawn="1"/>
        </p:nvCxnSpPr>
        <p:spPr>
          <a:xfrm>
            <a:off x="-346674" y="5242062"/>
            <a:ext cx="2925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extBox 27"/>
          <p:cNvSpPr txBox="1"/>
          <p:nvPr userDrawn="1"/>
        </p:nvSpPr>
        <p:spPr>
          <a:xfrm>
            <a:off x="-1224174" y="5297119"/>
            <a:ext cx="1170000" cy="226591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r"/>
            <a:r>
              <a:rPr lang="en-GB" sz="1000" smtClean="0">
                <a:solidFill>
                  <a:srgbClr val="333333"/>
                </a:solidFill>
              </a:rPr>
              <a:t>Max. height</a:t>
            </a:r>
          </a:p>
        </p:txBody>
      </p:sp>
      <p:grpSp>
        <p:nvGrpSpPr>
          <p:cNvPr id="53" name="Group 52"/>
          <p:cNvGrpSpPr/>
          <p:nvPr userDrawn="1"/>
        </p:nvGrpSpPr>
        <p:grpSpPr bwMode="gray">
          <a:xfrm>
            <a:off x="-1653580" y="0"/>
            <a:ext cx="1521000" cy="4689612"/>
            <a:chOff x="-2581275" y="595116"/>
            <a:chExt cx="1872000" cy="4689612"/>
          </a:xfrm>
        </p:grpSpPr>
        <p:sp>
          <p:nvSpPr>
            <p:cNvPr id="54" name="Rectangle 104"/>
            <p:cNvSpPr>
              <a:spLocks noChangeArrowheads="1"/>
            </p:cNvSpPr>
            <p:nvPr/>
          </p:nvSpPr>
          <p:spPr bwMode="gray">
            <a:xfrm>
              <a:off x="-2581275" y="4276728"/>
              <a:ext cx="1872000" cy="100800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5" name="Rectangle 104"/>
            <p:cNvSpPr>
              <a:spLocks noChangeArrowheads="1"/>
            </p:cNvSpPr>
            <p:nvPr userDrawn="1"/>
          </p:nvSpPr>
          <p:spPr bwMode="gray">
            <a:xfrm>
              <a:off x="-2581275" y="595116"/>
              <a:ext cx="1872000" cy="3672087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6" name="Rectangle 105"/>
            <p:cNvSpPr>
              <a:spLocks noChangeArrowheads="1"/>
            </p:cNvSpPr>
            <p:nvPr userDrawn="1"/>
          </p:nvSpPr>
          <p:spPr bwMode="gray">
            <a:xfrm>
              <a:off x="-2449513" y="1136650"/>
              <a:ext cx="215900" cy="215900"/>
            </a:xfrm>
            <a:prstGeom prst="rect">
              <a:avLst/>
            </a:prstGeom>
            <a:solidFill>
              <a:srgbClr val="FF6200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7" name="Rectangle 106"/>
            <p:cNvSpPr>
              <a:spLocks noChangeArrowheads="1"/>
            </p:cNvSpPr>
            <p:nvPr userDrawn="1"/>
          </p:nvSpPr>
          <p:spPr bwMode="gray">
            <a:xfrm>
              <a:off x="-2159000" y="1146175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Orang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55, 98, 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8" name="Rectangle 107"/>
            <p:cNvSpPr>
              <a:spLocks noChangeArrowheads="1"/>
            </p:cNvSpPr>
            <p:nvPr userDrawn="1"/>
          </p:nvSpPr>
          <p:spPr bwMode="gray">
            <a:xfrm>
              <a:off x="-2449513" y="1571626"/>
              <a:ext cx="215900" cy="215900"/>
            </a:xfrm>
            <a:prstGeom prst="rect">
              <a:avLst/>
            </a:prstGeom>
            <a:solidFill>
              <a:srgbClr val="A8A8A8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9" name="Rectangle 108"/>
            <p:cNvSpPr>
              <a:spLocks noChangeArrowheads="1"/>
            </p:cNvSpPr>
            <p:nvPr userDrawn="1"/>
          </p:nvSpPr>
          <p:spPr bwMode="gray">
            <a:xfrm>
              <a:off x="-2159000" y="15970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ght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68, 168, 16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0" name="Rectangle 109"/>
            <p:cNvSpPr>
              <a:spLocks noChangeArrowheads="1"/>
            </p:cNvSpPr>
            <p:nvPr userDrawn="1"/>
          </p:nvSpPr>
          <p:spPr bwMode="gray">
            <a:xfrm>
              <a:off x="-2449513" y="2058988"/>
              <a:ext cx="215900" cy="215900"/>
            </a:xfrm>
            <a:prstGeom prst="rect">
              <a:avLst/>
            </a:prstGeom>
            <a:solidFill>
              <a:srgbClr val="52519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1" name="Rectangle 110"/>
            <p:cNvSpPr>
              <a:spLocks noChangeArrowheads="1"/>
            </p:cNvSpPr>
            <p:nvPr userDrawn="1"/>
          </p:nvSpPr>
          <p:spPr bwMode="gray">
            <a:xfrm>
              <a:off x="-2159000" y="2068513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Indigo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82, 81, 153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2" name="Rectangle 111"/>
            <p:cNvSpPr>
              <a:spLocks noChangeArrowheads="1"/>
            </p:cNvSpPr>
            <p:nvPr userDrawn="1"/>
          </p:nvSpPr>
          <p:spPr bwMode="gray">
            <a:xfrm>
              <a:off x="-2449513" y="2527301"/>
              <a:ext cx="215900" cy="215900"/>
            </a:xfrm>
            <a:prstGeom prst="rect">
              <a:avLst/>
            </a:prstGeom>
            <a:solidFill>
              <a:srgbClr val="60A6DA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3" name="Rectangle 112"/>
            <p:cNvSpPr>
              <a:spLocks noChangeArrowheads="1"/>
            </p:cNvSpPr>
            <p:nvPr userDrawn="1"/>
          </p:nvSpPr>
          <p:spPr bwMode="gray">
            <a:xfrm>
              <a:off x="-2159000" y="25368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Sk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96, 166, 2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4" name="Rectangle 113"/>
            <p:cNvSpPr>
              <a:spLocks noChangeArrowheads="1"/>
            </p:cNvSpPr>
            <p:nvPr userDrawn="1"/>
          </p:nvSpPr>
          <p:spPr bwMode="gray">
            <a:xfrm>
              <a:off x="-2449513" y="762000"/>
              <a:ext cx="1692000" cy="165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90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200" b="1" smtClean="0">
                  <a:solidFill>
                    <a:srgbClr val="333333"/>
                  </a:solidFill>
                </a:rPr>
                <a:t>Colour Guidelines</a:t>
              </a:r>
              <a:endParaRPr lang="en-GB" altLang="en-US" sz="1200" b="1">
                <a:solidFill>
                  <a:srgbClr val="333333"/>
                </a:solidFill>
              </a:endParaRPr>
            </a:p>
          </p:txBody>
        </p:sp>
        <p:sp>
          <p:nvSpPr>
            <p:cNvPr id="65" name="Rectangle 107"/>
            <p:cNvSpPr>
              <a:spLocks noChangeArrowheads="1"/>
            </p:cNvSpPr>
            <p:nvPr/>
          </p:nvSpPr>
          <p:spPr bwMode="gray">
            <a:xfrm>
              <a:off x="-2449513" y="2962277"/>
              <a:ext cx="215900" cy="215900"/>
            </a:xfrm>
            <a:prstGeom prst="rect">
              <a:avLst/>
            </a:prstGeom>
            <a:solidFill>
              <a:srgbClr val="AB006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6" name="Rectangle 108"/>
            <p:cNvSpPr>
              <a:spLocks noChangeArrowheads="1"/>
            </p:cNvSpPr>
            <p:nvPr/>
          </p:nvSpPr>
          <p:spPr bwMode="gray">
            <a:xfrm>
              <a:off x="-2159000" y="29876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Fuchsia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71, 0, 102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7" name="Rectangle 109"/>
            <p:cNvSpPr>
              <a:spLocks noChangeArrowheads="1"/>
            </p:cNvSpPr>
            <p:nvPr/>
          </p:nvSpPr>
          <p:spPr bwMode="gray">
            <a:xfrm>
              <a:off x="-2449513" y="3449639"/>
              <a:ext cx="215900" cy="215900"/>
            </a:xfrm>
            <a:prstGeom prst="rect">
              <a:avLst/>
            </a:prstGeom>
            <a:solidFill>
              <a:srgbClr val="D0D93C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8" name="Rectangle 110"/>
            <p:cNvSpPr>
              <a:spLocks noChangeArrowheads="1"/>
            </p:cNvSpPr>
            <p:nvPr/>
          </p:nvSpPr>
          <p:spPr bwMode="gray">
            <a:xfrm>
              <a:off x="-2159000" y="3459164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m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08, 217, 6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9" name="Rectangle 111"/>
            <p:cNvSpPr>
              <a:spLocks noChangeArrowheads="1"/>
            </p:cNvSpPr>
            <p:nvPr/>
          </p:nvSpPr>
          <p:spPr bwMode="gray">
            <a:xfrm>
              <a:off x="-2449513" y="3917952"/>
              <a:ext cx="215900" cy="215900"/>
            </a:xfrm>
            <a:prstGeom prst="rect">
              <a:avLst/>
            </a:prstGeom>
            <a:solidFill>
              <a:srgbClr val="01964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70" name="Rectangle 112"/>
            <p:cNvSpPr>
              <a:spLocks noChangeArrowheads="1"/>
            </p:cNvSpPr>
            <p:nvPr/>
          </p:nvSpPr>
          <p:spPr bwMode="gray">
            <a:xfrm>
              <a:off x="-2159000" y="39274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eaf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2, 150, 8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71" name="Rectangle 109"/>
            <p:cNvSpPr>
              <a:spLocks noChangeArrowheads="1"/>
            </p:cNvSpPr>
            <p:nvPr/>
          </p:nvSpPr>
          <p:spPr bwMode="gray">
            <a:xfrm>
              <a:off x="-2449513" y="4405314"/>
              <a:ext cx="215900" cy="215900"/>
            </a:xfrm>
            <a:prstGeom prst="rect">
              <a:avLst/>
            </a:prstGeom>
            <a:solidFill>
              <a:srgbClr val="76767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72" name="Rectangle 110"/>
            <p:cNvSpPr>
              <a:spLocks noChangeArrowheads="1"/>
            </p:cNvSpPr>
            <p:nvPr/>
          </p:nvSpPr>
          <p:spPr bwMode="gray">
            <a:xfrm>
              <a:off x="-2159000" y="4414839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Mid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18, 118, 1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73" name="Rectangle 111"/>
            <p:cNvSpPr>
              <a:spLocks noChangeArrowheads="1"/>
            </p:cNvSpPr>
            <p:nvPr/>
          </p:nvSpPr>
          <p:spPr bwMode="gray">
            <a:xfrm>
              <a:off x="-2449513" y="4873627"/>
              <a:ext cx="215900" cy="215900"/>
            </a:xfrm>
            <a:prstGeom prst="rect">
              <a:avLst/>
            </a:prstGeom>
            <a:solidFill>
              <a:srgbClr val="333333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74" name="Rectangle 112"/>
            <p:cNvSpPr>
              <a:spLocks noChangeArrowheads="1"/>
            </p:cNvSpPr>
            <p:nvPr/>
          </p:nvSpPr>
          <p:spPr bwMode="gray">
            <a:xfrm>
              <a:off x="-2159000" y="4883152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Text Colour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1, 51, 5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</p:grpSp>
      <p:pic>
        <p:nvPicPr>
          <p:cNvPr id="42" name="Picture 41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466554" y="4402733"/>
            <a:ext cx="125761" cy="138908"/>
          </a:xfrm>
          <a:prstGeom prst="rect">
            <a:avLst/>
          </a:prstGeom>
        </p:spPr>
      </p:pic>
      <p:sp>
        <p:nvSpPr>
          <p:cNvPr id="43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6636209" y="4291504"/>
            <a:ext cx="2427750" cy="275612"/>
          </a:xfrm>
        </p:spPr>
        <p:txBody>
          <a:bodyPr tIns="0" bIns="0"/>
          <a:lstStyle>
            <a:lvl1pPr marL="0" indent="0" algn="r">
              <a:lnSpc>
                <a:spcPct val="100000"/>
              </a:lnSpc>
              <a:buNone/>
              <a:defRPr sz="1500">
                <a:solidFill>
                  <a:srgbClr val="000000"/>
                </a:solidFill>
                <a:latin typeface="+mn-lt"/>
              </a:defRPr>
            </a:lvl1pPr>
            <a:lvl2pPr>
              <a:defRPr sz="2200">
                <a:solidFill>
                  <a:srgbClr val="000000"/>
                </a:solidFill>
              </a:defRPr>
            </a:lvl2pPr>
            <a:lvl3pPr>
              <a:defRPr sz="2200">
                <a:solidFill>
                  <a:srgbClr val="000000"/>
                </a:solidFill>
              </a:defRPr>
            </a:lvl3pPr>
            <a:lvl4pPr>
              <a:defRPr sz="2200">
                <a:solidFill>
                  <a:srgbClr val="000000"/>
                </a:solidFill>
              </a:defRPr>
            </a:lvl4pPr>
            <a:lvl5pPr>
              <a:defRPr sz="2200">
                <a:solidFill>
                  <a:srgbClr val="000000"/>
                </a:solidFill>
              </a:defRPr>
            </a:lvl5pPr>
          </a:lstStyle>
          <a:p>
            <a:pPr lvl="0"/>
            <a:r>
              <a:rPr lang="en-GB" noProof="0" dirty="0" smtClean="0"/>
              <a:t>Click to edit location and date</a:t>
            </a:r>
          </a:p>
        </p:txBody>
      </p:sp>
    </p:spTree>
    <p:extLst>
      <p:ext uri="{BB962C8B-B14F-4D97-AF65-F5344CB8AC3E}">
        <p14:creationId xmlns:p14="http://schemas.microsoft.com/office/powerpoint/2010/main" val="1688936586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="" xmlns:p15="http://schemas.microsoft.com/office/powerpoint/2012/main">
        <p15:guide id="1" orient="horz" pos="4135" userDrawn="1">
          <p15:clr>
            <a:srgbClr val="FBAE40"/>
          </p15:clr>
        </p15:guide>
        <p15:guide id="2" orient="horz" pos="3304" userDrawn="1">
          <p15:clr>
            <a:srgbClr val="FBAE40"/>
          </p15:clr>
        </p15:guide>
      </p15:sldGuideLst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2"/>
          <p:cNvSpPr>
            <a:spLocks noGrp="1"/>
          </p:cNvSpPr>
          <p:nvPr>
            <p:ph idx="1"/>
          </p:nvPr>
        </p:nvSpPr>
        <p:spPr bwMode="gray">
          <a:xfrm>
            <a:off x="687030" y="1278385"/>
            <a:ext cx="8522455" cy="492239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2pPr marL="268288" indent="-268288">
              <a:buClr>
                <a:schemeClr val="accent1"/>
              </a:buClr>
              <a:buFont typeface="ING Me" pitchFamily="2" charset="0"/>
              <a:buChar char="•"/>
              <a:defRPr/>
            </a:lvl2pPr>
            <a:lvl3pPr marL="536575" indent="-266700">
              <a:buClr>
                <a:schemeClr val="accent2"/>
              </a:buClr>
              <a:defRPr/>
            </a:lvl3pPr>
            <a:lvl4pPr marL="808038" indent="-260350">
              <a:buClr>
                <a:schemeClr val="accent3"/>
              </a:buClr>
              <a:defRPr/>
            </a:lvl4pPr>
            <a:lvl5pPr marL="1071563" indent="-252413">
              <a:buClr>
                <a:schemeClr val="accent4"/>
              </a:buClr>
              <a:defRPr/>
            </a:lvl5pPr>
          </a:lstStyle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4085258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Content Slide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2"/>
          <p:cNvSpPr>
            <a:spLocks noGrp="1"/>
          </p:cNvSpPr>
          <p:nvPr>
            <p:ph idx="1"/>
          </p:nvPr>
        </p:nvSpPr>
        <p:spPr bwMode="gray">
          <a:xfrm>
            <a:off x="687030" y="1795637"/>
            <a:ext cx="8522455" cy="440513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2pPr marL="268288" indent="-268288">
              <a:buClr>
                <a:schemeClr val="accent1"/>
              </a:buClr>
              <a:buFont typeface="ING Me" pitchFamily="2" charset="0"/>
              <a:buChar char="•"/>
              <a:defRPr/>
            </a:lvl2pPr>
            <a:lvl3pPr marL="536575" indent="-266700">
              <a:buClr>
                <a:schemeClr val="accent2"/>
              </a:buClr>
              <a:defRPr/>
            </a:lvl3pPr>
            <a:lvl4pPr marL="808038" indent="-260350">
              <a:buClr>
                <a:schemeClr val="accent3"/>
              </a:buClr>
              <a:defRPr/>
            </a:lvl4pPr>
            <a:lvl5pPr marL="1071563" indent="-252413">
              <a:buClr>
                <a:schemeClr val="accent4"/>
              </a:buClr>
              <a:defRPr/>
            </a:lvl5pPr>
          </a:lstStyle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  <p:sp>
        <p:nvSpPr>
          <p:cNvPr id="7" name="Text Placeholder 10"/>
          <p:cNvSpPr>
            <a:spLocks noGrp="1"/>
          </p:cNvSpPr>
          <p:nvPr>
            <p:ph type="body" sz="quarter" idx="12" hasCustomPrompt="1"/>
          </p:nvPr>
        </p:nvSpPr>
        <p:spPr>
          <a:xfrm>
            <a:off x="687029" y="1277983"/>
            <a:ext cx="8522455" cy="436017"/>
          </a:xfrm>
        </p:spPr>
        <p:txBody>
          <a:bodyPr>
            <a:noAutofit/>
          </a:bodyPr>
          <a:lstStyle>
            <a:lvl1pPr>
              <a:lnSpc>
                <a:spcPts val="1700"/>
              </a:lnSpc>
              <a:defRPr sz="15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US" smtClean="0"/>
              <a:t>Click to edit title</a:t>
            </a:r>
          </a:p>
        </p:txBody>
      </p:sp>
    </p:spTree>
    <p:extLst>
      <p:ext uri="{BB962C8B-B14F-4D97-AF65-F5344CB8AC3E}">
        <p14:creationId xmlns:p14="http://schemas.microsoft.com/office/powerpoint/2010/main" val="317141810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Full Picture Confidenti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0" name="Group 79"/>
          <p:cNvGrpSpPr>
            <a:grpSpLocks noChangeAspect="1"/>
          </p:cNvGrpSpPr>
          <p:nvPr userDrawn="1"/>
        </p:nvGrpSpPr>
        <p:grpSpPr bwMode="gray">
          <a:xfrm>
            <a:off x="0" y="1643199"/>
            <a:ext cx="4801323" cy="3045600"/>
            <a:chOff x="3465513" y="2070100"/>
            <a:chExt cx="5260975" cy="2711450"/>
          </a:xfrm>
        </p:grpSpPr>
        <p:sp>
          <p:nvSpPr>
            <p:cNvPr id="81" name="Freeform 5"/>
            <p:cNvSpPr>
              <a:spLocks/>
            </p:cNvSpPr>
            <p:nvPr userDrawn="1"/>
          </p:nvSpPr>
          <p:spPr bwMode="gray">
            <a:xfrm>
              <a:off x="3465513" y="4095750"/>
              <a:ext cx="5260975" cy="685800"/>
            </a:xfrm>
            <a:custGeom>
              <a:avLst/>
              <a:gdLst>
                <a:gd name="T0" fmla="*/ 0 w 1400"/>
                <a:gd name="T1" fmla="*/ 0 h 182"/>
                <a:gd name="T2" fmla="*/ 0 w 1400"/>
                <a:gd name="T3" fmla="*/ 182 h 182"/>
                <a:gd name="T4" fmla="*/ 1376 w 1400"/>
                <a:gd name="T5" fmla="*/ 182 h 182"/>
                <a:gd name="T6" fmla="*/ 1400 w 1400"/>
                <a:gd name="T7" fmla="*/ 158 h 182"/>
                <a:gd name="T8" fmla="*/ 1400 w 1400"/>
                <a:gd name="T9" fmla="*/ 0 h 182"/>
                <a:gd name="T10" fmla="*/ 0 w 1400"/>
                <a:gd name="T11" fmla="*/ 0 h 1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400" h="182">
                  <a:moveTo>
                    <a:pt x="0" y="0"/>
                  </a:moveTo>
                  <a:cubicBezTo>
                    <a:pt x="0" y="182"/>
                    <a:pt x="0" y="182"/>
                    <a:pt x="0" y="182"/>
                  </a:cubicBezTo>
                  <a:cubicBezTo>
                    <a:pt x="1376" y="182"/>
                    <a:pt x="1376" y="182"/>
                    <a:pt x="1376" y="182"/>
                  </a:cubicBezTo>
                  <a:cubicBezTo>
                    <a:pt x="1376" y="182"/>
                    <a:pt x="1400" y="182"/>
                    <a:pt x="1400" y="158"/>
                  </a:cubicBezTo>
                  <a:cubicBezTo>
                    <a:pt x="1400" y="0"/>
                    <a:pt x="1400" y="0"/>
                    <a:pt x="1400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EAEAEA"/>
            </a:solidFill>
            <a:ln w="9525">
              <a:solidFill>
                <a:srgbClr val="EAEAEA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5" name="Freeform 84"/>
            <p:cNvSpPr>
              <a:spLocks/>
            </p:cNvSpPr>
            <p:nvPr userDrawn="1"/>
          </p:nvSpPr>
          <p:spPr bwMode="gray">
            <a:xfrm>
              <a:off x="3465513" y="2070100"/>
              <a:ext cx="5260975" cy="2025650"/>
            </a:xfrm>
            <a:custGeom>
              <a:avLst/>
              <a:gdLst>
                <a:gd name="T0" fmla="*/ 0 w 1400"/>
                <a:gd name="T1" fmla="*/ 0 h 538"/>
                <a:gd name="T2" fmla="*/ 0 w 1400"/>
                <a:gd name="T3" fmla="*/ 538 h 538"/>
                <a:gd name="T4" fmla="*/ 1400 w 1400"/>
                <a:gd name="T5" fmla="*/ 538 h 538"/>
                <a:gd name="T6" fmla="*/ 1400 w 1400"/>
                <a:gd name="T7" fmla="*/ 24 h 538"/>
                <a:gd name="T8" fmla="*/ 1376 w 1400"/>
                <a:gd name="T9" fmla="*/ 0 h 538"/>
                <a:gd name="T10" fmla="*/ 0 w 1400"/>
                <a:gd name="T11" fmla="*/ 0 h 5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400" h="538">
                  <a:moveTo>
                    <a:pt x="0" y="0"/>
                  </a:moveTo>
                  <a:cubicBezTo>
                    <a:pt x="0" y="538"/>
                    <a:pt x="0" y="538"/>
                    <a:pt x="0" y="538"/>
                  </a:cubicBezTo>
                  <a:cubicBezTo>
                    <a:pt x="1400" y="538"/>
                    <a:pt x="1400" y="538"/>
                    <a:pt x="1400" y="538"/>
                  </a:cubicBezTo>
                  <a:cubicBezTo>
                    <a:pt x="1400" y="24"/>
                    <a:pt x="1400" y="24"/>
                    <a:pt x="1400" y="24"/>
                  </a:cubicBezTo>
                  <a:cubicBezTo>
                    <a:pt x="1400" y="24"/>
                    <a:pt x="1400" y="0"/>
                    <a:pt x="1376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F6200"/>
            </a:solidFill>
            <a:ln w="9525">
              <a:solidFill>
                <a:srgbClr val="FF6200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9" name="Title 1"/>
          <p:cNvSpPr>
            <a:spLocks noGrp="1"/>
          </p:cNvSpPr>
          <p:nvPr>
            <p:ph type="ctrTitle"/>
          </p:nvPr>
        </p:nvSpPr>
        <p:spPr bwMode="gray">
          <a:xfrm>
            <a:off x="684479" y="2012286"/>
            <a:ext cx="3963347" cy="1461600"/>
          </a:xfrm>
        </p:spPr>
        <p:txBody>
          <a:bodyPr anchor="ctr" anchorCtr="0">
            <a:noAutofit/>
          </a:bodyPr>
          <a:lstStyle>
            <a:lvl1pPr algn="l">
              <a:lnSpc>
                <a:spcPts val="3800"/>
              </a:lnSpc>
              <a:defRPr sz="3800">
                <a:solidFill>
                  <a:schemeClr val="bg1"/>
                </a:solidFill>
              </a:defRPr>
            </a:lvl1pPr>
          </a:lstStyle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  <p:sp>
        <p:nvSpPr>
          <p:cNvPr id="10" name="Subtitle 2"/>
          <p:cNvSpPr>
            <a:spLocks noGrp="1"/>
          </p:cNvSpPr>
          <p:nvPr>
            <p:ph type="subTitle" idx="1"/>
          </p:nvPr>
        </p:nvSpPr>
        <p:spPr bwMode="gray">
          <a:xfrm>
            <a:off x="684479" y="4031478"/>
            <a:ext cx="3963347" cy="306798"/>
          </a:xfrm>
        </p:spPr>
        <p:txBody>
          <a:bodyPr anchor="ctr" anchorCtr="0">
            <a:noAutofit/>
          </a:bodyPr>
          <a:lstStyle>
            <a:lvl1pPr marL="0" indent="0" algn="l">
              <a:lnSpc>
                <a:spcPts val="2200"/>
              </a:lnSpc>
              <a:buNone/>
              <a:defRPr sz="1700" b="0" i="0"/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nl-NL" noProof="0" smtClean="0"/>
              <a:t>Klik om de ondertitelstijl van het model te bewerken</a:t>
            </a:r>
            <a:endParaRPr lang="en-GB" noProof="0" dirty="0"/>
          </a:p>
        </p:txBody>
      </p:sp>
      <p:sp>
        <p:nvSpPr>
          <p:cNvPr id="11" name="Text Placeholder 6"/>
          <p:cNvSpPr>
            <a:spLocks noGrp="1"/>
          </p:cNvSpPr>
          <p:nvPr>
            <p:ph type="body" sz="quarter" idx="11"/>
          </p:nvPr>
        </p:nvSpPr>
        <p:spPr bwMode="gray">
          <a:xfrm>
            <a:off x="684479" y="3603486"/>
            <a:ext cx="3963347" cy="290712"/>
          </a:xfrm>
        </p:spPr>
        <p:txBody>
          <a:bodyPr bIns="0">
            <a:noAutofit/>
          </a:bodyPr>
          <a:lstStyle>
            <a:lvl1pPr algn="l">
              <a:lnSpc>
                <a:spcPts val="1700"/>
              </a:lnSpc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noProof="0" smtClean="0"/>
              <a:t>Klik om de modelstijlen te bewerken</a:t>
            </a:r>
          </a:p>
        </p:txBody>
      </p:sp>
      <p:sp>
        <p:nvSpPr>
          <p:cNvPr id="12" name="Rectangle 11"/>
          <p:cNvSpPr/>
          <p:nvPr userDrawn="1"/>
        </p:nvSpPr>
        <p:spPr bwMode="gray">
          <a:xfrm>
            <a:off x="2" y="6024880"/>
            <a:ext cx="9904532" cy="8331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2400"/>
          </a:p>
        </p:txBody>
      </p:sp>
      <p:sp>
        <p:nvSpPr>
          <p:cNvPr id="19" name="Picture Placeholder 2"/>
          <p:cNvSpPr>
            <a:spLocks noGrp="1"/>
          </p:cNvSpPr>
          <p:nvPr>
            <p:ph type="pic" sz="quarter" idx="13" hasCustomPrompt="1"/>
          </p:nvPr>
        </p:nvSpPr>
        <p:spPr>
          <a:xfrm>
            <a:off x="681038" y="6055200"/>
            <a:ext cx="1784250" cy="504000"/>
          </a:xfrm>
        </p:spPr>
        <p:txBody>
          <a:bodyPr lIns="0" anchor="ctr" anchorCtr="0"/>
          <a:lstStyle>
            <a:lvl1pPr algn="l">
              <a:lnSpc>
                <a:spcPct val="100000"/>
              </a:lnSpc>
              <a:defRPr sz="900" b="0"/>
            </a:lvl1pPr>
          </a:lstStyle>
          <a:p>
            <a:r>
              <a:rPr lang="en-GB" dirty="0" smtClean="0"/>
              <a:t>Click to insert project logo</a:t>
            </a:r>
            <a:endParaRPr lang="en-GB" dirty="0"/>
          </a:p>
        </p:txBody>
      </p:sp>
      <p:pic>
        <p:nvPicPr>
          <p:cNvPr id="18" name="Picture 17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428199" y="6203775"/>
            <a:ext cx="1233535" cy="378000"/>
          </a:xfrm>
          <a:prstGeom prst="rect">
            <a:avLst/>
          </a:prstGeom>
        </p:spPr>
      </p:pic>
      <p:cxnSp>
        <p:nvCxnSpPr>
          <p:cNvPr id="17" name="Straight Connector 16"/>
          <p:cNvCxnSpPr/>
          <p:nvPr userDrawn="1"/>
        </p:nvCxnSpPr>
        <p:spPr>
          <a:xfrm>
            <a:off x="2449809" y="6953250"/>
            <a:ext cx="0" cy="36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/>
          <p:cNvCxnSpPr/>
          <p:nvPr userDrawn="1"/>
        </p:nvCxnSpPr>
        <p:spPr>
          <a:xfrm>
            <a:off x="-346674" y="6200775"/>
            <a:ext cx="2925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Box 22"/>
          <p:cNvSpPr txBox="1"/>
          <p:nvPr userDrawn="1"/>
        </p:nvSpPr>
        <p:spPr>
          <a:xfrm>
            <a:off x="980423" y="7019958"/>
            <a:ext cx="1170000" cy="226591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ctr"/>
            <a:r>
              <a:rPr lang="en-GB" sz="1000" smtClean="0"/>
              <a:t>Max.</a:t>
            </a:r>
            <a:r>
              <a:rPr lang="en-GB" sz="1000" baseline="0" smtClean="0"/>
              <a:t> width</a:t>
            </a:r>
            <a:endParaRPr lang="en-GB" sz="1000" smtClean="0"/>
          </a:p>
        </p:txBody>
      </p:sp>
      <p:sp>
        <p:nvSpPr>
          <p:cNvPr id="27" name="TextBox 26"/>
          <p:cNvSpPr txBox="1"/>
          <p:nvPr userDrawn="1"/>
        </p:nvSpPr>
        <p:spPr>
          <a:xfrm>
            <a:off x="-1224174" y="6266695"/>
            <a:ext cx="1170000" cy="226591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r"/>
            <a:r>
              <a:rPr lang="en-GB" sz="1000" smtClean="0"/>
              <a:t>Max.</a:t>
            </a:r>
            <a:r>
              <a:rPr lang="en-GB" sz="1000" baseline="0" smtClean="0"/>
              <a:t> height</a:t>
            </a:r>
            <a:endParaRPr lang="en-GB" sz="1000" smtClean="0"/>
          </a:p>
        </p:txBody>
      </p:sp>
      <p:cxnSp>
        <p:nvCxnSpPr>
          <p:cNvPr id="28" name="Straight Connector 27"/>
          <p:cNvCxnSpPr/>
          <p:nvPr userDrawn="1"/>
        </p:nvCxnSpPr>
        <p:spPr>
          <a:xfrm>
            <a:off x="681038" y="6953250"/>
            <a:ext cx="0" cy="360000"/>
          </a:xfrm>
          <a:prstGeom prst="line">
            <a:avLst/>
          </a:prstGeom>
          <a:ln>
            <a:head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Connector 28"/>
          <p:cNvCxnSpPr/>
          <p:nvPr userDrawn="1"/>
        </p:nvCxnSpPr>
        <p:spPr>
          <a:xfrm>
            <a:off x="-346674" y="6559200"/>
            <a:ext cx="292500" cy="0"/>
          </a:xfrm>
          <a:prstGeom prst="line">
            <a:avLst/>
          </a:prstGeom>
          <a:ln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6" name="Group 55"/>
          <p:cNvGrpSpPr/>
          <p:nvPr userDrawn="1"/>
        </p:nvGrpSpPr>
        <p:grpSpPr bwMode="gray">
          <a:xfrm>
            <a:off x="-1653580" y="0"/>
            <a:ext cx="1521000" cy="4689612"/>
            <a:chOff x="-2581275" y="595116"/>
            <a:chExt cx="1872000" cy="4689612"/>
          </a:xfrm>
        </p:grpSpPr>
        <p:sp>
          <p:nvSpPr>
            <p:cNvPr id="57" name="Rectangle 104"/>
            <p:cNvSpPr>
              <a:spLocks noChangeArrowheads="1"/>
            </p:cNvSpPr>
            <p:nvPr/>
          </p:nvSpPr>
          <p:spPr bwMode="gray">
            <a:xfrm>
              <a:off x="-2581275" y="4276728"/>
              <a:ext cx="1872000" cy="100800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58" name="Rectangle 104"/>
            <p:cNvSpPr>
              <a:spLocks noChangeArrowheads="1"/>
            </p:cNvSpPr>
            <p:nvPr userDrawn="1"/>
          </p:nvSpPr>
          <p:spPr bwMode="gray">
            <a:xfrm>
              <a:off x="-2581275" y="595116"/>
              <a:ext cx="1872000" cy="3672087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59" name="Rectangle 105"/>
            <p:cNvSpPr>
              <a:spLocks noChangeArrowheads="1"/>
            </p:cNvSpPr>
            <p:nvPr userDrawn="1"/>
          </p:nvSpPr>
          <p:spPr bwMode="gray">
            <a:xfrm>
              <a:off x="-2449513" y="1136650"/>
              <a:ext cx="215900" cy="215900"/>
            </a:xfrm>
            <a:prstGeom prst="rect">
              <a:avLst/>
            </a:prstGeom>
            <a:solidFill>
              <a:srgbClr val="FF6200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60" name="Rectangle 106"/>
            <p:cNvSpPr>
              <a:spLocks noChangeArrowheads="1"/>
            </p:cNvSpPr>
            <p:nvPr userDrawn="1"/>
          </p:nvSpPr>
          <p:spPr bwMode="gray">
            <a:xfrm>
              <a:off x="-2159000" y="1146175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Orang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55, 98, 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1" name="Rectangle 107"/>
            <p:cNvSpPr>
              <a:spLocks noChangeArrowheads="1"/>
            </p:cNvSpPr>
            <p:nvPr userDrawn="1"/>
          </p:nvSpPr>
          <p:spPr bwMode="gray">
            <a:xfrm>
              <a:off x="-2449513" y="1571626"/>
              <a:ext cx="215900" cy="215900"/>
            </a:xfrm>
            <a:prstGeom prst="rect">
              <a:avLst/>
            </a:prstGeom>
            <a:solidFill>
              <a:srgbClr val="A8A8A8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62" name="Rectangle 108"/>
            <p:cNvSpPr>
              <a:spLocks noChangeArrowheads="1"/>
            </p:cNvSpPr>
            <p:nvPr userDrawn="1"/>
          </p:nvSpPr>
          <p:spPr bwMode="gray">
            <a:xfrm>
              <a:off x="-2159000" y="15970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ght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68, 168, 16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3" name="Rectangle 109"/>
            <p:cNvSpPr>
              <a:spLocks noChangeArrowheads="1"/>
            </p:cNvSpPr>
            <p:nvPr userDrawn="1"/>
          </p:nvSpPr>
          <p:spPr bwMode="gray">
            <a:xfrm>
              <a:off x="-2449513" y="2058988"/>
              <a:ext cx="215900" cy="215900"/>
            </a:xfrm>
            <a:prstGeom prst="rect">
              <a:avLst/>
            </a:prstGeom>
            <a:solidFill>
              <a:srgbClr val="52519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64" name="Rectangle 110"/>
            <p:cNvSpPr>
              <a:spLocks noChangeArrowheads="1"/>
            </p:cNvSpPr>
            <p:nvPr userDrawn="1"/>
          </p:nvSpPr>
          <p:spPr bwMode="gray">
            <a:xfrm>
              <a:off x="-2159000" y="2068513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Indigo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82, 81, 153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5" name="Rectangle 111"/>
            <p:cNvSpPr>
              <a:spLocks noChangeArrowheads="1"/>
            </p:cNvSpPr>
            <p:nvPr userDrawn="1"/>
          </p:nvSpPr>
          <p:spPr bwMode="gray">
            <a:xfrm>
              <a:off x="-2449513" y="2527301"/>
              <a:ext cx="215900" cy="215900"/>
            </a:xfrm>
            <a:prstGeom prst="rect">
              <a:avLst/>
            </a:prstGeom>
            <a:solidFill>
              <a:srgbClr val="60A6DA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66" name="Rectangle 112"/>
            <p:cNvSpPr>
              <a:spLocks noChangeArrowheads="1"/>
            </p:cNvSpPr>
            <p:nvPr userDrawn="1"/>
          </p:nvSpPr>
          <p:spPr bwMode="gray">
            <a:xfrm>
              <a:off x="-2159000" y="25368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Sk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96, 166, 2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7" name="Rectangle 113"/>
            <p:cNvSpPr>
              <a:spLocks noChangeArrowheads="1"/>
            </p:cNvSpPr>
            <p:nvPr userDrawn="1"/>
          </p:nvSpPr>
          <p:spPr bwMode="gray">
            <a:xfrm>
              <a:off x="-2449513" y="762000"/>
              <a:ext cx="1692000" cy="165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90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200" b="1" smtClean="0">
                  <a:solidFill>
                    <a:srgbClr val="333333"/>
                  </a:solidFill>
                </a:rPr>
                <a:t>Colour Guidelines</a:t>
              </a:r>
              <a:endParaRPr lang="en-GB" altLang="en-US" sz="1200" b="1">
                <a:solidFill>
                  <a:srgbClr val="333333"/>
                </a:solidFill>
              </a:endParaRPr>
            </a:p>
          </p:txBody>
        </p:sp>
        <p:sp>
          <p:nvSpPr>
            <p:cNvPr id="68" name="Rectangle 107"/>
            <p:cNvSpPr>
              <a:spLocks noChangeArrowheads="1"/>
            </p:cNvSpPr>
            <p:nvPr/>
          </p:nvSpPr>
          <p:spPr bwMode="gray">
            <a:xfrm>
              <a:off x="-2449513" y="2962277"/>
              <a:ext cx="215900" cy="215900"/>
            </a:xfrm>
            <a:prstGeom prst="rect">
              <a:avLst/>
            </a:prstGeom>
            <a:solidFill>
              <a:srgbClr val="AB006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69" name="Rectangle 108"/>
            <p:cNvSpPr>
              <a:spLocks noChangeArrowheads="1"/>
            </p:cNvSpPr>
            <p:nvPr/>
          </p:nvSpPr>
          <p:spPr bwMode="gray">
            <a:xfrm>
              <a:off x="-2159000" y="29876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Fuchsia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71, 0, 102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70" name="Rectangle 109"/>
            <p:cNvSpPr>
              <a:spLocks noChangeArrowheads="1"/>
            </p:cNvSpPr>
            <p:nvPr/>
          </p:nvSpPr>
          <p:spPr bwMode="gray">
            <a:xfrm>
              <a:off x="-2449513" y="3449639"/>
              <a:ext cx="215900" cy="215900"/>
            </a:xfrm>
            <a:prstGeom prst="rect">
              <a:avLst/>
            </a:prstGeom>
            <a:solidFill>
              <a:srgbClr val="D0D93C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71" name="Rectangle 110"/>
            <p:cNvSpPr>
              <a:spLocks noChangeArrowheads="1"/>
            </p:cNvSpPr>
            <p:nvPr/>
          </p:nvSpPr>
          <p:spPr bwMode="gray">
            <a:xfrm>
              <a:off x="-2159000" y="3459164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m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08, 217, 6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72" name="Rectangle 111"/>
            <p:cNvSpPr>
              <a:spLocks noChangeArrowheads="1"/>
            </p:cNvSpPr>
            <p:nvPr/>
          </p:nvSpPr>
          <p:spPr bwMode="gray">
            <a:xfrm>
              <a:off x="-2449513" y="3917952"/>
              <a:ext cx="215900" cy="215900"/>
            </a:xfrm>
            <a:prstGeom prst="rect">
              <a:avLst/>
            </a:prstGeom>
            <a:solidFill>
              <a:srgbClr val="01964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73" name="Rectangle 112"/>
            <p:cNvSpPr>
              <a:spLocks noChangeArrowheads="1"/>
            </p:cNvSpPr>
            <p:nvPr/>
          </p:nvSpPr>
          <p:spPr bwMode="gray">
            <a:xfrm>
              <a:off x="-2159000" y="39274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eaf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2, 150, 8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74" name="Rectangle 109"/>
            <p:cNvSpPr>
              <a:spLocks noChangeArrowheads="1"/>
            </p:cNvSpPr>
            <p:nvPr/>
          </p:nvSpPr>
          <p:spPr bwMode="gray">
            <a:xfrm>
              <a:off x="-2449513" y="4405314"/>
              <a:ext cx="215900" cy="215900"/>
            </a:xfrm>
            <a:prstGeom prst="rect">
              <a:avLst/>
            </a:prstGeom>
            <a:solidFill>
              <a:srgbClr val="76767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75" name="Rectangle 110"/>
            <p:cNvSpPr>
              <a:spLocks noChangeArrowheads="1"/>
            </p:cNvSpPr>
            <p:nvPr/>
          </p:nvSpPr>
          <p:spPr bwMode="gray">
            <a:xfrm>
              <a:off x="-2159000" y="4414839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Mid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18, 118, 1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76" name="Rectangle 111"/>
            <p:cNvSpPr>
              <a:spLocks noChangeArrowheads="1"/>
            </p:cNvSpPr>
            <p:nvPr/>
          </p:nvSpPr>
          <p:spPr bwMode="gray">
            <a:xfrm>
              <a:off x="-2449513" y="4873627"/>
              <a:ext cx="215900" cy="215900"/>
            </a:xfrm>
            <a:prstGeom prst="rect">
              <a:avLst/>
            </a:prstGeom>
            <a:solidFill>
              <a:srgbClr val="333333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77" name="Rectangle 112"/>
            <p:cNvSpPr>
              <a:spLocks noChangeArrowheads="1"/>
            </p:cNvSpPr>
            <p:nvPr/>
          </p:nvSpPr>
          <p:spPr bwMode="gray">
            <a:xfrm>
              <a:off x="-2159000" y="4883152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Text Colour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1, 51, 5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</p:grpSp>
      <p:pic>
        <p:nvPicPr>
          <p:cNvPr id="44" name="Picture 43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-1466554" y="4402733"/>
            <a:ext cx="125761" cy="138908"/>
          </a:xfrm>
          <a:prstGeom prst="rect">
            <a:avLst/>
          </a:prstGeom>
        </p:spPr>
      </p:pic>
      <p:sp>
        <p:nvSpPr>
          <p:cNvPr id="46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684478" y="4381898"/>
            <a:ext cx="3963375" cy="216000"/>
          </a:xfrm>
        </p:spPr>
        <p:txBody>
          <a:bodyPr tIns="0" bIns="0"/>
          <a:lstStyle>
            <a:lvl1pPr marL="0" indent="0" algn="l">
              <a:lnSpc>
                <a:spcPts val="1350"/>
              </a:lnSpc>
              <a:buNone/>
              <a:defRPr sz="1350">
                <a:solidFill>
                  <a:srgbClr val="000000"/>
                </a:solidFill>
                <a:latin typeface="+mn-lt"/>
              </a:defRPr>
            </a:lvl1pPr>
            <a:lvl2pPr>
              <a:defRPr sz="2200">
                <a:solidFill>
                  <a:srgbClr val="000000"/>
                </a:solidFill>
              </a:defRPr>
            </a:lvl2pPr>
            <a:lvl3pPr>
              <a:defRPr sz="2200">
                <a:solidFill>
                  <a:srgbClr val="000000"/>
                </a:solidFill>
              </a:defRPr>
            </a:lvl3pPr>
            <a:lvl4pPr>
              <a:defRPr sz="2200">
                <a:solidFill>
                  <a:srgbClr val="000000"/>
                </a:solidFill>
              </a:defRPr>
            </a:lvl4pPr>
            <a:lvl5pPr>
              <a:defRPr sz="2200">
                <a:solidFill>
                  <a:srgbClr val="000000"/>
                </a:solidFill>
              </a:defRPr>
            </a:lvl5pPr>
          </a:lstStyle>
          <a:p>
            <a:pPr lvl="0"/>
            <a:r>
              <a:rPr lang="en-GB" noProof="0" dirty="0" smtClean="0"/>
              <a:t>Click to edit location and date</a:t>
            </a:r>
          </a:p>
        </p:txBody>
      </p:sp>
      <p:grpSp>
        <p:nvGrpSpPr>
          <p:cNvPr id="45" name="Group 44"/>
          <p:cNvGrpSpPr/>
          <p:nvPr userDrawn="1"/>
        </p:nvGrpSpPr>
        <p:grpSpPr>
          <a:xfrm>
            <a:off x="8733700" y="-133099"/>
            <a:ext cx="1170834" cy="1565166"/>
            <a:chOff x="5364088" y="4720073"/>
            <a:chExt cx="1441027" cy="1565166"/>
          </a:xfrm>
        </p:grpSpPr>
        <p:sp>
          <p:nvSpPr>
            <p:cNvPr id="47" name="Freeform 5"/>
            <p:cNvSpPr>
              <a:spLocks/>
            </p:cNvSpPr>
            <p:nvPr/>
          </p:nvSpPr>
          <p:spPr bwMode="gray">
            <a:xfrm>
              <a:off x="5364088" y="4844212"/>
              <a:ext cx="1441027" cy="1441027"/>
            </a:xfrm>
            <a:custGeom>
              <a:avLst/>
              <a:gdLst>
                <a:gd name="T0" fmla="*/ 0 w 810"/>
                <a:gd name="T1" fmla="*/ 0 h 810"/>
                <a:gd name="T2" fmla="*/ 810 w 810"/>
                <a:gd name="T3" fmla="*/ 810 h 810"/>
                <a:gd name="T4" fmla="*/ 810 w 810"/>
                <a:gd name="T5" fmla="*/ 536 h 810"/>
                <a:gd name="T6" fmla="*/ 274 w 810"/>
                <a:gd name="T7" fmla="*/ 0 h 810"/>
                <a:gd name="T8" fmla="*/ 0 w 810"/>
                <a:gd name="T9" fmla="*/ 0 h 8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10" h="810">
                  <a:moveTo>
                    <a:pt x="0" y="0"/>
                  </a:moveTo>
                  <a:lnTo>
                    <a:pt x="810" y="810"/>
                  </a:lnTo>
                  <a:lnTo>
                    <a:pt x="810" y="536"/>
                  </a:lnTo>
                  <a:lnTo>
                    <a:pt x="274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17A7DC"/>
            </a:solidFill>
            <a:ln w="3175">
              <a:solidFill>
                <a:srgbClr val="17A7DC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/>
            </a:p>
          </p:txBody>
        </p:sp>
        <p:sp>
          <p:nvSpPr>
            <p:cNvPr id="48" name="Title 14"/>
            <p:cNvSpPr txBox="1">
              <a:spLocks/>
            </p:cNvSpPr>
            <p:nvPr userDrawn="1"/>
          </p:nvSpPr>
          <p:spPr bwMode="gray">
            <a:xfrm rot="2700000">
              <a:off x="5481455" y="5320862"/>
              <a:ext cx="1447800" cy="246221"/>
            </a:xfrm>
            <a:prstGeom prst="rect">
              <a:avLst/>
            </a:prstGeom>
          </p:spPr>
          <p:txBody>
            <a:bodyPr vert="horz" wrap="none" lIns="0" tIns="0" rIns="0" bIns="0" rtlCol="0" anchor="ctr" anchorCtr="0">
              <a:noAutofit/>
            </a:bodyPr>
            <a:lstStyle>
              <a:lvl1pPr algn="l" defTabSz="914400" rtl="0" eaLnBrk="1" latinLnBrk="0" hangingPunct="1">
                <a:lnSpc>
                  <a:spcPts val="4600"/>
                </a:lnSpc>
                <a:spcBef>
                  <a:spcPct val="0"/>
                </a:spcBef>
                <a:buNone/>
                <a:defRPr sz="4400" b="1" kern="1200" baseline="0">
                  <a:solidFill>
                    <a:schemeClr val="bg1"/>
                  </a:solidFill>
                  <a:latin typeface="+mj-lt"/>
                  <a:ea typeface="+mj-ea"/>
                  <a:cs typeface="Arial" panose="020B0604020202020204" pitchFamily="34" charset="0"/>
                </a:defRPr>
              </a:lvl1pPr>
            </a:lstStyle>
            <a:p>
              <a:pPr algn="ctr">
                <a:lnSpc>
                  <a:spcPct val="100000"/>
                </a:lnSpc>
              </a:pPr>
              <a:r>
                <a:rPr lang="en-US" sz="1600" smtClean="0"/>
                <a:t>Confidential</a:t>
              </a:r>
              <a:endParaRPr lang="en-GB" sz="1600" dirty="0"/>
            </a:p>
          </p:txBody>
        </p:sp>
      </p:grpSp>
      <p:sp>
        <p:nvSpPr>
          <p:cNvPr id="54" name="Picture Placeholder 53"/>
          <p:cNvSpPr>
            <a:spLocks noGrp="1"/>
          </p:cNvSpPr>
          <p:nvPr>
            <p:ph type="pic" sz="quarter" idx="12"/>
          </p:nvPr>
        </p:nvSpPr>
        <p:spPr bwMode="gray">
          <a:xfrm>
            <a:off x="-2579" y="4"/>
            <a:ext cx="9908580" cy="6024879"/>
          </a:xfrm>
          <a:custGeom>
            <a:avLst/>
            <a:gdLst>
              <a:gd name="connsiteX0" fmla="*/ 11239226 w 12195175"/>
              <a:gd name="connsiteY0" fmla="*/ 0 h 6024879"/>
              <a:gd name="connsiteX1" fmla="*/ 12195175 w 12195175"/>
              <a:gd name="connsiteY1" fmla="*/ 0 h 6024879"/>
              <a:gd name="connsiteX2" fmla="*/ 12195175 w 12195175"/>
              <a:gd name="connsiteY2" fmla="*/ 955949 h 6024879"/>
              <a:gd name="connsiteX3" fmla="*/ 0 w 12195175"/>
              <a:gd name="connsiteY3" fmla="*/ 0 h 6024879"/>
              <a:gd name="connsiteX4" fmla="*/ 10750550 w 12195175"/>
              <a:gd name="connsiteY4" fmla="*/ 0 h 6024879"/>
              <a:gd name="connsiteX5" fmla="*/ 12195175 w 12195175"/>
              <a:gd name="connsiteY5" fmla="*/ 1444625 h 6024879"/>
              <a:gd name="connsiteX6" fmla="*/ 12195175 w 12195175"/>
              <a:gd name="connsiteY6" fmla="*/ 6024879 h 6024879"/>
              <a:gd name="connsiteX7" fmla="*/ 0 w 12195175"/>
              <a:gd name="connsiteY7" fmla="*/ 6024879 h 6024879"/>
              <a:gd name="connsiteX8" fmla="*/ 0 w 12195175"/>
              <a:gd name="connsiteY8" fmla="*/ 4688798 h 6024879"/>
              <a:gd name="connsiteX9" fmla="*/ 3176 w 12195175"/>
              <a:gd name="connsiteY9" fmla="*/ 4688798 h 6024879"/>
              <a:gd name="connsiteX10" fmla="*/ 61412 w 12195175"/>
              <a:gd name="connsiteY10" fmla="*/ 4688798 h 6024879"/>
              <a:gd name="connsiteX11" fmla="*/ 530839 w 12195175"/>
              <a:gd name="connsiteY11" fmla="*/ 4688798 h 6024879"/>
              <a:gd name="connsiteX12" fmla="*/ 5811194 w 12195175"/>
              <a:gd name="connsiteY12" fmla="*/ 4688798 h 6024879"/>
              <a:gd name="connsiteX13" fmla="*/ 5912496 w 12195175"/>
              <a:gd name="connsiteY13" fmla="*/ 4587218 h 6024879"/>
              <a:gd name="connsiteX14" fmla="*/ 5912496 w 12195175"/>
              <a:gd name="connsiteY14" fmla="*/ 3918482 h 6024879"/>
              <a:gd name="connsiteX15" fmla="*/ 5912496 w 12195175"/>
              <a:gd name="connsiteY15" fmla="*/ 1744697 h 6024879"/>
              <a:gd name="connsiteX16" fmla="*/ 5811194 w 12195175"/>
              <a:gd name="connsiteY16" fmla="*/ 1643198 h 6024879"/>
              <a:gd name="connsiteX17" fmla="*/ 61412 w 12195175"/>
              <a:gd name="connsiteY17" fmla="*/ 1643198 h 6024879"/>
              <a:gd name="connsiteX18" fmla="*/ 3176 w 12195175"/>
              <a:gd name="connsiteY18" fmla="*/ 1643198 h 6024879"/>
              <a:gd name="connsiteX19" fmla="*/ 0 w 12195175"/>
              <a:gd name="connsiteY19" fmla="*/ 1643198 h 60248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12195175" h="6024879">
                <a:moveTo>
                  <a:pt x="11239226" y="0"/>
                </a:moveTo>
                <a:lnTo>
                  <a:pt x="12195175" y="0"/>
                </a:lnTo>
                <a:lnTo>
                  <a:pt x="12195175" y="955949"/>
                </a:lnTo>
                <a:close/>
                <a:moveTo>
                  <a:pt x="0" y="0"/>
                </a:moveTo>
                <a:lnTo>
                  <a:pt x="10750550" y="0"/>
                </a:lnTo>
                <a:lnTo>
                  <a:pt x="12195175" y="1444625"/>
                </a:lnTo>
                <a:lnTo>
                  <a:pt x="12195175" y="6024879"/>
                </a:lnTo>
                <a:lnTo>
                  <a:pt x="0" y="6024879"/>
                </a:lnTo>
                <a:lnTo>
                  <a:pt x="0" y="4688798"/>
                </a:lnTo>
                <a:lnTo>
                  <a:pt x="3176" y="4688798"/>
                </a:lnTo>
                <a:lnTo>
                  <a:pt x="61412" y="4688798"/>
                </a:lnTo>
                <a:lnTo>
                  <a:pt x="530839" y="4688798"/>
                </a:lnTo>
                <a:cubicBezTo>
                  <a:pt x="5811194" y="4688798"/>
                  <a:pt x="5811194" y="4688798"/>
                  <a:pt x="5811194" y="4688798"/>
                </a:cubicBezTo>
                <a:cubicBezTo>
                  <a:pt x="5811194" y="4688798"/>
                  <a:pt x="5912496" y="4688798"/>
                  <a:pt x="5912496" y="4587218"/>
                </a:cubicBezTo>
                <a:cubicBezTo>
                  <a:pt x="5912496" y="3918482"/>
                  <a:pt x="5912496" y="3918482"/>
                  <a:pt x="5912496" y="3918482"/>
                </a:cubicBezTo>
                <a:cubicBezTo>
                  <a:pt x="5912496" y="1744697"/>
                  <a:pt x="5912496" y="1744697"/>
                  <a:pt x="5912496" y="1744697"/>
                </a:cubicBezTo>
                <a:cubicBezTo>
                  <a:pt x="5912496" y="1744697"/>
                  <a:pt x="5912496" y="1643198"/>
                  <a:pt x="5811194" y="1643198"/>
                </a:cubicBezTo>
                <a:lnTo>
                  <a:pt x="61412" y="1643198"/>
                </a:lnTo>
                <a:lnTo>
                  <a:pt x="3176" y="1643198"/>
                </a:lnTo>
                <a:lnTo>
                  <a:pt x="0" y="1643198"/>
                </a:lnTo>
                <a:close/>
              </a:path>
            </a:pathLst>
          </a:custGeom>
          <a:solidFill>
            <a:srgbClr val="E9E9E9">
              <a:alpha val="10000"/>
            </a:srgbClr>
          </a:solidFill>
        </p:spPr>
        <p:txBody>
          <a:bodyPr wrap="square" lIns="2880000" tIns="0" anchor="ctr" anchorCtr="0">
            <a:noAutofit/>
          </a:bodyPr>
          <a:lstStyle>
            <a:lvl1pPr algn="ctr">
              <a:defRPr sz="1400" b="0"/>
            </a:lvl1pPr>
          </a:lstStyle>
          <a:p>
            <a:r>
              <a:rPr lang="nl-NL" smtClean="0"/>
              <a:t>Klik op het pictogram als u een afbeelding wilt toevoege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54550112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1" orient="horz" pos="4135" userDrawn="1">
          <p15:clr>
            <a:srgbClr val="FBAE40"/>
          </p15:clr>
        </p15:guide>
      </p15:sldGuideLst>
    </p:ext>
  </p:extLst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 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2"/>
          <p:cNvSpPr>
            <a:spLocks noGrp="1"/>
          </p:cNvSpPr>
          <p:nvPr>
            <p:ph idx="1"/>
          </p:nvPr>
        </p:nvSpPr>
        <p:spPr bwMode="gray">
          <a:xfrm>
            <a:off x="687030" y="1278385"/>
            <a:ext cx="8522455" cy="492239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268288" indent="-268288">
              <a:buClr>
                <a:schemeClr val="accent1"/>
              </a:buClr>
              <a:buFont typeface="ING Me" pitchFamily="2" charset="0"/>
              <a:buChar char="•"/>
              <a:defRPr/>
            </a:lvl1pPr>
            <a:lvl2pPr marL="538163" indent="-268288">
              <a:buClr>
                <a:schemeClr val="accent2"/>
              </a:buClr>
              <a:buFont typeface="ING Me" pitchFamily="2" charset="0"/>
              <a:buChar char="•"/>
              <a:defRPr/>
            </a:lvl2pPr>
            <a:lvl3pPr marL="804863" indent="-266700">
              <a:buClr>
                <a:schemeClr val="accent3"/>
              </a:buClr>
              <a:defRPr/>
            </a:lvl3pPr>
            <a:lvl4pPr marL="1077913" indent="-260350">
              <a:buClr>
                <a:schemeClr val="accent4"/>
              </a:buClr>
              <a:defRPr/>
            </a:lvl4pPr>
            <a:lvl5pPr marL="1341438" indent="-252413">
              <a:buClr>
                <a:schemeClr val="accent5"/>
              </a:buClr>
              <a:defRPr/>
            </a:lvl5pPr>
          </a:lstStyle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4287637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Content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2"/>
          <p:cNvSpPr>
            <a:spLocks noGrp="1"/>
          </p:cNvSpPr>
          <p:nvPr>
            <p:ph idx="1"/>
          </p:nvPr>
        </p:nvSpPr>
        <p:spPr bwMode="gray">
          <a:xfrm>
            <a:off x="687030" y="1278385"/>
            <a:ext cx="8522455" cy="492239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3135703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Full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6" name="Group 65"/>
          <p:cNvGrpSpPr>
            <a:grpSpLocks noChangeAspect="1"/>
          </p:cNvGrpSpPr>
          <p:nvPr userDrawn="1"/>
        </p:nvGrpSpPr>
        <p:grpSpPr bwMode="gray">
          <a:xfrm>
            <a:off x="0" y="1643199"/>
            <a:ext cx="4801323" cy="3045600"/>
            <a:chOff x="3465513" y="2070100"/>
            <a:chExt cx="5260975" cy="2711450"/>
          </a:xfrm>
        </p:grpSpPr>
        <p:sp>
          <p:nvSpPr>
            <p:cNvPr id="67" name="Freeform 5"/>
            <p:cNvSpPr>
              <a:spLocks/>
            </p:cNvSpPr>
            <p:nvPr userDrawn="1"/>
          </p:nvSpPr>
          <p:spPr bwMode="gray">
            <a:xfrm>
              <a:off x="3465513" y="4095750"/>
              <a:ext cx="5260975" cy="685800"/>
            </a:xfrm>
            <a:custGeom>
              <a:avLst/>
              <a:gdLst>
                <a:gd name="T0" fmla="*/ 0 w 1400"/>
                <a:gd name="T1" fmla="*/ 0 h 182"/>
                <a:gd name="T2" fmla="*/ 0 w 1400"/>
                <a:gd name="T3" fmla="*/ 182 h 182"/>
                <a:gd name="T4" fmla="*/ 1376 w 1400"/>
                <a:gd name="T5" fmla="*/ 182 h 182"/>
                <a:gd name="T6" fmla="*/ 1400 w 1400"/>
                <a:gd name="T7" fmla="*/ 158 h 182"/>
                <a:gd name="T8" fmla="*/ 1400 w 1400"/>
                <a:gd name="T9" fmla="*/ 0 h 182"/>
                <a:gd name="T10" fmla="*/ 0 w 1400"/>
                <a:gd name="T11" fmla="*/ 0 h 1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400" h="182">
                  <a:moveTo>
                    <a:pt x="0" y="0"/>
                  </a:moveTo>
                  <a:cubicBezTo>
                    <a:pt x="0" y="182"/>
                    <a:pt x="0" y="182"/>
                    <a:pt x="0" y="182"/>
                  </a:cubicBezTo>
                  <a:cubicBezTo>
                    <a:pt x="1376" y="182"/>
                    <a:pt x="1376" y="182"/>
                    <a:pt x="1376" y="182"/>
                  </a:cubicBezTo>
                  <a:cubicBezTo>
                    <a:pt x="1376" y="182"/>
                    <a:pt x="1400" y="182"/>
                    <a:pt x="1400" y="158"/>
                  </a:cubicBezTo>
                  <a:cubicBezTo>
                    <a:pt x="1400" y="0"/>
                    <a:pt x="1400" y="0"/>
                    <a:pt x="1400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EAEAEA"/>
            </a:solidFill>
            <a:ln w="9525">
              <a:solidFill>
                <a:srgbClr val="EAEAEA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333333"/>
                </a:solidFill>
              </a:endParaRPr>
            </a:p>
          </p:txBody>
        </p:sp>
        <p:sp>
          <p:nvSpPr>
            <p:cNvPr id="68" name="Freeform 67"/>
            <p:cNvSpPr>
              <a:spLocks/>
            </p:cNvSpPr>
            <p:nvPr userDrawn="1"/>
          </p:nvSpPr>
          <p:spPr bwMode="gray">
            <a:xfrm>
              <a:off x="3465513" y="2070100"/>
              <a:ext cx="5260975" cy="2025650"/>
            </a:xfrm>
            <a:custGeom>
              <a:avLst/>
              <a:gdLst>
                <a:gd name="T0" fmla="*/ 0 w 1400"/>
                <a:gd name="T1" fmla="*/ 0 h 538"/>
                <a:gd name="T2" fmla="*/ 0 w 1400"/>
                <a:gd name="T3" fmla="*/ 538 h 538"/>
                <a:gd name="T4" fmla="*/ 1400 w 1400"/>
                <a:gd name="T5" fmla="*/ 538 h 538"/>
                <a:gd name="T6" fmla="*/ 1400 w 1400"/>
                <a:gd name="T7" fmla="*/ 24 h 538"/>
                <a:gd name="T8" fmla="*/ 1376 w 1400"/>
                <a:gd name="T9" fmla="*/ 0 h 538"/>
                <a:gd name="T10" fmla="*/ 0 w 1400"/>
                <a:gd name="T11" fmla="*/ 0 h 5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400" h="538">
                  <a:moveTo>
                    <a:pt x="0" y="0"/>
                  </a:moveTo>
                  <a:cubicBezTo>
                    <a:pt x="0" y="538"/>
                    <a:pt x="0" y="538"/>
                    <a:pt x="0" y="538"/>
                  </a:cubicBezTo>
                  <a:cubicBezTo>
                    <a:pt x="1400" y="538"/>
                    <a:pt x="1400" y="538"/>
                    <a:pt x="1400" y="538"/>
                  </a:cubicBezTo>
                  <a:cubicBezTo>
                    <a:pt x="1400" y="24"/>
                    <a:pt x="1400" y="24"/>
                    <a:pt x="1400" y="24"/>
                  </a:cubicBezTo>
                  <a:cubicBezTo>
                    <a:pt x="1400" y="24"/>
                    <a:pt x="1400" y="0"/>
                    <a:pt x="1376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F6200"/>
            </a:solidFill>
            <a:ln w="9525">
              <a:solidFill>
                <a:srgbClr val="FF6200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333333"/>
                </a:solidFill>
              </a:endParaRPr>
            </a:p>
          </p:txBody>
        </p:sp>
      </p:grpSp>
      <p:sp>
        <p:nvSpPr>
          <p:cNvPr id="65" name="Picture Placeholder 64"/>
          <p:cNvSpPr>
            <a:spLocks noGrp="1"/>
          </p:cNvSpPr>
          <p:nvPr>
            <p:ph type="pic" sz="quarter" idx="12"/>
          </p:nvPr>
        </p:nvSpPr>
        <p:spPr bwMode="gray">
          <a:xfrm>
            <a:off x="-2580" y="2"/>
            <a:ext cx="9908580" cy="6024879"/>
          </a:xfrm>
          <a:custGeom>
            <a:avLst/>
            <a:gdLst>
              <a:gd name="connsiteX0" fmla="*/ 0 w 12195175"/>
              <a:gd name="connsiteY0" fmla="*/ 0 h 6024879"/>
              <a:gd name="connsiteX1" fmla="*/ 12195175 w 12195175"/>
              <a:gd name="connsiteY1" fmla="*/ 0 h 6024879"/>
              <a:gd name="connsiteX2" fmla="*/ 12195175 w 12195175"/>
              <a:gd name="connsiteY2" fmla="*/ 6024879 h 6024879"/>
              <a:gd name="connsiteX3" fmla="*/ 0 w 12195175"/>
              <a:gd name="connsiteY3" fmla="*/ 6024879 h 6024879"/>
              <a:gd name="connsiteX4" fmla="*/ 0 w 12195175"/>
              <a:gd name="connsiteY4" fmla="*/ 4688798 h 6024879"/>
              <a:gd name="connsiteX5" fmla="*/ 3176 w 12195175"/>
              <a:gd name="connsiteY5" fmla="*/ 4688798 h 6024879"/>
              <a:gd name="connsiteX6" fmla="*/ 61412 w 12195175"/>
              <a:gd name="connsiteY6" fmla="*/ 4688798 h 6024879"/>
              <a:gd name="connsiteX7" fmla="*/ 530839 w 12195175"/>
              <a:gd name="connsiteY7" fmla="*/ 4688798 h 6024879"/>
              <a:gd name="connsiteX8" fmla="*/ 5811194 w 12195175"/>
              <a:gd name="connsiteY8" fmla="*/ 4688798 h 6024879"/>
              <a:gd name="connsiteX9" fmla="*/ 5912496 w 12195175"/>
              <a:gd name="connsiteY9" fmla="*/ 4587218 h 6024879"/>
              <a:gd name="connsiteX10" fmla="*/ 5912496 w 12195175"/>
              <a:gd name="connsiteY10" fmla="*/ 3918482 h 6024879"/>
              <a:gd name="connsiteX11" fmla="*/ 5912496 w 12195175"/>
              <a:gd name="connsiteY11" fmla="*/ 1744697 h 6024879"/>
              <a:gd name="connsiteX12" fmla="*/ 5811194 w 12195175"/>
              <a:gd name="connsiteY12" fmla="*/ 1643198 h 6024879"/>
              <a:gd name="connsiteX13" fmla="*/ 61412 w 12195175"/>
              <a:gd name="connsiteY13" fmla="*/ 1643198 h 6024879"/>
              <a:gd name="connsiteX14" fmla="*/ 3176 w 12195175"/>
              <a:gd name="connsiteY14" fmla="*/ 1643198 h 6024879"/>
              <a:gd name="connsiteX15" fmla="*/ 0 w 12195175"/>
              <a:gd name="connsiteY15" fmla="*/ 1643198 h 60248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2195175" h="6024879">
                <a:moveTo>
                  <a:pt x="0" y="0"/>
                </a:moveTo>
                <a:lnTo>
                  <a:pt x="12195175" y="0"/>
                </a:lnTo>
                <a:lnTo>
                  <a:pt x="12195175" y="6024879"/>
                </a:lnTo>
                <a:lnTo>
                  <a:pt x="0" y="6024879"/>
                </a:lnTo>
                <a:lnTo>
                  <a:pt x="0" y="4688798"/>
                </a:lnTo>
                <a:lnTo>
                  <a:pt x="3176" y="4688798"/>
                </a:lnTo>
                <a:lnTo>
                  <a:pt x="61412" y="4688798"/>
                </a:lnTo>
                <a:lnTo>
                  <a:pt x="530839" y="4688798"/>
                </a:lnTo>
                <a:cubicBezTo>
                  <a:pt x="5811194" y="4688798"/>
                  <a:pt x="5811194" y="4688798"/>
                  <a:pt x="5811194" y="4688798"/>
                </a:cubicBezTo>
                <a:cubicBezTo>
                  <a:pt x="5811194" y="4688798"/>
                  <a:pt x="5912496" y="4688798"/>
                  <a:pt x="5912496" y="4587218"/>
                </a:cubicBezTo>
                <a:cubicBezTo>
                  <a:pt x="5912496" y="3918482"/>
                  <a:pt x="5912496" y="3918482"/>
                  <a:pt x="5912496" y="3918482"/>
                </a:cubicBezTo>
                <a:cubicBezTo>
                  <a:pt x="5912496" y="1744697"/>
                  <a:pt x="5912496" y="1744697"/>
                  <a:pt x="5912496" y="1744697"/>
                </a:cubicBezTo>
                <a:cubicBezTo>
                  <a:pt x="5912496" y="1744697"/>
                  <a:pt x="5912496" y="1643198"/>
                  <a:pt x="5811194" y="1643198"/>
                </a:cubicBezTo>
                <a:lnTo>
                  <a:pt x="61412" y="1643198"/>
                </a:lnTo>
                <a:lnTo>
                  <a:pt x="3176" y="1643198"/>
                </a:lnTo>
                <a:lnTo>
                  <a:pt x="0" y="1643198"/>
                </a:lnTo>
                <a:close/>
              </a:path>
            </a:pathLst>
          </a:custGeom>
          <a:solidFill>
            <a:srgbClr val="E9E9E9">
              <a:alpha val="10000"/>
            </a:srgbClr>
          </a:solidFill>
        </p:spPr>
        <p:txBody>
          <a:bodyPr wrap="square" lIns="2880000" tIns="0" anchor="ctr" anchorCtr="0">
            <a:noAutofit/>
          </a:bodyPr>
          <a:lstStyle>
            <a:lvl1pPr algn="ctr">
              <a:defRPr sz="1400" b="0"/>
            </a:lvl1pPr>
          </a:lstStyle>
          <a:p>
            <a:r>
              <a:rPr lang="nl-NL" smtClean="0"/>
              <a:t>Klik op het pictogram als u een afbeelding wilt toevoegen</a:t>
            </a:r>
            <a:endParaRPr lang="en-GB"/>
          </a:p>
        </p:txBody>
      </p:sp>
      <p:sp>
        <p:nvSpPr>
          <p:cNvPr id="9" name="Title 1"/>
          <p:cNvSpPr>
            <a:spLocks noGrp="1"/>
          </p:cNvSpPr>
          <p:nvPr>
            <p:ph type="ctrTitle"/>
          </p:nvPr>
        </p:nvSpPr>
        <p:spPr bwMode="gray">
          <a:xfrm>
            <a:off x="684478" y="2012286"/>
            <a:ext cx="3963347" cy="1461600"/>
          </a:xfrm>
        </p:spPr>
        <p:txBody>
          <a:bodyPr anchor="ctr" anchorCtr="0">
            <a:noAutofit/>
          </a:bodyPr>
          <a:lstStyle>
            <a:lvl1pPr algn="l">
              <a:lnSpc>
                <a:spcPts val="3800"/>
              </a:lnSpc>
              <a:defRPr sz="3800">
                <a:solidFill>
                  <a:schemeClr val="bg1"/>
                </a:solidFill>
              </a:defRPr>
            </a:lvl1pPr>
          </a:lstStyle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  <p:sp>
        <p:nvSpPr>
          <p:cNvPr id="10" name="Subtitle 2"/>
          <p:cNvSpPr>
            <a:spLocks noGrp="1"/>
          </p:cNvSpPr>
          <p:nvPr>
            <p:ph type="subTitle" idx="1"/>
          </p:nvPr>
        </p:nvSpPr>
        <p:spPr bwMode="gray">
          <a:xfrm>
            <a:off x="684478" y="4031478"/>
            <a:ext cx="3963347" cy="306798"/>
          </a:xfrm>
        </p:spPr>
        <p:txBody>
          <a:bodyPr anchor="ctr" anchorCtr="0">
            <a:noAutofit/>
          </a:bodyPr>
          <a:lstStyle>
            <a:lvl1pPr marL="0" indent="0" algn="l">
              <a:lnSpc>
                <a:spcPts val="2200"/>
              </a:lnSpc>
              <a:buNone/>
              <a:defRPr sz="1700" b="0" i="0"/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nl-NL" noProof="0" smtClean="0"/>
              <a:t>Klik om de ondertitelstijl van het model te bewerken</a:t>
            </a:r>
            <a:endParaRPr lang="en-GB" noProof="0" dirty="0"/>
          </a:p>
        </p:txBody>
      </p:sp>
      <p:sp>
        <p:nvSpPr>
          <p:cNvPr id="11" name="Text Placeholder 6"/>
          <p:cNvSpPr>
            <a:spLocks noGrp="1"/>
          </p:cNvSpPr>
          <p:nvPr>
            <p:ph type="body" sz="quarter" idx="11"/>
          </p:nvPr>
        </p:nvSpPr>
        <p:spPr bwMode="gray">
          <a:xfrm>
            <a:off x="684478" y="3603486"/>
            <a:ext cx="3963347" cy="290712"/>
          </a:xfrm>
        </p:spPr>
        <p:txBody>
          <a:bodyPr bIns="0">
            <a:noAutofit/>
          </a:bodyPr>
          <a:lstStyle>
            <a:lvl1pPr algn="l">
              <a:lnSpc>
                <a:spcPts val="1700"/>
              </a:lnSpc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noProof="0" smtClean="0"/>
              <a:t>Klik om de modelstijlen te bewerken</a:t>
            </a:r>
          </a:p>
        </p:txBody>
      </p:sp>
      <p:sp>
        <p:nvSpPr>
          <p:cNvPr id="12" name="Rectangle 11"/>
          <p:cNvSpPr/>
          <p:nvPr userDrawn="1"/>
        </p:nvSpPr>
        <p:spPr bwMode="gray">
          <a:xfrm>
            <a:off x="1" y="6024880"/>
            <a:ext cx="9904532" cy="8331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2400">
              <a:solidFill>
                <a:prstClr val="white"/>
              </a:solidFill>
            </a:endParaRPr>
          </a:p>
        </p:txBody>
      </p:sp>
      <p:sp>
        <p:nvSpPr>
          <p:cNvPr id="18" name="Picture Placeholder 2"/>
          <p:cNvSpPr>
            <a:spLocks noGrp="1"/>
          </p:cNvSpPr>
          <p:nvPr>
            <p:ph type="pic" sz="quarter" idx="13" hasCustomPrompt="1"/>
          </p:nvPr>
        </p:nvSpPr>
        <p:spPr>
          <a:xfrm>
            <a:off x="681038" y="6055200"/>
            <a:ext cx="1784250" cy="504000"/>
          </a:xfrm>
        </p:spPr>
        <p:txBody>
          <a:bodyPr lIns="0" anchor="ctr" anchorCtr="0"/>
          <a:lstStyle>
            <a:lvl1pPr algn="l">
              <a:lnSpc>
                <a:spcPct val="100000"/>
              </a:lnSpc>
              <a:defRPr sz="900" b="0"/>
            </a:lvl1pPr>
          </a:lstStyle>
          <a:p>
            <a:r>
              <a:rPr lang="en-GB" dirty="0" smtClean="0"/>
              <a:t>Click to insert project logo</a:t>
            </a:r>
            <a:endParaRPr lang="en-GB" dirty="0"/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28199" y="6203775"/>
            <a:ext cx="1233535" cy="378000"/>
          </a:xfrm>
          <a:prstGeom prst="rect">
            <a:avLst/>
          </a:prstGeom>
        </p:spPr>
      </p:pic>
      <p:cxnSp>
        <p:nvCxnSpPr>
          <p:cNvPr id="17" name="Straight Connector 16"/>
          <p:cNvCxnSpPr/>
          <p:nvPr userDrawn="1"/>
        </p:nvCxnSpPr>
        <p:spPr>
          <a:xfrm>
            <a:off x="2449809" y="6953250"/>
            <a:ext cx="0" cy="36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/>
          <p:cNvCxnSpPr/>
          <p:nvPr userDrawn="1"/>
        </p:nvCxnSpPr>
        <p:spPr>
          <a:xfrm>
            <a:off x="-346674" y="6200775"/>
            <a:ext cx="2925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Box 5"/>
          <p:cNvSpPr txBox="1"/>
          <p:nvPr userDrawn="1"/>
        </p:nvSpPr>
        <p:spPr>
          <a:xfrm>
            <a:off x="980423" y="7019956"/>
            <a:ext cx="1170000" cy="226591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ctr"/>
            <a:r>
              <a:rPr lang="en-GB" sz="1000" smtClean="0">
                <a:solidFill>
                  <a:srgbClr val="333333"/>
                </a:solidFill>
              </a:rPr>
              <a:t>Max. width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-1224174" y="6266693"/>
            <a:ext cx="1170000" cy="226591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r"/>
            <a:r>
              <a:rPr lang="en-GB" sz="1000" smtClean="0">
                <a:solidFill>
                  <a:srgbClr val="333333"/>
                </a:solidFill>
              </a:rPr>
              <a:t>Max. height</a:t>
            </a:r>
          </a:p>
        </p:txBody>
      </p:sp>
      <p:cxnSp>
        <p:nvCxnSpPr>
          <p:cNvPr id="24" name="Straight Connector 23"/>
          <p:cNvCxnSpPr/>
          <p:nvPr userDrawn="1"/>
        </p:nvCxnSpPr>
        <p:spPr>
          <a:xfrm>
            <a:off x="681038" y="6953250"/>
            <a:ext cx="0" cy="360000"/>
          </a:xfrm>
          <a:prstGeom prst="line">
            <a:avLst/>
          </a:prstGeom>
          <a:ln>
            <a:head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/>
          <p:cNvCxnSpPr/>
          <p:nvPr userDrawn="1"/>
        </p:nvCxnSpPr>
        <p:spPr>
          <a:xfrm>
            <a:off x="-346674" y="6559200"/>
            <a:ext cx="292500" cy="0"/>
          </a:xfrm>
          <a:prstGeom prst="line">
            <a:avLst/>
          </a:prstGeom>
          <a:ln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77" name="Group 76"/>
          <p:cNvGrpSpPr/>
          <p:nvPr userDrawn="1"/>
        </p:nvGrpSpPr>
        <p:grpSpPr bwMode="gray">
          <a:xfrm>
            <a:off x="-1653580" y="0"/>
            <a:ext cx="1521000" cy="4689612"/>
            <a:chOff x="-2581275" y="595116"/>
            <a:chExt cx="1872000" cy="4689612"/>
          </a:xfrm>
        </p:grpSpPr>
        <p:sp>
          <p:nvSpPr>
            <p:cNvPr id="78" name="Rectangle 104"/>
            <p:cNvSpPr>
              <a:spLocks noChangeArrowheads="1"/>
            </p:cNvSpPr>
            <p:nvPr/>
          </p:nvSpPr>
          <p:spPr bwMode="gray">
            <a:xfrm>
              <a:off x="-2581275" y="4276728"/>
              <a:ext cx="1872000" cy="100800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79" name="Rectangle 104"/>
            <p:cNvSpPr>
              <a:spLocks noChangeArrowheads="1"/>
            </p:cNvSpPr>
            <p:nvPr userDrawn="1"/>
          </p:nvSpPr>
          <p:spPr bwMode="gray">
            <a:xfrm>
              <a:off x="-2581275" y="595116"/>
              <a:ext cx="1872000" cy="3672087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80" name="Rectangle 105"/>
            <p:cNvSpPr>
              <a:spLocks noChangeArrowheads="1"/>
            </p:cNvSpPr>
            <p:nvPr userDrawn="1"/>
          </p:nvSpPr>
          <p:spPr bwMode="gray">
            <a:xfrm>
              <a:off x="-2449513" y="1136650"/>
              <a:ext cx="215900" cy="215900"/>
            </a:xfrm>
            <a:prstGeom prst="rect">
              <a:avLst/>
            </a:prstGeom>
            <a:solidFill>
              <a:srgbClr val="FF6200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81" name="Rectangle 106"/>
            <p:cNvSpPr>
              <a:spLocks noChangeArrowheads="1"/>
            </p:cNvSpPr>
            <p:nvPr userDrawn="1"/>
          </p:nvSpPr>
          <p:spPr bwMode="gray">
            <a:xfrm>
              <a:off x="-2159000" y="1146175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Orang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55, 98, 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82" name="Rectangle 107"/>
            <p:cNvSpPr>
              <a:spLocks noChangeArrowheads="1"/>
            </p:cNvSpPr>
            <p:nvPr userDrawn="1"/>
          </p:nvSpPr>
          <p:spPr bwMode="gray">
            <a:xfrm>
              <a:off x="-2449513" y="1571626"/>
              <a:ext cx="215900" cy="215900"/>
            </a:xfrm>
            <a:prstGeom prst="rect">
              <a:avLst/>
            </a:prstGeom>
            <a:solidFill>
              <a:srgbClr val="A8A8A8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83" name="Rectangle 108"/>
            <p:cNvSpPr>
              <a:spLocks noChangeArrowheads="1"/>
            </p:cNvSpPr>
            <p:nvPr userDrawn="1"/>
          </p:nvSpPr>
          <p:spPr bwMode="gray">
            <a:xfrm>
              <a:off x="-2159000" y="15970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ght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68, 168, 16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84" name="Rectangle 109"/>
            <p:cNvSpPr>
              <a:spLocks noChangeArrowheads="1"/>
            </p:cNvSpPr>
            <p:nvPr userDrawn="1"/>
          </p:nvSpPr>
          <p:spPr bwMode="gray">
            <a:xfrm>
              <a:off x="-2449513" y="2058988"/>
              <a:ext cx="215900" cy="215900"/>
            </a:xfrm>
            <a:prstGeom prst="rect">
              <a:avLst/>
            </a:prstGeom>
            <a:solidFill>
              <a:srgbClr val="52519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85" name="Rectangle 110"/>
            <p:cNvSpPr>
              <a:spLocks noChangeArrowheads="1"/>
            </p:cNvSpPr>
            <p:nvPr userDrawn="1"/>
          </p:nvSpPr>
          <p:spPr bwMode="gray">
            <a:xfrm>
              <a:off x="-2159000" y="2068513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Indigo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82, 81, 153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86" name="Rectangle 111"/>
            <p:cNvSpPr>
              <a:spLocks noChangeArrowheads="1"/>
            </p:cNvSpPr>
            <p:nvPr userDrawn="1"/>
          </p:nvSpPr>
          <p:spPr bwMode="gray">
            <a:xfrm>
              <a:off x="-2449513" y="2527301"/>
              <a:ext cx="215900" cy="215900"/>
            </a:xfrm>
            <a:prstGeom prst="rect">
              <a:avLst/>
            </a:prstGeom>
            <a:solidFill>
              <a:srgbClr val="60A6DA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87" name="Rectangle 112"/>
            <p:cNvSpPr>
              <a:spLocks noChangeArrowheads="1"/>
            </p:cNvSpPr>
            <p:nvPr userDrawn="1"/>
          </p:nvSpPr>
          <p:spPr bwMode="gray">
            <a:xfrm>
              <a:off x="-2159000" y="25368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Sk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96, 166, 2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88" name="Rectangle 113"/>
            <p:cNvSpPr>
              <a:spLocks noChangeArrowheads="1"/>
            </p:cNvSpPr>
            <p:nvPr userDrawn="1"/>
          </p:nvSpPr>
          <p:spPr bwMode="gray">
            <a:xfrm>
              <a:off x="-2449513" y="762000"/>
              <a:ext cx="1692000" cy="165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90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200" b="1" smtClean="0">
                  <a:solidFill>
                    <a:srgbClr val="333333"/>
                  </a:solidFill>
                </a:rPr>
                <a:t>Colour Guidelines</a:t>
              </a:r>
              <a:endParaRPr lang="en-GB" altLang="en-US" sz="1200" b="1">
                <a:solidFill>
                  <a:srgbClr val="333333"/>
                </a:solidFill>
              </a:endParaRPr>
            </a:p>
          </p:txBody>
        </p:sp>
        <p:sp>
          <p:nvSpPr>
            <p:cNvPr id="89" name="Rectangle 107"/>
            <p:cNvSpPr>
              <a:spLocks noChangeArrowheads="1"/>
            </p:cNvSpPr>
            <p:nvPr/>
          </p:nvSpPr>
          <p:spPr bwMode="gray">
            <a:xfrm>
              <a:off x="-2449513" y="2962277"/>
              <a:ext cx="215900" cy="215900"/>
            </a:xfrm>
            <a:prstGeom prst="rect">
              <a:avLst/>
            </a:prstGeom>
            <a:solidFill>
              <a:srgbClr val="AB006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90" name="Rectangle 108"/>
            <p:cNvSpPr>
              <a:spLocks noChangeArrowheads="1"/>
            </p:cNvSpPr>
            <p:nvPr/>
          </p:nvSpPr>
          <p:spPr bwMode="gray">
            <a:xfrm>
              <a:off x="-2159000" y="29876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Fuchsia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71, 0, 102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91" name="Rectangle 109"/>
            <p:cNvSpPr>
              <a:spLocks noChangeArrowheads="1"/>
            </p:cNvSpPr>
            <p:nvPr/>
          </p:nvSpPr>
          <p:spPr bwMode="gray">
            <a:xfrm>
              <a:off x="-2449513" y="3449639"/>
              <a:ext cx="215900" cy="215900"/>
            </a:xfrm>
            <a:prstGeom prst="rect">
              <a:avLst/>
            </a:prstGeom>
            <a:solidFill>
              <a:srgbClr val="D0D93C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92" name="Rectangle 110"/>
            <p:cNvSpPr>
              <a:spLocks noChangeArrowheads="1"/>
            </p:cNvSpPr>
            <p:nvPr/>
          </p:nvSpPr>
          <p:spPr bwMode="gray">
            <a:xfrm>
              <a:off x="-2159000" y="3459164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m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08, 217, 6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93" name="Rectangle 111"/>
            <p:cNvSpPr>
              <a:spLocks noChangeArrowheads="1"/>
            </p:cNvSpPr>
            <p:nvPr/>
          </p:nvSpPr>
          <p:spPr bwMode="gray">
            <a:xfrm>
              <a:off x="-2449513" y="3917952"/>
              <a:ext cx="215900" cy="215900"/>
            </a:xfrm>
            <a:prstGeom prst="rect">
              <a:avLst/>
            </a:prstGeom>
            <a:solidFill>
              <a:srgbClr val="01964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94" name="Rectangle 112"/>
            <p:cNvSpPr>
              <a:spLocks noChangeArrowheads="1"/>
            </p:cNvSpPr>
            <p:nvPr/>
          </p:nvSpPr>
          <p:spPr bwMode="gray">
            <a:xfrm>
              <a:off x="-2159000" y="39274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eaf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2, 150, 8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95" name="Rectangle 109"/>
            <p:cNvSpPr>
              <a:spLocks noChangeArrowheads="1"/>
            </p:cNvSpPr>
            <p:nvPr/>
          </p:nvSpPr>
          <p:spPr bwMode="gray">
            <a:xfrm>
              <a:off x="-2449513" y="4405314"/>
              <a:ext cx="215900" cy="215900"/>
            </a:xfrm>
            <a:prstGeom prst="rect">
              <a:avLst/>
            </a:prstGeom>
            <a:solidFill>
              <a:srgbClr val="76767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96" name="Rectangle 110"/>
            <p:cNvSpPr>
              <a:spLocks noChangeArrowheads="1"/>
            </p:cNvSpPr>
            <p:nvPr/>
          </p:nvSpPr>
          <p:spPr bwMode="gray">
            <a:xfrm>
              <a:off x="-2159000" y="4414839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Mid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18, 118, 1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97" name="Rectangle 111"/>
            <p:cNvSpPr>
              <a:spLocks noChangeArrowheads="1"/>
            </p:cNvSpPr>
            <p:nvPr/>
          </p:nvSpPr>
          <p:spPr bwMode="gray">
            <a:xfrm>
              <a:off x="-2449513" y="4873627"/>
              <a:ext cx="215900" cy="215900"/>
            </a:xfrm>
            <a:prstGeom prst="rect">
              <a:avLst/>
            </a:prstGeom>
            <a:solidFill>
              <a:srgbClr val="333333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98" name="Rectangle 112"/>
            <p:cNvSpPr>
              <a:spLocks noChangeArrowheads="1"/>
            </p:cNvSpPr>
            <p:nvPr/>
          </p:nvSpPr>
          <p:spPr bwMode="gray">
            <a:xfrm>
              <a:off x="-2159000" y="4883152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Text Colour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1, 51, 5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</p:grpSp>
      <p:pic>
        <p:nvPicPr>
          <p:cNvPr id="41" name="Picture 40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466554" y="4402733"/>
            <a:ext cx="125761" cy="138908"/>
          </a:xfrm>
          <a:prstGeom prst="rect">
            <a:avLst/>
          </a:prstGeom>
        </p:spPr>
      </p:pic>
      <p:sp>
        <p:nvSpPr>
          <p:cNvPr id="43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684478" y="4381898"/>
            <a:ext cx="3963375" cy="216000"/>
          </a:xfrm>
        </p:spPr>
        <p:txBody>
          <a:bodyPr tIns="0" bIns="0"/>
          <a:lstStyle>
            <a:lvl1pPr marL="0" indent="0" algn="l">
              <a:lnSpc>
                <a:spcPts val="1350"/>
              </a:lnSpc>
              <a:buNone/>
              <a:defRPr sz="1350">
                <a:solidFill>
                  <a:srgbClr val="000000"/>
                </a:solidFill>
                <a:latin typeface="+mn-lt"/>
              </a:defRPr>
            </a:lvl1pPr>
            <a:lvl2pPr>
              <a:defRPr sz="2200">
                <a:solidFill>
                  <a:srgbClr val="000000"/>
                </a:solidFill>
              </a:defRPr>
            </a:lvl2pPr>
            <a:lvl3pPr>
              <a:defRPr sz="2200">
                <a:solidFill>
                  <a:srgbClr val="000000"/>
                </a:solidFill>
              </a:defRPr>
            </a:lvl3pPr>
            <a:lvl4pPr>
              <a:defRPr sz="2200">
                <a:solidFill>
                  <a:srgbClr val="000000"/>
                </a:solidFill>
              </a:defRPr>
            </a:lvl4pPr>
            <a:lvl5pPr>
              <a:defRPr sz="2200">
                <a:solidFill>
                  <a:srgbClr val="000000"/>
                </a:solidFill>
              </a:defRPr>
            </a:lvl5pPr>
          </a:lstStyle>
          <a:p>
            <a:pPr lvl="0"/>
            <a:r>
              <a:rPr lang="en-GB" noProof="0" dirty="0" smtClean="0"/>
              <a:t>Click to edit location and date</a:t>
            </a:r>
          </a:p>
        </p:txBody>
      </p:sp>
    </p:spTree>
    <p:extLst>
      <p:ext uri="{BB962C8B-B14F-4D97-AF65-F5344CB8AC3E}">
        <p14:creationId xmlns:p14="http://schemas.microsoft.com/office/powerpoint/2010/main" val="1253929475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="" xmlns:p15="http://schemas.microsoft.com/office/powerpoint/2012/main">
        <p15:guide id="1" orient="horz" pos="4135" userDrawn="1">
          <p15:clr>
            <a:srgbClr val="FBAE40"/>
          </p15:clr>
        </p15:guide>
      </p15:sldGuideLst>
    </p:ext>
  </p:extLs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Confidential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0" name="Group 49"/>
          <p:cNvGrpSpPr/>
          <p:nvPr userDrawn="1"/>
        </p:nvGrpSpPr>
        <p:grpSpPr bwMode="gray">
          <a:xfrm>
            <a:off x="1" y="1643200"/>
            <a:ext cx="9213354" cy="3055937"/>
            <a:chOff x="409575" y="3144838"/>
            <a:chExt cx="11339513" cy="3055937"/>
          </a:xfrm>
        </p:grpSpPr>
        <p:sp>
          <p:nvSpPr>
            <p:cNvPr id="51" name="Freeform 5"/>
            <p:cNvSpPr>
              <a:spLocks/>
            </p:cNvSpPr>
            <p:nvPr/>
          </p:nvSpPr>
          <p:spPr bwMode="gray">
            <a:xfrm>
              <a:off x="409575" y="5521325"/>
              <a:ext cx="11339513" cy="679450"/>
            </a:xfrm>
            <a:custGeom>
              <a:avLst/>
              <a:gdLst>
                <a:gd name="T0" fmla="*/ 0 w 2680"/>
                <a:gd name="T1" fmla="*/ 0 h 160"/>
                <a:gd name="T2" fmla="*/ 0 w 2680"/>
                <a:gd name="T3" fmla="*/ 160 h 160"/>
                <a:gd name="T4" fmla="*/ 2656 w 2680"/>
                <a:gd name="T5" fmla="*/ 160 h 160"/>
                <a:gd name="T6" fmla="*/ 2680 w 2680"/>
                <a:gd name="T7" fmla="*/ 136 h 160"/>
                <a:gd name="T8" fmla="*/ 2680 w 2680"/>
                <a:gd name="T9" fmla="*/ 0 h 160"/>
                <a:gd name="T10" fmla="*/ 0 w 2680"/>
                <a:gd name="T11" fmla="*/ 0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80" h="160">
                  <a:moveTo>
                    <a:pt x="0" y="0"/>
                  </a:moveTo>
                  <a:cubicBezTo>
                    <a:pt x="0" y="160"/>
                    <a:pt x="0" y="160"/>
                    <a:pt x="0" y="160"/>
                  </a:cubicBezTo>
                  <a:cubicBezTo>
                    <a:pt x="2656" y="160"/>
                    <a:pt x="2656" y="160"/>
                    <a:pt x="2656" y="160"/>
                  </a:cubicBezTo>
                  <a:cubicBezTo>
                    <a:pt x="2656" y="160"/>
                    <a:pt x="2680" y="160"/>
                    <a:pt x="2680" y="136"/>
                  </a:cubicBezTo>
                  <a:cubicBezTo>
                    <a:pt x="2680" y="0"/>
                    <a:pt x="2680" y="0"/>
                    <a:pt x="2680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EAEAE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333333"/>
                </a:solidFill>
              </a:endParaRPr>
            </a:p>
          </p:txBody>
        </p:sp>
        <p:sp>
          <p:nvSpPr>
            <p:cNvPr id="52" name="Freeform 6"/>
            <p:cNvSpPr>
              <a:spLocks/>
            </p:cNvSpPr>
            <p:nvPr/>
          </p:nvSpPr>
          <p:spPr bwMode="gray">
            <a:xfrm>
              <a:off x="409575" y="3144838"/>
              <a:ext cx="11339513" cy="2376487"/>
            </a:xfrm>
            <a:custGeom>
              <a:avLst/>
              <a:gdLst>
                <a:gd name="T0" fmla="*/ 0 w 2680"/>
                <a:gd name="T1" fmla="*/ 0 h 560"/>
                <a:gd name="T2" fmla="*/ 0 w 2680"/>
                <a:gd name="T3" fmla="*/ 560 h 560"/>
                <a:gd name="T4" fmla="*/ 2680 w 2680"/>
                <a:gd name="T5" fmla="*/ 560 h 560"/>
                <a:gd name="T6" fmla="*/ 2680 w 2680"/>
                <a:gd name="T7" fmla="*/ 24 h 560"/>
                <a:gd name="T8" fmla="*/ 2656 w 2680"/>
                <a:gd name="T9" fmla="*/ 0 h 560"/>
                <a:gd name="T10" fmla="*/ 0 w 2680"/>
                <a:gd name="T11" fmla="*/ 0 h 5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80" h="560">
                  <a:moveTo>
                    <a:pt x="0" y="0"/>
                  </a:moveTo>
                  <a:cubicBezTo>
                    <a:pt x="0" y="560"/>
                    <a:pt x="0" y="560"/>
                    <a:pt x="0" y="560"/>
                  </a:cubicBezTo>
                  <a:cubicBezTo>
                    <a:pt x="2680" y="560"/>
                    <a:pt x="2680" y="560"/>
                    <a:pt x="2680" y="560"/>
                  </a:cubicBezTo>
                  <a:cubicBezTo>
                    <a:pt x="2680" y="24"/>
                    <a:pt x="2680" y="24"/>
                    <a:pt x="2680" y="24"/>
                  </a:cubicBezTo>
                  <a:cubicBezTo>
                    <a:pt x="2680" y="24"/>
                    <a:pt x="2680" y="0"/>
                    <a:pt x="2656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F62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333333"/>
                </a:solidFill>
              </a:endParaRPr>
            </a:p>
          </p:txBody>
        </p:sp>
      </p:grpSp>
      <p:sp>
        <p:nvSpPr>
          <p:cNvPr id="8" name="Rectangle 7"/>
          <p:cNvSpPr/>
          <p:nvPr userDrawn="1"/>
        </p:nvSpPr>
        <p:spPr bwMode="gray">
          <a:xfrm>
            <a:off x="1" y="6024880"/>
            <a:ext cx="9904532" cy="8331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2400">
              <a:solidFill>
                <a:prstClr val="white"/>
              </a:solidFill>
            </a:endParaRPr>
          </a:p>
        </p:txBody>
      </p:sp>
      <p:sp>
        <p:nvSpPr>
          <p:cNvPr id="25" name="Title 1"/>
          <p:cNvSpPr>
            <a:spLocks noGrp="1"/>
          </p:cNvSpPr>
          <p:nvPr>
            <p:ph type="ctrTitle"/>
          </p:nvPr>
        </p:nvSpPr>
        <p:spPr bwMode="gray">
          <a:xfrm>
            <a:off x="684477" y="2116801"/>
            <a:ext cx="8379482" cy="1227573"/>
          </a:xfrm>
        </p:spPr>
        <p:txBody>
          <a:bodyPr anchor="ctr" anchorCtr="0">
            <a:noAutofit/>
          </a:bodyPr>
          <a:lstStyle>
            <a:lvl1pPr algn="l">
              <a:lnSpc>
                <a:spcPts val="4600"/>
              </a:lnSpc>
              <a:defRPr sz="4600">
                <a:solidFill>
                  <a:schemeClr val="bg1"/>
                </a:solidFill>
              </a:defRPr>
            </a:lvl1pPr>
          </a:lstStyle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  <p:sp>
        <p:nvSpPr>
          <p:cNvPr id="26" name="Subtitle 2"/>
          <p:cNvSpPr>
            <a:spLocks noGrp="1"/>
          </p:cNvSpPr>
          <p:nvPr>
            <p:ph type="subTitle" idx="1"/>
          </p:nvPr>
        </p:nvSpPr>
        <p:spPr bwMode="gray">
          <a:xfrm>
            <a:off x="684477" y="4240704"/>
            <a:ext cx="5754721" cy="306798"/>
          </a:xfrm>
        </p:spPr>
        <p:txBody>
          <a:bodyPr anchor="ctr" anchorCtr="0">
            <a:noAutofit/>
          </a:bodyPr>
          <a:lstStyle>
            <a:lvl1pPr marL="0" indent="0" algn="l">
              <a:lnSpc>
                <a:spcPts val="2200"/>
              </a:lnSpc>
              <a:buNone/>
              <a:defRPr sz="2000" b="0" i="0"/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nl-NL" noProof="0" smtClean="0"/>
              <a:t>Klik om de ondertitelstijl van het model te bewerken</a:t>
            </a:r>
            <a:endParaRPr lang="en-GB" noProof="0" dirty="0"/>
          </a:p>
        </p:txBody>
      </p:sp>
      <p:sp>
        <p:nvSpPr>
          <p:cNvPr id="27" name="Text Placeholder 6"/>
          <p:cNvSpPr>
            <a:spLocks noGrp="1"/>
          </p:cNvSpPr>
          <p:nvPr>
            <p:ph type="body" sz="quarter" idx="11"/>
          </p:nvPr>
        </p:nvSpPr>
        <p:spPr bwMode="gray">
          <a:xfrm>
            <a:off x="684450" y="3556801"/>
            <a:ext cx="8373361" cy="385233"/>
          </a:xfrm>
        </p:spPr>
        <p:txBody>
          <a:bodyPr>
            <a:noAutofit/>
          </a:bodyPr>
          <a:lstStyle>
            <a:lvl1pPr>
              <a:lnSpc>
                <a:spcPts val="2200"/>
              </a:lnSpc>
              <a:defRPr sz="220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noProof="0" smtClean="0"/>
              <a:t>Klik om de modelstijlen te bewerken</a:t>
            </a:r>
          </a:p>
        </p:txBody>
      </p:sp>
      <p:sp>
        <p:nvSpPr>
          <p:cNvPr id="28" name="Picture Placeholder 2"/>
          <p:cNvSpPr>
            <a:spLocks noGrp="1"/>
          </p:cNvSpPr>
          <p:nvPr>
            <p:ph type="pic" sz="quarter" idx="13" hasCustomPrompt="1"/>
          </p:nvPr>
        </p:nvSpPr>
        <p:spPr>
          <a:xfrm>
            <a:off x="681038" y="5242062"/>
            <a:ext cx="1784250" cy="1317138"/>
          </a:xfrm>
        </p:spPr>
        <p:txBody>
          <a:bodyPr lIns="0" anchor="ctr" anchorCtr="0"/>
          <a:lstStyle>
            <a:lvl1pPr algn="l">
              <a:lnSpc>
                <a:spcPct val="100000"/>
              </a:lnSpc>
              <a:defRPr sz="900" b="0"/>
            </a:lvl1pPr>
          </a:lstStyle>
          <a:p>
            <a:r>
              <a:rPr lang="en-GB" dirty="0" smtClean="0"/>
              <a:t>Click to insert project logo</a:t>
            </a:r>
            <a:endParaRPr lang="en-GB" dirty="0"/>
          </a:p>
        </p:txBody>
      </p:sp>
      <p:pic>
        <p:nvPicPr>
          <p:cNvPr id="30" name="Picture 29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28199" y="6203775"/>
            <a:ext cx="1233535" cy="378000"/>
          </a:xfrm>
          <a:prstGeom prst="rect">
            <a:avLst/>
          </a:prstGeom>
        </p:spPr>
      </p:pic>
      <p:cxnSp>
        <p:nvCxnSpPr>
          <p:cNvPr id="16" name="Straight Connector 15"/>
          <p:cNvCxnSpPr/>
          <p:nvPr userDrawn="1"/>
        </p:nvCxnSpPr>
        <p:spPr>
          <a:xfrm>
            <a:off x="2449809" y="6953250"/>
            <a:ext cx="0" cy="36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/>
          <p:cNvCxnSpPr/>
          <p:nvPr userDrawn="1"/>
        </p:nvCxnSpPr>
        <p:spPr>
          <a:xfrm>
            <a:off x="-346674" y="6200775"/>
            <a:ext cx="292500" cy="0"/>
          </a:xfrm>
          <a:prstGeom prst="line">
            <a:avLst/>
          </a:prstGeom>
          <a:ln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xtBox 19"/>
          <p:cNvSpPr txBox="1"/>
          <p:nvPr userDrawn="1"/>
        </p:nvSpPr>
        <p:spPr>
          <a:xfrm>
            <a:off x="980423" y="7019956"/>
            <a:ext cx="1170000" cy="226591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ctr"/>
            <a:r>
              <a:rPr lang="en-GB" sz="1000" smtClean="0">
                <a:solidFill>
                  <a:srgbClr val="333333"/>
                </a:solidFill>
              </a:rPr>
              <a:t>Max. width</a:t>
            </a:r>
          </a:p>
        </p:txBody>
      </p:sp>
      <p:sp>
        <p:nvSpPr>
          <p:cNvPr id="22" name="TextBox 21"/>
          <p:cNvSpPr txBox="1"/>
          <p:nvPr userDrawn="1"/>
        </p:nvSpPr>
        <p:spPr>
          <a:xfrm>
            <a:off x="-1224174" y="6266693"/>
            <a:ext cx="1170000" cy="226591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r"/>
            <a:r>
              <a:rPr lang="en-GB" sz="1000" smtClean="0">
                <a:solidFill>
                  <a:srgbClr val="333333"/>
                </a:solidFill>
              </a:rPr>
              <a:t>Min. height</a:t>
            </a:r>
          </a:p>
        </p:txBody>
      </p:sp>
      <p:cxnSp>
        <p:nvCxnSpPr>
          <p:cNvPr id="31" name="Straight Connector 30"/>
          <p:cNvCxnSpPr/>
          <p:nvPr userDrawn="1"/>
        </p:nvCxnSpPr>
        <p:spPr>
          <a:xfrm>
            <a:off x="-346674" y="5242062"/>
            <a:ext cx="2925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TextBox 31"/>
          <p:cNvSpPr txBox="1"/>
          <p:nvPr userDrawn="1"/>
        </p:nvSpPr>
        <p:spPr>
          <a:xfrm>
            <a:off x="-1224174" y="5297119"/>
            <a:ext cx="1170000" cy="226591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r"/>
            <a:r>
              <a:rPr lang="en-GB" sz="1000" smtClean="0">
                <a:solidFill>
                  <a:srgbClr val="333333"/>
                </a:solidFill>
              </a:rPr>
              <a:t>Max. height</a:t>
            </a:r>
          </a:p>
        </p:txBody>
      </p:sp>
      <p:cxnSp>
        <p:nvCxnSpPr>
          <p:cNvPr id="33" name="Straight Connector 32"/>
          <p:cNvCxnSpPr/>
          <p:nvPr userDrawn="1"/>
        </p:nvCxnSpPr>
        <p:spPr>
          <a:xfrm>
            <a:off x="681038" y="6953250"/>
            <a:ext cx="0" cy="360000"/>
          </a:xfrm>
          <a:prstGeom prst="line">
            <a:avLst/>
          </a:prstGeom>
          <a:ln>
            <a:head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traight Connector 33"/>
          <p:cNvCxnSpPr/>
          <p:nvPr userDrawn="1"/>
        </p:nvCxnSpPr>
        <p:spPr>
          <a:xfrm>
            <a:off x="-346674" y="6559200"/>
            <a:ext cx="292500" cy="0"/>
          </a:xfrm>
          <a:prstGeom prst="line">
            <a:avLst/>
          </a:prstGeom>
          <a:ln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8" name="Group 57"/>
          <p:cNvGrpSpPr/>
          <p:nvPr userDrawn="1"/>
        </p:nvGrpSpPr>
        <p:grpSpPr bwMode="gray">
          <a:xfrm>
            <a:off x="-1653580" y="0"/>
            <a:ext cx="1521000" cy="4689612"/>
            <a:chOff x="-2581275" y="595116"/>
            <a:chExt cx="1872000" cy="4689612"/>
          </a:xfrm>
        </p:grpSpPr>
        <p:sp>
          <p:nvSpPr>
            <p:cNvPr id="59" name="Rectangle 104"/>
            <p:cNvSpPr>
              <a:spLocks noChangeArrowheads="1"/>
            </p:cNvSpPr>
            <p:nvPr/>
          </p:nvSpPr>
          <p:spPr bwMode="gray">
            <a:xfrm>
              <a:off x="-2581275" y="4276728"/>
              <a:ext cx="1872000" cy="100800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0" name="Rectangle 104"/>
            <p:cNvSpPr>
              <a:spLocks noChangeArrowheads="1"/>
            </p:cNvSpPr>
            <p:nvPr userDrawn="1"/>
          </p:nvSpPr>
          <p:spPr bwMode="gray">
            <a:xfrm>
              <a:off x="-2581275" y="595116"/>
              <a:ext cx="1872000" cy="3672087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1" name="Rectangle 105"/>
            <p:cNvSpPr>
              <a:spLocks noChangeArrowheads="1"/>
            </p:cNvSpPr>
            <p:nvPr userDrawn="1"/>
          </p:nvSpPr>
          <p:spPr bwMode="gray">
            <a:xfrm>
              <a:off x="-2449513" y="1136650"/>
              <a:ext cx="215900" cy="215900"/>
            </a:xfrm>
            <a:prstGeom prst="rect">
              <a:avLst/>
            </a:prstGeom>
            <a:solidFill>
              <a:srgbClr val="FF6200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2" name="Rectangle 106"/>
            <p:cNvSpPr>
              <a:spLocks noChangeArrowheads="1"/>
            </p:cNvSpPr>
            <p:nvPr userDrawn="1"/>
          </p:nvSpPr>
          <p:spPr bwMode="gray">
            <a:xfrm>
              <a:off x="-2159000" y="1146175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Orang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55, 98, 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3" name="Rectangle 107"/>
            <p:cNvSpPr>
              <a:spLocks noChangeArrowheads="1"/>
            </p:cNvSpPr>
            <p:nvPr userDrawn="1"/>
          </p:nvSpPr>
          <p:spPr bwMode="gray">
            <a:xfrm>
              <a:off x="-2449513" y="1571626"/>
              <a:ext cx="215900" cy="215900"/>
            </a:xfrm>
            <a:prstGeom prst="rect">
              <a:avLst/>
            </a:prstGeom>
            <a:solidFill>
              <a:srgbClr val="A8A8A8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4" name="Rectangle 108"/>
            <p:cNvSpPr>
              <a:spLocks noChangeArrowheads="1"/>
            </p:cNvSpPr>
            <p:nvPr userDrawn="1"/>
          </p:nvSpPr>
          <p:spPr bwMode="gray">
            <a:xfrm>
              <a:off x="-2159000" y="15970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ght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68, 168, 16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5" name="Rectangle 109"/>
            <p:cNvSpPr>
              <a:spLocks noChangeArrowheads="1"/>
            </p:cNvSpPr>
            <p:nvPr userDrawn="1"/>
          </p:nvSpPr>
          <p:spPr bwMode="gray">
            <a:xfrm>
              <a:off x="-2449513" y="2058988"/>
              <a:ext cx="215900" cy="215900"/>
            </a:xfrm>
            <a:prstGeom prst="rect">
              <a:avLst/>
            </a:prstGeom>
            <a:solidFill>
              <a:srgbClr val="52519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6" name="Rectangle 110"/>
            <p:cNvSpPr>
              <a:spLocks noChangeArrowheads="1"/>
            </p:cNvSpPr>
            <p:nvPr userDrawn="1"/>
          </p:nvSpPr>
          <p:spPr bwMode="gray">
            <a:xfrm>
              <a:off x="-2159000" y="2068513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Indigo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82, 81, 153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7" name="Rectangle 111"/>
            <p:cNvSpPr>
              <a:spLocks noChangeArrowheads="1"/>
            </p:cNvSpPr>
            <p:nvPr userDrawn="1"/>
          </p:nvSpPr>
          <p:spPr bwMode="gray">
            <a:xfrm>
              <a:off x="-2449513" y="2527301"/>
              <a:ext cx="215900" cy="215900"/>
            </a:xfrm>
            <a:prstGeom prst="rect">
              <a:avLst/>
            </a:prstGeom>
            <a:solidFill>
              <a:srgbClr val="60A6DA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8" name="Rectangle 112"/>
            <p:cNvSpPr>
              <a:spLocks noChangeArrowheads="1"/>
            </p:cNvSpPr>
            <p:nvPr userDrawn="1"/>
          </p:nvSpPr>
          <p:spPr bwMode="gray">
            <a:xfrm>
              <a:off x="-2159000" y="25368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Sk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96, 166, 2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9" name="Rectangle 113"/>
            <p:cNvSpPr>
              <a:spLocks noChangeArrowheads="1"/>
            </p:cNvSpPr>
            <p:nvPr userDrawn="1"/>
          </p:nvSpPr>
          <p:spPr bwMode="gray">
            <a:xfrm>
              <a:off x="-2449513" y="762000"/>
              <a:ext cx="1692000" cy="165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90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200" b="1" smtClean="0">
                  <a:solidFill>
                    <a:srgbClr val="333333"/>
                  </a:solidFill>
                </a:rPr>
                <a:t>Colour Guidelines</a:t>
              </a:r>
              <a:endParaRPr lang="en-GB" altLang="en-US" sz="1200" b="1">
                <a:solidFill>
                  <a:srgbClr val="333333"/>
                </a:solidFill>
              </a:endParaRPr>
            </a:p>
          </p:txBody>
        </p:sp>
        <p:sp>
          <p:nvSpPr>
            <p:cNvPr id="70" name="Rectangle 107"/>
            <p:cNvSpPr>
              <a:spLocks noChangeArrowheads="1"/>
            </p:cNvSpPr>
            <p:nvPr/>
          </p:nvSpPr>
          <p:spPr bwMode="gray">
            <a:xfrm>
              <a:off x="-2449513" y="2962277"/>
              <a:ext cx="215900" cy="215900"/>
            </a:xfrm>
            <a:prstGeom prst="rect">
              <a:avLst/>
            </a:prstGeom>
            <a:solidFill>
              <a:srgbClr val="AB006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71" name="Rectangle 108"/>
            <p:cNvSpPr>
              <a:spLocks noChangeArrowheads="1"/>
            </p:cNvSpPr>
            <p:nvPr/>
          </p:nvSpPr>
          <p:spPr bwMode="gray">
            <a:xfrm>
              <a:off x="-2159000" y="29876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Fuchsia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71, 0, 102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72" name="Rectangle 109"/>
            <p:cNvSpPr>
              <a:spLocks noChangeArrowheads="1"/>
            </p:cNvSpPr>
            <p:nvPr/>
          </p:nvSpPr>
          <p:spPr bwMode="gray">
            <a:xfrm>
              <a:off x="-2449513" y="3449639"/>
              <a:ext cx="215900" cy="215900"/>
            </a:xfrm>
            <a:prstGeom prst="rect">
              <a:avLst/>
            </a:prstGeom>
            <a:solidFill>
              <a:srgbClr val="D0D93C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73" name="Rectangle 110"/>
            <p:cNvSpPr>
              <a:spLocks noChangeArrowheads="1"/>
            </p:cNvSpPr>
            <p:nvPr/>
          </p:nvSpPr>
          <p:spPr bwMode="gray">
            <a:xfrm>
              <a:off x="-2159000" y="3459164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m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08, 217, 6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74" name="Rectangle 111"/>
            <p:cNvSpPr>
              <a:spLocks noChangeArrowheads="1"/>
            </p:cNvSpPr>
            <p:nvPr/>
          </p:nvSpPr>
          <p:spPr bwMode="gray">
            <a:xfrm>
              <a:off x="-2449513" y="3917952"/>
              <a:ext cx="215900" cy="215900"/>
            </a:xfrm>
            <a:prstGeom prst="rect">
              <a:avLst/>
            </a:prstGeom>
            <a:solidFill>
              <a:srgbClr val="01964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75" name="Rectangle 112"/>
            <p:cNvSpPr>
              <a:spLocks noChangeArrowheads="1"/>
            </p:cNvSpPr>
            <p:nvPr/>
          </p:nvSpPr>
          <p:spPr bwMode="gray">
            <a:xfrm>
              <a:off x="-2159000" y="39274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eaf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2, 150, 8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76" name="Rectangle 109"/>
            <p:cNvSpPr>
              <a:spLocks noChangeArrowheads="1"/>
            </p:cNvSpPr>
            <p:nvPr/>
          </p:nvSpPr>
          <p:spPr bwMode="gray">
            <a:xfrm>
              <a:off x="-2449513" y="4405314"/>
              <a:ext cx="215900" cy="215900"/>
            </a:xfrm>
            <a:prstGeom prst="rect">
              <a:avLst/>
            </a:prstGeom>
            <a:solidFill>
              <a:srgbClr val="76767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77" name="Rectangle 110"/>
            <p:cNvSpPr>
              <a:spLocks noChangeArrowheads="1"/>
            </p:cNvSpPr>
            <p:nvPr/>
          </p:nvSpPr>
          <p:spPr bwMode="gray">
            <a:xfrm>
              <a:off x="-2159000" y="4414839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Mid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18, 118, 1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78" name="Rectangle 111"/>
            <p:cNvSpPr>
              <a:spLocks noChangeArrowheads="1"/>
            </p:cNvSpPr>
            <p:nvPr/>
          </p:nvSpPr>
          <p:spPr bwMode="gray">
            <a:xfrm>
              <a:off x="-2449513" y="4873627"/>
              <a:ext cx="215900" cy="215900"/>
            </a:xfrm>
            <a:prstGeom prst="rect">
              <a:avLst/>
            </a:prstGeom>
            <a:solidFill>
              <a:srgbClr val="333333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79" name="Rectangle 112"/>
            <p:cNvSpPr>
              <a:spLocks noChangeArrowheads="1"/>
            </p:cNvSpPr>
            <p:nvPr/>
          </p:nvSpPr>
          <p:spPr bwMode="gray">
            <a:xfrm>
              <a:off x="-2159000" y="4883152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Text Colour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1, 51, 5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</p:grpSp>
      <p:pic>
        <p:nvPicPr>
          <p:cNvPr id="45" name="Picture 44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466554" y="4402733"/>
            <a:ext cx="125761" cy="138908"/>
          </a:xfrm>
          <a:prstGeom prst="rect">
            <a:avLst/>
          </a:prstGeom>
        </p:spPr>
      </p:pic>
      <p:sp>
        <p:nvSpPr>
          <p:cNvPr id="47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6636209" y="4291504"/>
            <a:ext cx="2427750" cy="275612"/>
          </a:xfrm>
        </p:spPr>
        <p:txBody>
          <a:bodyPr tIns="0" bIns="0"/>
          <a:lstStyle>
            <a:lvl1pPr marL="0" indent="0" algn="r">
              <a:lnSpc>
                <a:spcPct val="100000"/>
              </a:lnSpc>
              <a:buNone/>
              <a:defRPr sz="1500">
                <a:solidFill>
                  <a:srgbClr val="000000"/>
                </a:solidFill>
                <a:latin typeface="+mn-lt"/>
              </a:defRPr>
            </a:lvl1pPr>
            <a:lvl2pPr>
              <a:defRPr sz="2200">
                <a:solidFill>
                  <a:srgbClr val="000000"/>
                </a:solidFill>
              </a:defRPr>
            </a:lvl2pPr>
            <a:lvl3pPr>
              <a:defRPr sz="2200">
                <a:solidFill>
                  <a:srgbClr val="000000"/>
                </a:solidFill>
              </a:defRPr>
            </a:lvl3pPr>
            <a:lvl4pPr>
              <a:defRPr sz="2200">
                <a:solidFill>
                  <a:srgbClr val="000000"/>
                </a:solidFill>
              </a:defRPr>
            </a:lvl4pPr>
            <a:lvl5pPr>
              <a:defRPr sz="2200">
                <a:solidFill>
                  <a:srgbClr val="000000"/>
                </a:solidFill>
              </a:defRPr>
            </a:lvl5pPr>
          </a:lstStyle>
          <a:p>
            <a:pPr lvl="0"/>
            <a:r>
              <a:rPr lang="en-GB" noProof="0" dirty="0" smtClean="0"/>
              <a:t>Click to edit location and date</a:t>
            </a:r>
          </a:p>
        </p:txBody>
      </p:sp>
      <p:grpSp>
        <p:nvGrpSpPr>
          <p:cNvPr id="46" name="Group 45"/>
          <p:cNvGrpSpPr/>
          <p:nvPr userDrawn="1"/>
        </p:nvGrpSpPr>
        <p:grpSpPr>
          <a:xfrm>
            <a:off x="8733699" y="-133099"/>
            <a:ext cx="1170834" cy="1565166"/>
            <a:chOff x="5364088" y="4720073"/>
            <a:chExt cx="1441027" cy="1565166"/>
          </a:xfrm>
        </p:grpSpPr>
        <p:sp>
          <p:nvSpPr>
            <p:cNvPr id="48" name="Freeform 5"/>
            <p:cNvSpPr>
              <a:spLocks/>
            </p:cNvSpPr>
            <p:nvPr/>
          </p:nvSpPr>
          <p:spPr bwMode="gray">
            <a:xfrm>
              <a:off x="5364088" y="4844212"/>
              <a:ext cx="1441027" cy="1441027"/>
            </a:xfrm>
            <a:custGeom>
              <a:avLst/>
              <a:gdLst>
                <a:gd name="T0" fmla="*/ 0 w 810"/>
                <a:gd name="T1" fmla="*/ 0 h 810"/>
                <a:gd name="T2" fmla="*/ 810 w 810"/>
                <a:gd name="T3" fmla="*/ 810 h 810"/>
                <a:gd name="T4" fmla="*/ 810 w 810"/>
                <a:gd name="T5" fmla="*/ 536 h 810"/>
                <a:gd name="T6" fmla="*/ 274 w 810"/>
                <a:gd name="T7" fmla="*/ 0 h 810"/>
                <a:gd name="T8" fmla="*/ 0 w 810"/>
                <a:gd name="T9" fmla="*/ 0 h 8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10" h="810">
                  <a:moveTo>
                    <a:pt x="0" y="0"/>
                  </a:moveTo>
                  <a:lnTo>
                    <a:pt x="810" y="810"/>
                  </a:lnTo>
                  <a:lnTo>
                    <a:pt x="810" y="536"/>
                  </a:lnTo>
                  <a:lnTo>
                    <a:pt x="274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17A7DC"/>
            </a:solidFill>
            <a:ln w="3175">
              <a:solidFill>
                <a:srgbClr val="17A7DC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>
                <a:solidFill>
                  <a:srgbClr val="333333"/>
                </a:solidFill>
              </a:endParaRPr>
            </a:p>
          </p:txBody>
        </p:sp>
        <p:sp>
          <p:nvSpPr>
            <p:cNvPr id="49" name="Title 14"/>
            <p:cNvSpPr txBox="1">
              <a:spLocks/>
            </p:cNvSpPr>
            <p:nvPr userDrawn="1"/>
          </p:nvSpPr>
          <p:spPr bwMode="gray">
            <a:xfrm rot="2700000">
              <a:off x="5481455" y="5320862"/>
              <a:ext cx="1447800" cy="246221"/>
            </a:xfrm>
            <a:prstGeom prst="rect">
              <a:avLst/>
            </a:prstGeom>
          </p:spPr>
          <p:txBody>
            <a:bodyPr vert="horz" wrap="none" lIns="0" tIns="0" rIns="0" bIns="0" rtlCol="0" anchor="ctr" anchorCtr="0">
              <a:noAutofit/>
            </a:bodyPr>
            <a:lstStyle>
              <a:lvl1pPr algn="l" defTabSz="914400" rtl="0" eaLnBrk="1" latinLnBrk="0" hangingPunct="1">
                <a:lnSpc>
                  <a:spcPts val="4600"/>
                </a:lnSpc>
                <a:spcBef>
                  <a:spcPct val="0"/>
                </a:spcBef>
                <a:buNone/>
                <a:defRPr sz="4400" b="1" kern="1200" baseline="0">
                  <a:solidFill>
                    <a:schemeClr val="bg1"/>
                  </a:solidFill>
                  <a:latin typeface="+mj-lt"/>
                  <a:ea typeface="+mj-ea"/>
                  <a:cs typeface="Arial" panose="020B0604020202020204" pitchFamily="34" charset="0"/>
                </a:defRPr>
              </a:lvl1pPr>
            </a:lstStyle>
            <a:p>
              <a:pPr algn="ctr">
                <a:lnSpc>
                  <a:spcPct val="100000"/>
                </a:lnSpc>
              </a:pPr>
              <a:r>
                <a:rPr lang="en-US" sz="1600" smtClean="0">
                  <a:solidFill>
                    <a:prstClr val="white"/>
                  </a:solidFill>
                </a:rPr>
                <a:t>Confidential</a:t>
              </a:r>
              <a:endParaRPr lang="en-GB" sz="1600" dirty="0">
                <a:solidFill>
                  <a:prstClr val="white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304486589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="" xmlns:p15="http://schemas.microsoft.com/office/powerpoint/2012/main">
        <p15:guide id="1" orient="horz" pos="4135" userDrawn="1">
          <p15:clr>
            <a:srgbClr val="FBAE40"/>
          </p15:clr>
        </p15:guide>
        <p15:guide id="2" orient="horz" pos="3304" userDrawn="1">
          <p15:clr>
            <a:srgbClr val="FBAE40"/>
          </p15:clr>
        </p15:guide>
      </p15:sldGuideLst>
    </p:ext>
  </p:extLs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Full Picture Confidenti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0" name="Group 79"/>
          <p:cNvGrpSpPr>
            <a:grpSpLocks noChangeAspect="1"/>
          </p:cNvGrpSpPr>
          <p:nvPr userDrawn="1"/>
        </p:nvGrpSpPr>
        <p:grpSpPr bwMode="gray">
          <a:xfrm>
            <a:off x="0" y="1643199"/>
            <a:ext cx="4801323" cy="3045600"/>
            <a:chOff x="3465513" y="2070100"/>
            <a:chExt cx="5260975" cy="2711450"/>
          </a:xfrm>
        </p:grpSpPr>
        <p:sp>
          <p:nvSpPr>
            <p:cNvPr id="81" name="Freeform 5"/>
            <p:cNvSpPr>
              <a:spLocks/>
            </p:cNvSpPr>
            <p:nvPr userDrawn="1"/>
          </p:nvSpPr>
          <p:spPr bwMode="gray">
            <a:xfrm>
              <a:off x="3465513" y="4095750"/>
              <a:ext cx="5260975" cy="685800"/>
            </a:xfrm>
            <a:custGeom>
              <a:avLst/>
              <a:gdLst>
                <a:gd name="T0" fmla="*/ 0 w 1400"/>
                <a:gd name="T1" fmla="*/ 0 h 182"/>
                <a:gd name="T2" fmla="*/ 0 w 1400"/>
                <a:gd name="T3" fmla="*/ 182 h 182"/>
                <a:gd name="T4" fmla="*/ 1376 w 1400"/>
                <a:gd name="T5" fmla="*/ 182 h 182"/>
                <a:gd name="T6" fmla="*/ 1400 w 1400"/>
                <a:gd name="T7" fmla="*/ 158 h 182"/>
                <a:gd name="T8" fmla="*/ 1400 w 1400"/>
                <a:gd name="T9" fmla="*/ 0 h 182"/>
                <a:gd name="T10" fmla="*/ 0 w 1400"/>
                <a:gd name="T11" fmla="*/ 0 h 1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400" h="182">
                  <a:moveTo>
                    <a:pt x="0" y="0"/>
                  </a:moveTo>
                  <a:cubicBezTo>
                    <a:pt x="0" y="182"/>
                    <a:pt x="0" y="182"/>
                    <a:pt x="0" y="182"/>
                  </a:cubicBezTo>
                  <a:cubicBezTo>
                    <a:pt x="1376" y="182"/>
                    <a:pt x="1376" y="182"/>
                    <a:pt x="1376" y="182"/>
                  </a:cubicBezTo>
                  <a:cubicBezTo>
                    <a:pt x="1376" y="182"/>
                    <a:pt x="1400" y="182"/>
                    <a:pt x="1400" y="158"/>
                  </a:cubicBezTo>
                  <a:cubicBezTo>
                    <a:pt x="1400" y="0"/>
                    <a:pt x="1400" y="0"/>
                    <a:pt x="1400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EAEAEA"/>
            </a:solidFill>
            <a:ln w="9525">
              <a:solidFill>
                <a:srgbClr val="EAEAEA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333333"/>
                </a:solidFill>
              </a:endParaRPr>
            </a:p>
          </p:txBody>
        </p:sp>
        <p:sp>
          <p:nvSpPr>
            <p:cNvPr id="85" name="Freeform 84"/>
            <p:cNvSpPr>
              <a:spLocks/>
            </p:cNvSpPr>
            <p:nvPr userDrawn="1"/>
          </p:nvSpPr>
          <p:spPr bwMode="gray">
            <a:xfrm>
              <a:off x="3465513" y="2070100"/>
              <a:ext cx="5260975" cy="2025650"/>
            </a:xfrm>
            <a:custGeom>
              <a:avLst/>
              <a:gdLst>
                <a:gd name="T0" fmla="*/ 0 w 1400"/>
                <a:gd name="T1" fmla="*/ 0 h 538"/>
                <a:gd name="T2" fmla="*/ 0 w 1400"/>
                <a:gd name="T3" fmla="*/ 538 h 538"/>
                <a:gd name="T4" fmla="*/ 1400 w 1400"/>
                <a:gd name="T5" fmla="*/ 538 h 538"/>
                <a:gd name="T6" fmla="*/ 1400 w 1400"/>
                <a:gd name="T7" fmla="*/ 24 h 538"/>
                <a:gd name="T8" fmla="*/ 1376 w 1400"/>
                <a:gd name="T9" fmla="*/ 0 h 538"/>
                <a:gd name="T10" fmla="*/ 0 w 1400"/>
                <a:gd name="T11" fmla="*/ 0 h 5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400" h="538">
                  <a:moveTo>
                    <a:pt x="0" y="0"/>
                  </a:moveTo>
                  <a:cubicBezTo>
                    <a:pt x="0" y="538"/>
                    <a:pt x="0" y="538"/>
                    <a:pt x="0" y="538"/>
                  </a:cubicBezTo>
                  <a:cubicBezTo>
                    <a:pt x="1400" y="538"/>
                    <a:pt x="1400" y="538"/>
                    <a:pt x="1400" y="538"/>
                  </a:cubicBezTo>
                  <a:cubicBezTo>
                    <a:pt x="1400" y="24"/>
                    <a:pt x="1400" y="24"/>
                    <a:pt x="1400" y="24"/>
                  </a:cubicBezTo>
                  <a:cubicBezTo>
                    <a:pt x="1400" y="24"/>
                    <a:pt x="1400" y="0"/>
                    <a:pt x="1376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F6200"/>
            </a:solidFill>
            <a:ln w="9525">
              <a:solidFill>
                <a:srgbClr val="FF6200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333333"/>
                </a:solidFill>
              </a:endParaRPr>
            </a:p>
          </p:txBody>
        </p:sp>
      </p:grpSp>
      <p:sp>
        <p:nvSpPr>
          <p:cNvPr id="9" name="Title 1"/>
          <p:cNvSpPr>
            <a:spLocks noGrp="1"/>
          </p:cNvSpPr>
          <p:nvPr>
            <p:ph type="ctrTitle"/>
          </p:nvPr>
        </p:nvSpPr>
        <p:spPr bwMode="gray">
          <a:xfrm>
            <a:off x="684478" y="2012286"/>
            <a:ext cx="3963347" cy="1461600"/>
          </a:xfrm>
        </p:spPr>
        <p:txBody>
          <a:bodyPr anchor="ctr" anchorCtr="0">
            <a:noAutofit/>
          </a:bodyPr>
          <a:lstStyle>
            <a:lvl1pPr algn="l">
              <a:lnSpc>
                <a:spcPts val="3800"/>
              </a:lnSpc>
              <a:defRPr sz="3800">
                <a:solidFill>
                  <a:schemeClr val="bg1"/>
                </a:solidFill>
              </a:defRPr>
            </a:lvl1pPr>
          </a:lstStyle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  <p:sp>
        <p:nvSpPr>
          <p:cNvPr id="10" name="Subtitle 2"/>
          <p:cNvSpPr>
            <a:spLocks noGrp="1"/>
          </p:cNvSpPr>
          <p:nvPr>
            <p:ph type="subTitle" idx="1"/>
          </p:nvPr>
        </p:nvSpPr>
        <p:spPr bwMode="gray">
          <a:xfrm>
            <a:off x="684478" y="4031478"/>
            <a:ext cx="3963347" cy="306798"/>
          </a:xfrm>
        </p:spPr>
        <p:txBody>
          <a:bodyPr anchor="ctr" anchorCtr="0">
            <a:noAutofit/>
          </a:bodyPr>
          <a:lstStyle>
            <a:lvl1pPr marL="0" indent="0" algn="l">
              <a:lnSpc>
                <a:spcPts val="2200"/>
              </a:lnSpc>
              <a:buNone/>
              <a:defRPr sz="1700" b="0" i="0"/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nl-NL" noProof="0" smtClean="0"/>
              <a:t>Klik om de ondertitelstijl van het model te bewerken</a:t>
            </a:r>
            <a:endParaRPr lang="en-GB" noProof="0" dirty="0"/>
          </a:p>
        </p:txBody>
      </p:sp>
      <p:sp>
        <p:nvSpPr>
          <p:cNvPr id="11" name="Text Placeholder 6"/>
          <p:cNvSpPr>
            <a:spLocks noGrp="1"/>
          </p:cNvSpPr>
          <p:nvPr>
            <p:ph type="body" sz="quarter" idx="11"/>
          </p:nvPr>
        </p:nvSpPr>
        <p:spPr bwMode="gray">
          <a:xfrm>
            <a:off x="684478" y="3603486"/>
            <a:ext cx="3963347" cy="290712"/>
          </a:xfrm>
        </p:spPr>
        <p:txBody>
          <a:bodyPr bIns="0">
            <a:noAutofit/>
          </a:bodyPr>
          <a:lstStyle>
            <a:lvl1pPr algn="l">
              <a:lnSpc>
                <a:spcPts val="1700"/>
              </a:lnSpc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noProof="0" smtClean="0"/>
              <a:t>Klik om de modelstijlen te bewerken</a:t>
            </a:r>
          </a:p>
        </p:txBody>
      </p:sp>
      <p:sp>
        <p:nvSpPr>
          <p:cNvPr id="12" name="Rectangle 11"/>
          <p:cNvSpPr/>
          <p:nvPr userDrawn="1"/>
        </p:nvSpPr>
        <p:spPr bwMode="gray">
          <a:xfrm>
            <a:off x="1" y="6024880"/>
            <a:ext cx="9904532" cy="8331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2400">
              <a:solidFill>
                <a:prstClr val="white"/>
              </a:solidFill>
            </a:endParaRPr>
          </a:p>
        </p:txBody>
      </p:sp>
      <p:sp>
        <p:nvSpPr>
          <p:cNvPr id="19" name="Picture Placeholder 2"/>
          <p:cNvSpPr>
            <a:spLocks noGrp="1"/>
          </p:cNvSpPr>
          <p:nvPr>
            <p:ph type="pic" sz="quarter" idx="13" hasCustomPrompt="1"/>
          </p:nvPr>
        </p:nvSpPr>
        <p:spPr>
          <a:xfrm>
            <a:off x="681038" y="6055200"/>
            <a:ext cx="1784250" cy="504000"/>
          </a:xfrm>
        </p:spPr>
        <p:txBody>
          <a:bodyPr lIns="0" anchor="ctr" anchorCtr="0"/>
          <a:lstStyle>
            <a:lvl1pPr algn="l">
              <a:lnSpc>
                <a:spcPct val="100000"/>
              </a:lnSpc>
              <a:defRPr sz="900" b="0"/>
            </a:lvl1pPr>
          </a:lstStyle>
          <a:p>
            <a:r>
              <a:rPr lang="en-GB" dirty="0" smtClean="0"/>
              <a:t>Click to insert project logo</a:t>
            </a:r>
            <a:endParaRPr lang="en-GB" dirty="0"/>
          </a:p>
        </p:txBody>
      </p:sp>
      <p:pic>
        <p:nvPicPr>
          <p:cNvPr id="18" name="Picture 1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28199" y="6203775"/>
            <a:ext cx="1233535" cy="378000"/>
          </a:xfrm>
          <a:prstGeom prst="rect">
            <a:avLst/>
          </a:prstGeom>
        </p:spPr>
      </p:pic>
      <p:cxnSp>
        <p:nvCxnSpPr>
          <p:cNvPr id="17" name="Straight Connector 16"/>
          <p:cNvCxnSpPr/>
          <p:nvPr userDrawn="1"/>
        </p:nvCxnSpPr>
        <p:spPr>
          <a:xfrm>
            <a:off x="2449809" y="6953250"/>
            <a:ext cx="0" cy="36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/>
          <p:cNvCxnSpPr/>
          <p:nvPr userDrawn="1"/>
        </p:nvCxnSpPr>
        <p:spPr>
          <a:xfrm>
            <a:off x="-346674" y="6200775"/>
            <a:ext cx="2925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Box 22"/>
          <p:cNvSpPr txBox="1"/>
          <p:nvPr userDrawn="1"/>
        </p:nvSpPr>
        <p:spPr>
          <a:xfrm>
            <a:off x="980423" y="7019956"/>
            <a:ext cx="1170000" cy="226591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ctr"/>
            <a:r>
              <a:rPr lang="en-GB" sz="1000" smtClean="0">
                <a:solidFill>
                  <a:srgbClr val="333333"/>
                </a:solidFill>
              </a:rPr>
              <a:t>Max. width</a:t>
            </a:r>
          </a:p>
        </p:txBody>
      </p:sp>
      <p:sp>
        <p:nvSpPr>
          <p:cNvPr id="27" name="TextBox 26"/>
          <p:cNvSpPr txBox="1"/>
          <p:nvPr userDrawn="1"/>
        </p:nvSpPr>
        <p:spPr>
          <a:xfrm>
            <a:off x="-1224174" y="6266693"/>
            <a:ext cx="1170000" cy="226591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r"/>
            <a:r>
              <a:rPr lang="en-GB" sz="1000" smtClean="0">
                <a:solidFill>
                  <a:srgbClr val="333333"/>
                </a:solidFill>
              </a:rPr>
              <a:t>Max. height</a:t>
            </a:r>
          </a:p>
        </p:txBody>
      </p:sp>
      <p:cxnSp>
        <p:nvCxnSpPr>
          <p:cNvPr id="28" name="Straight Connector 27"/>
          <p:cNvCxnSpPr/>
          <p:nvPr userDrawn="1"/>
        </p:nvCxnSpPr>
        <p:spPr>
          <a:xfrm>
            <a:off x="681038" y="6953250"/>
            <a:ext cx="0" cy="360000"/>
          </a:xfrm>
          <a:prstGeom prst="line">
            <a:avLst/>
          </a:prstGeom>
          <a:ln>
            <a:head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Connector 28"/>
          <p:cNvCxnSpPr/>
          <p:nvPr userDrawn="1"/>
        </p:nvCxnSpPr>
        <p:spPr>
          <a:xfrm>
            <a:off x="-346674" y="6559200"/>
            <a:ext cx="292500" cy="0"/>
          </a:xfrm>
          <a:prstGeom prst="line">
            <a:avLst/>
          </a:prstGeom>
          <a:ln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6" name="Group 55"/>
          <p:cNvGrpSpPr/>
          <p:nvPr userDrawn="1"/>
        </p:nvGrpSpPr>
        <p:grpSpPr bwMode="gray">
          <a:xfrm>
            <a:off x="-1653580" y="0"/>
            <a:ext cx="1521000" cy="4689612"/>
            <a:chOff x="-2581275" y="595116"/>
            <a:chExt cx="1872000" cy="4689612"/>
          </a:xfrm>
        </p:grpSpPr>
        <p:sp>
          <p:nvSpPr>
            <p:cNvPr id="57" name="Rectangle 104"/>
            <p:cNvSpPr>
              <a:spLocks noChangeArrowheads="1"/>
            </p:cNvSpPr>
            <p:nvPr/>
          </p:nvSpPr>
          <p:spPr bwMode="gray">
            <a:xfrm>
              <a:off x="-2581275" y="4276728"/>
              <a:ext cx="1872000" cy="100800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8" name="Rectangle 104"/>
            <p:cNvSpPr>
              <a:spLocks noChangeArrowheads="1"/>
            </p:cNvSpPr>
            <p:nvPr userDrawn="1"/>
          </p:nvSpPr>
          <p:spPr bwMode="gray">
            <a:xfrm>
              <a:off x="-2581275" y="595116"/>
              <a:ext cx="1872000" cy="3672087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9" name="Rectangle 105"/>
            <p:cNvSpPr>
              <a:spLocks noChangeArrowheads="1"/>
            </p:cNvSpPr>
            <p:nvPr userDrawn="1"/>
          </p:nvSpPr>
          <p:spPr bwMode="gray">
            <a:xfrm>
              <a:off x="-2449513" y="1136650"/>
              <a:ext cx="215900" cy="215900"/>
            </a:xfrm>
            <a:prstGeom prst="rect">
              <a:avLst/>
            </a:prstGeom>
            <a:solidFill>
              <a:srgbClr val="FF6200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0" name="Rectangle 106"/>
            <p:cNvSpPr>
              <a:spLocks noChangeArrowheads="1"/>
            </p:cNvSpPr>
            <p:nvPr userDrawn="1"/>
          </p:nvSpPr>
          <p:spPr bwMode="gray">
            <a:xfrm>
              <a:off x="-2159000" y="1146175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Orang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55, 98, 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1" name="Rectangle 107"/>
            <p:cNvSpPr>
              <a:spLocks noChangeArrowheads="1"/>
            </p:cNvSpPr>
            <p:nvPr userDrawn="1"/>
          </p:nvSpPr>
          <p:spPr bwMode="gray">
            <a:xfrm>
              <a:off x="-2449513" y="1571626"/>
              <a:ext cx="215900" cy="215900"/>
            </a:xfrm>
            <a:prstGeom prst="rect">
              <a:avLst/>
            </a:prstGeom>
            <a:solidFill>
              <a:srgbClr val="A8A8A8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2" name="Rectangle 108"/>
            <p:cNvSpPr>
              <a:spLocks noChangeArrowheads="1"/>
            </p:cNvSpPr>
            <p:nvPr userDrawn="1"/>
          </p:nvSpPr>
          <p:spPr bwMode="gray">
            <a:xfrm>
              <a:off x="-2159000" y="15970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ght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68, 168, 16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3" name="Rectangle 109"/>
            <p:cNvSpPr>
              <a:spLocks noChangeArrowheads="1"/>
            </p:cNvSpPr>
            <p:nvPr userDrawn="1"/>
          </p:nvSpPr>
          <p:spPr bwMode="gray">
            <a:xfrm>
              <a:off x="-2449513" y="2058988"/>
              <a:ext cx="215900" cy="215900"/>
            </a:xfrm>
            <a:prstGeom prst="rect">
              <a:avLst/>
            </a:prstGeom>
            <a:solidFill>
              <a:srgbClr val="52519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4" name="Rectangle 110"/>
            <p:cNvSpPr>
              <a:spLocks noChangeArrowheads="1"/>
            </p:cNvSpPr>
            <p:nvPr userDrawn="1"/>
          </p:nvSpPr>
          <p:spPr bwMode="gray">
            <a:xfrm>
              <a:off x="-2159000" y="2068513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Indigo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82, 81, 153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5" name="Rectangle 111"/>
            <p:cNvSpPr>
              <a:spLocks noChangeArrowheads="1"/>
            </p:cNvSpPr>
            <p:nvPr userDrawn="1"/>
          </p:nvSpPr>
          <p:spPr bwMode="gray">
            <a:xfrm>
              <a:off x="-2449513" y="2527301"/>
              <a:ext cx="215900" cy="215900"/>
            </a:xfrm>
            <a:prstGeom prst="rect">
              <a:avLst/>
            </a:prstGeom>
            <a:solidFill>
              <a:srgbClr val="60A6DA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6" name="Rectangle 112"/>
            <p:cNvSpPr>
              <a:spLocks noChangeArrowheads="1"/>
            </p:cNvSpPr>
            <p:nvPr userDrawn="1"/>
          </p:nvSpPr>
          <p:spPr bwMode="gray">
            <a:xfrm>
              <a:off x="-2159000" y="25368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Sk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96, 166, 2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7" name="Rectangle 113"/>
            <p:cNvSpPr>
              <a:spLocks noChangeArrowheads="1"/>
            </p:cNvSpPr>
            <p:nvPr userDrawn="1"/>
          </p:nvSpPr>
          <p:spPr bwMode="gray">
            <a:xfrm>
              <a:off x="-2449513" y="762000"/>
              <a:ext cx="1692000" cy="165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90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200" b="1" smtClean="0">
                  <a:solidFill>
                    <a:srgbClr val="333333"/>
                  </a:solidFill>
                </a:rPr>
                <a:t>Colour Guidelines</a:t>
              </a:r>
              <a:endParaRPr lang="en-GB" altLang="en-US" sz="1200" b="1">
                <a:solidFill>
                  <a:srgbClr val="333333"/>
                </a:solidFill>
              </a:endParaRPr>
            </a:p>
          </p:txBody>
        </p:sp>
        <p:sp>
          <p:nvSpPr>
            <p:cNvPr id="68" name="Rectangle 107"/>
            <p:cNvSpPr>
              <a:spLocks noChangeArrowheads="1"/>
            </p:cNvSpPr>
            <p:nvPr/>
          </p:nvSpPr>
          <p:spPr bwMode="gray">
            <a:xfrm>
              <a:off x="-2449513" y="2962277"/>
              <a:ext cx="215900" cy="215900"/>
            </a:xfrm>
            <a:prstGeom prst="rect">
              <a:avLst/>
            </a:prstGeom>
            <a:solidFill>
              <a:srgbClr val="AB006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9" name="Rectangle 108"/>
            <p:cNvSpPr>
              <a:spLocks noChangeArrowheads="1"/>
            </p:cNvSpPr>
            <p:nvPr/>
          </p:nvSpPr>
          <p:spPr bwMode="gray">
            <a:xfrm>
              <a:off x="-2159000" y="29876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Fuchsia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71, 0, 102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70" name="Rectangle 109"/>
            <p:cNvSpPr>
              <a:spLocks noChangeArrowheads="1"/>
            </p:cNvSpPr>
            <p:nvPr/>
          </p:nvSpPr>
          <p:spPr bwMode="gray">
            <a:xfrm>
              <a:off x="-2449513" y="3449639"/>
              <a:ext cx="215900" cy="215900"/>
            </a:xfrm>
            <a:prstGeom prst="rect">
              <a:avLst/>
            </a:prstGeom>
            <a:solidFill>
              <a:srgbClr val="D0D93C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71" name="Rectangle 110"/>
            <p:cNvSpPr>
              <a:spLocks noChangeArrowheads="1"/>
            </p:cNvSpPr>
            <p:nvPr/>
          </p:nvSpPr>
          <p:spPr bwMode="gray">
            <a:xfrm>
              <a:off x="-2159000" y="3459164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m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08, 217, 6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72" name="Rectangle 111"/>
            <p:cNvSpPr>
              <a:spLocks noChangeArrowheads="1"/>
            </p:cNvSpPr>
            <p:nvPr/>
          </p:nvSpPr>
          <p:spPr bwMode="gray">
            <a:xfrm>
              <a:off x="-2449513" y="3917952"/>
              <a:ext cx="215900" cy="215900"/>
            </a:xfrm>
            <a:prstGeom prst="rect">
              <a:avLst/>
            </a:prstGeom>
            <a:solidFill>
              <a:srgbClr val="01964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73" name="Rectangle 112"/>
            <p:cNvSpPr>
              <a:spLocks noChangeArrowheads="1"/>
            </p:cNvSpPr>
            <p:nvPr/>
          </p:nvSpPr>
          <p:spPr bwMode="gray">
            <a:xfrm>
              <a:off x="-2159000" y="39274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eaf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2, 150, 8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74" name="Rectangle 109"/>
            <p:cNvSpPr>
              <a:spLocks noChangeArrowheads="1"/>
            </p:cNvSpPr>
            <p:nvPr/>
          </p:nvSpPr>
          <p:spPr bwMode="gray">
            <a:xfrm>
              <a:off x="-2449513" y="4405314"/>
              <a:ext cx="215900" cy="215900"/>
            </a:xfrm>
            <a:prstGeom prst="rect">
              <a:avLst/>
            </a:prstGeom>
            <a:solidFill>
              <a:srgbClr val="76767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75" name="Rectangle 110"/>
            <p:cNvSpPr>
              <a:spLocks noChangeArrowheads="1"/>
            </p:cNvSpPr>
            <p:nvPr/>
          </p:nvSpPr>
          <p:spPr bwMode="gray">
            <a:xfrm>
              <a:off x="-2159000" y="4414839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Mid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18, 118, 1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76" name="Rectangle 111"/>
            <p:cNvSpPr>
              <a:spLocks noChangeArrowheads="1"/>
            </p:cNvSpPr>
            <p:nvPr/>
          </p:nvSpPr>
          <p:spPr bwMode="gray">
            <a:xfrm>
              <a:off x="-2449513" y="4873627"/>
              <a:ext cx="215900" cy="215900"/>
            </a:xfrm>
            <a:prstGeom prst="rect">
              <a:avLst/>
            </a:prstGeom>
            <a:solidFill>
              <a:srgbClr val="333333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77" name="Rectangle 112"/>
            <p:cNvSpPr>
              <a:spLocks noChangeArrowheads="1"/>
            </p:cNvSpPr>
            <p:nvPr/>
          </p:nvSpPr>
          <p:spPr bwMode="gray">
            <a:xfrm>
              <a:off x="-2159000" y="4883152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Text Colour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1, 51, 5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</p:grpSp>
      <p:pic>
        <p:nvPicPr>
          <p:cNvPr id="44" name="Picture 43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466554" y="4402733"/>
            <a:ext cx="125761" cy="138908"/>
          </a:xfrm>
          <a:prstGeom prst="rect">
            <a:avLst/>
          </a:prstGeom>
        </p:spPr>
      </p:pic>
      <p:sp>
        <p:nvSpPr>
          <p:cNvPr id="46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684478" y="4381898"/>
            <a:ext cx="3963375" cy="216000"/>
          </a:xfrm>
        </p:spPr>
        <p:txBody>
          <a:bodyPr tIns="0" bIns="0"/>
          <a:lstStyle>
            <a:lvl1pPr marL="0" indent="0" algn="l">
              <a:lnSpc>
                <a:spcPts val="1350"/>
              </a:lnSpc>
              <a:buNone/>
              <a:defRPr sz="1350">
                <a:solidFill>
                  <a:srgbClr val="000000"/>
                </a:solidFill>
                <a:latin typeface="+mn-lt"/>
              </a:defRPr>
            </a:lvl1pPr>
            <a:lvl2pPr>
              <a:defRPr sz="2200">
                <a:solidFill>
                  <a:srgbClr val="000000"/>
                </a:solidFill>
              </a:defRPr>
            </a:lvl2pPr>
            <a:lvl3pPr>
              <a:defRPr sz="2200">
                <a:solidFill>
                  <a:srgbClr val="000000"/>
                </a:solidFill>
              </a:defRPr>
            </a:lvl3pPr>
            <a:lvl4pPr>
              <a:defRPr sz="2200">
                <a:solidFill>
                  <a:srgbClr val="000000"/>
                </a:solidFill>
              </a:defRPr>
            </a:lvl4pPr>
            <a:lvl5pPr>
              <a:defRPr sz="2200">
                <a:solidFill>
                  <a:srgbClr val="000000"/>
                </a:solidFill>
              </a:defRPr>
            </a:lvl5pPr>
          </a:lstStyle>
          <a:p>
            <a:pPr lvl="0"/>
            <a:r>
              <a:rPr lang="en-GB" noProof="0" dirty="0" smtClean="0"/>
              <a:t>Click to edit location and date</a:t>
            </a:r>
          </a:p>
        </p:txBody>
      </p:sp>
      <p:grpSp>
        <p:nvGrpSpPr>
          <p:cNvPr id="45" name="Group 44"/>
          <p:cNvGrpSpPr/>
          <p:nvPr userDrawn="1"/>
        </p:nvGrpSpPr>
        <p:grpSpPr>
          <a:xfrm>
            <a:off x="8733699" y="-133099"/>
            <a:ext cx="1170834" cy="1565166"/>
            <a:chOff x="5364088" y="4720073"/>
            <a:chExt cx="1441027" cy="1565166"/>
          </a:xfrm>
        </p:grpSpPr>
        <p:sp>
          <p:nvSpPr>
            <p:cNvPr id="47" name="Freeform 5"/>
            <p:cNvSpPr>
              <a:spLocks/>
            </p:cNvSpPr>
            <p:nvPr/>
          </p:nvSpPr>
          <p:spPr bwMode="gray">
            <a:xfrm>
              <a:off x="5364088" y="4844212"/>
              <a:ext cx="1441027" cy="1441027"/>
            </a:xfrm>
            <a:custGeom>
              <a:avLst/>
              <a:gdLst>
                <a:gd name="T0" fmla="*/ 0 w 810"/>
                <a:gd name="T1" fmla="*/ 0 h 810"/>
                <a:gd name="T2" fmla="*/ 810 w 810"/>
                <a:gd name="T3" fmla="*/ 810 h 810"/>
                <a:gd name="T4" fmla="*/ 810 w 810"/>
                <a:gd name="T5" fmla="*/ 536 h 810"/>
                <a:gd name="T6" fmla="*/ 274 w 810"/>
                <a:gd name="T7" fmla="*/ 0 h 810"/>
                <a:gd name="T8" fmla="*/ 0 w 810"/>
                <a:gd name="T9" fmla="*/ 0 h 8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10" h="810">
                  <a:moveTo>
                    <a:pt x="0" y="0"/>
                  </a:moveTo>
                  <a:lnTo>
                    <a:pt x="810" y="810"/>
                  </a:lnTo>
                  <a:lnTo>
                    <a:pt x="810" y="536"/>
                  </a:lnTo>
                  <a:lnTo>
                    <a:pt x="274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17A7DC"/>
            </a:solidFill>
            <a:ln w="3175">
              <a:solidFill>
                <a:srgbClr val="17A7DC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>
                <a:solidFill>
                  <a:srgbClr val="333333"/>
                </a:solidFill>
              </a:endParaRPr>
            </a:p>
          </p:txBody>
        </p:sp>
        <p:sp>
          <p:nvSpPr>
            <p:cNvPr id="48" name="Title 14"/>
            <p:cNvSpPr txBox="1">
              <a:spLocks/>
            </p:cNvSpPr>
            <p:nvPr userDrawn="1"/>
          </p:nvSpPr>
          <p:spPr bwMode="gray">
            <a:xfrm rot="2700000">
              <a:off x="5481455" y="5320862"/>
              <a:ext cx="1447800" cy="246221"/>
            </a:xfrm>
            <a:prstGeom prst="rect">
              <a:avLst/>
            </a:prstGeom>
          </p:spPr>
          <p:txBody>
            <a:bodyPr vert="horz" wrap="none" lIns="0" tIns="0" rIns="0" bIns="0" rtlCol="0" anchor="ctr" anchorCtr="0">
              <a:noAutofit/>
            </a:bodyPr>
            <a:lstStyle>
              <a:lvl1pPr algn="l" defTabSz="914400" rtl="0" eaLnBrk="1" latinLnBrk="0" hangingPunct="1">
                <a:lnSpc>
                  <a:spcPts val="4600"/>
                </a:lnSpc>
                <a:spcBef>
                  <a:spcPct val="0"/>
                </a:spcBef>
                <a:buNone/>
                <a:defRPr sz="4400" b="1" kern="1200" baseline="0">
                  <a:solidFill>
                    <a:schemeClr val="bg1"/>
                  </a:solidFill>
                  <a:latin typeface="+mj-lt"/>
                  <a:ea typeface="+mj-ea"/>
                  <a:cs typeface="Arial" panose="020B0604020202020204" pitchFamily="34" charset="0"/>
                </a:defRPr>
              </a:lvl1pPr>
            </a:lstStyle>
            <a:p>
              <a:pPr algn="ctr">
                <a:lnSpc>
                  <a:spcPct val="100000"/>
                </a:lnSpc>
              </a:pPr>
              <a:r>
                <a:rPr lang="en-US" sz="1600" smtClean="0">
                  <a:solidFill>
                    <a:prstClr val="white"/>
                  </a:solidFill>
                </a:rPr>
                <a:t>Confidential</a:t>
              </a:r>
              <a:endParaRPr lang="en-GB" sz="1600" dirty="0">
                <a:solidFill>
                  <a:prstClr val="white"/>
                </a:solidFill>
              </a:endParaRPr>
            </a:p>
          </p:txBody>
        </p:sp>
      </p:grpSp>
      <p:sp>
        <p:nvSpPr>
          <p:cNvPr id="54" name="Picture Placeholder 53"/>
          <p:cNvSpPr>
            <a:spLocks noGrp="1"/>
          </p:cNvSpPr>
          <p:nvPr>
            <p:ph type="pic" sz="quarter" idx="12"/>
          </p:nvPr>
        </p:nvSpPr>
        <p:spPr bwMode="gray">
          <a:xfrm>
            <a:off x="-2580" y="2"/>
            <a:ext cx="9908580" cy="6024879"/>
          </a:xfrm>
          <a:custGeom>
            <a:avLst/>
            <a:gdLst>
              <a:gd name="connsiteX0" fmla="*/ 11239226 w 12195175"/>
              <a:gd name="connsiteY0" fmla="*/ 0 h 6024879"/>
              <a:gd name="connsiteX1" fmla="*/ 12195175 w 12195175"/>
              <a:gd name="connsiteY1" fmla="*/ 0 h 6024879"/>
              <a:gd name="connsiteX2" fmla="*/ 12195175 w 12195175"/>
              <a:gd name="connsiteY2" fmla="*/ 955949 h 6024879"/>
              <a:gd name="connsiteX3" fmla="*/ 0 w 12195175"/>
              <a:gd name="connsiteY3" fmla="*/ 0 h 6024879"/>
              <a:gd name="connsiteX4" fmla="*/ 10750550 w 12195175"/>
              <a:gd name="connsiteY4" fmla="*/ 0 h 6024879"/>
              <a:gd name="connsiteX5" fmla="*/ 12195175 w 12195175"/>
              <a:gd name="connsiteY5" fmla="*/ 1444625 h 6024879"/>
              <a:gd name="connsiteX6" fmla="*/ 12195175 w 12195175"/>
              <a:gd name="connsiteY6" fmla="*/ 6024879 h 6024879"/>
              <a:gd name="connsiteX7" fmla="*/ 0 w 12195175"/>
              <a:gd name="connsiteY7" fmla="*/ 6024879 h 6024879"/>
              <a:gd name="connsiteX8" fmla="*/ 0 w 12195175"/>
              <a:gd name="connsiteY8" fmla="*/ 4688798 h 6024879"/>
              <a:gd name="connsiteX9" fmla="*/ 3176 w 12195175"/>
              <a:gd name="connsiteY9" fmla="*/ 4688798 h 6024879"/>
              <a:gd name="connsiteX10" fmla="*/ 61412 w 12195175"/>
              <a:gd name="connsiteY10" fmla="*/ 4688798 h 6024879"/>
              <a:gd name="connsiteX11" fmla="*/ 530839 w 12195175"/>
              <a:gd name="connsiteY11" fmla="*/ 4688798 h 6024879"/>
              <a:gd name="connsiteX12" fmla="*/ 5811194 w 12195175"/>
              <a:gd name="connsiteY12" fmla="*/ 4688798 h 6024879"/>
              <a:gd name="connsiteX13" fmla="*/ 5912496 w 12195175"/>
              <a:gd name="connsiteY13" fmla="*/ 4587218 h 6024879"/>
              <a:gd name="connsiteX14" fmla="*/ 5912496 w 12195175"/>
              <a:gd name="connsiteY14" fmla="*/ 3918482 h 6024879"/>
              <a:gd name="connsiteX15" fmla="*/ 5912496 w 12195175"/>
              <a:gd name="connsiteY15" fmla="*/ 1744697 h 6024879"/>
              <a:gd name="connsiteX16" fmla="*/ 5811194 w 12195175"/>
              <a:gd name="connsiteY16" fmla="*/ 1643198 h 6024879"/>
              <a:gd name="connsiteX17" fmla="*/ 61412 w 12195175"/>
              <a:gd name="connsiteY17" fmla="*/ 1643198 h 6024879"/>
              <a:gd name="connsiteX18" fmla="*/ 3176 w 12195175"/>
              <a:gd name="connsiteY18" fmla="*/ 1643198 h 6024879"/>
              <a:gd name="connsiteX19" fmla="*/ 0 w 12195175"/>
              <a:gd name="connsiteY19" fmla="*/ 1643198 h 60248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12195175" h="6024879">
                <a:moveTo>
                  <a:pt x="11239226" y="0"/>
                </a:moveTo>
                <a:lnTo>
                  <a:pt x="12195175" y="0"/>
                </a:lnTo>
                <a:lnTo>
                  <a:pt x="12195175" y="955949"/>
                </a:lnTo>
                <a:close/>
                <a:moveTo>
                  <a:pt x="0" y="0"/>
                </a:moveTo>
                <a:lnTo>
                  <a:pt x="10750550" y="0"/>
                </a:lnTo>
                <a:lnTo>
                  <a:pt x="12195175" y="1444625"/>
                </a:lnTo>
                <a:lnTo>
                  <a:pt x="12195175" y="6024879"/>
                </a:lnTo>
                <a:lnTo>
                  <a:pt x="0" y="6024879"/>
                </a:lnTo>
                <a:lnTo>
                  <a:pt x="0" y="4688798"/>
                </a:lnTo>
                <a:lnTo>
                  <a:pt x="3176" y="4688798"/>
                </a:lnTo>
                <a:lnTo>
                  <a:pt x="61412" y="4688798"/>
                </a:lnTo>
                <a:lnTo>
                  <a:pt x="530839" y="4688798"/>
                </a:lnTo>
                <a:cubicBezTo>
                  <a:pt x="5811194" y="4688798"/>
                  <a:pt x="5811194" y="4688798"/>
                  <a:pt x="5811194" y="4688798"/>
                </a:cubicBezTo>
                <a:cubicBezTo>
                  <a:pt x="5811194" y="4688798"/>
                  <a:pt x="5912496" y="4688798"/>
                  <a:pt x="5912496" y="4587218"/>
                </a:cubicBezTo>
                <a:cubicBezTo>
                  <a:pt x="5912496" y="3918482"/>
                  <a:pt x="5912496" y="3918482"/>
                  <a:pt x="5912496" y="3918482"/>
                </a:cubicBezTo>
                <a:cubicBezTo>
                  <a:pt x="5912496" y="1744697"/>
                  <a:pt x="5912496" y="1744697"/>
                  <a:pt x="5912496" y="1744697"/>
                </a:cubicBezTo>
                <a:cubicBezTo>
                  <a:pt x="5912496" y="1744697"/>
                  <a:pt x="5912496" y="1643198"/>
                  <a:pt x="5811194" y="1643198"/>
                </a:cubicBezTo>
                <a:lnTo>
                  <a:pt x="61412" y="1643198"/>
                </a:lnTo>
                <a:lnTo>
                  <a:pt x="3176" y="1643198"/>
                </a:lnTo>
                <a:lnTo>
                  <a:pt x="0" y="1643198"/>
                </a:lnTo>
                <a:close/>
              </a:path>
            </a:pathLst>
          </a:custGeom>
          <a:solidFill>
            <a:srgbClr val="E9E9E9">
              <a:alpha val="10000"/>
            </a:srgbClr>
          </a:solidFill>
        </p:spPr>
        <p:txBody>
          <a:bodyPr wrap="square" lIns="2880000" tIns="0" anchor="ctr" anchorCtr="0">
            <a:noAutofit/>
          </a:bodyPr>
          <a:lstStyle>
            <a:lvl1pPr algn="ctr">
              <a:defRPr sz="1400" b="0"/>
            </a:lvl1pPr>
          </a:lstStyle>
          <a:p>
            <a:r>
              <a:rPr lang="nl-NL" smtClean="0"/>
              <a:t>Klik op het pictogram als u een afbeelding wilt toevoege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1291501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="" xmlns:p15="http://schemas.microsoft.com/office/powerpoint/2012/main">
        <p15:guide id="1" orient="horz" pos="4135" userDrawn="1">
          <p15:clr>
            <a:srgbClr val="FBAE40"/>
          </p15:clr>
        </p15:guide>
      </p15:sldGuideLst>
    </p:ext>
  </p:extLs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F Title Slide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5" name="Group 34"/>
          <p:cNvGrpSpPr/>
          <p:nvPr userDrawn="1"/>
        </p:nvGrpSpPr>
        <p:grpSpPr bwMode="gray">
          <a:xfrm>
            <a:off x="1" y="1643200"/>
            <a:ext cx="9213354" cy="3055937"/>
            <a:chOff x="409575" y="3144838"/>
            <a:chExt cx="11339513" cy="3055937"/>
          </a:xfrm>
        </p:grpSpPr>
        <p:sp>
          <p:nvSpPr>
            <p:cNvPr id="37" name="Freeform 5"/>
            <p:cNvSpPr>
              <a:spLocks/>
            </p:cNvSpPr>
            <p:nvPr/>
          </p:nvSpPr>
          <p:spPr bwMode="gray">
            <a:xfrm>
              <a:off x="409575" y="5521325"/>
              <a:ext cx="11339513" cy="679450"/>
            </a:xfrm>
            <a:custGeom>
              <a:avLst/>
              <a:gdLst>
                <a:gd name="T0" fmla="*/ 0 w 2680"/>
                <a:gd name="T1" fmla="*/ 0 h 160"/>
                <a:gd name="T2" fmla="*/ 0 w 2680"/>
                <a:gd name="T3" fmla="*/ 160 h 160"/>
                <a:gd name="T4" fmla="*/ 2656 w 2680"/>
                <a:gd name="T5" fmla="*/ 160 h 160"/>
                <a:gd name="T6" fmla="*/ 2680 w 2680"/>
                <a:gd name="T7" fmla="*/ 136 h 160"/>
                <a:gd name="T8" fmla="*/ 2680 w 2680"/>
                <a:gd name="T9" fmla="*/ 0 h 160"/>
                <a:gd name="T10" fmla="*/ 0 w 2680"/>
                <a:gd name="T11" fmla="*/ 0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80" h="160">
                  <a:moveTo>
                    <a:pt x="0" y="0"/>
                  </a:moveTo>
                  <a:cubicBezTo>
                    <a:pt x="0" y="160"/>
                    <a:pt x="0" y="160"/>
                    <a:pt x="0" y="160"/>
                  </a:cubicBezTo>
                  <a:cubicBezTo>
                    <a:pt x="2656" y="160"/>
                    <a:pt x="2656" y="160"/>
                    <a:pt x="2656" y="160"/>
                  </a:cubicBezTo>
                  <a:cubicBezTo>
                    <a:pt x="2656" y="160"/>
                    <a:pt x="2680" y="160"/>
                    <a:pt x="2680" y="136"/>
                  </a:cubicBezTo>
                  <a:cubicBezTo>
                    <a:pt x="2680" y="0"/>
                    <a:pt x="2680" y="0"/>
                    <a:pt x="2680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EAEAE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333333"/>
                </a:solidFill>
              </a:endParaRPr>
            </a:p>
          </p:txBody>
        </p:sp>
        <p:sp>
          <p:nvSpPr>
            <p:cNvPr id="39" name="Freeform 6"/>
            <p:cNvSpPr>
              <a:spLocks/>
            </p:cNvSpPr>
            <p:nvPr/>
          </p:nvSpPr>
          <p:spPr bwMode="gray">
            <a:xfrm>
              <a:off x="409575" y="3144838"/>
              <a:ext cx="11339513" cy="2376487"/>
            </a:xfrm>
            <a:custGeom>
              <a:avLst/>
              <a:gdLst>
                <a:gd name="T0" fmla="*/ 0 w 2680"/>
                <a:gd name="T1" fmla="*/ 0 h 560"/>
                <a:gd name="T2" fmla="*/ 0 w 2680"/>
                <a:gd name="T3" fmla="*/ 560 h 560"/>
                <a:gd name="T4" fmla="*/ 2680 w 2680"/>
                <a:gd name="T5" fmla="*/ 560 h 560"/>
                <a:gd name="T6" fmla="*/ 2680 w 2680"/>
                <a:gd name="T7" fmla="*/ 24 h 560"/>
                <a:gd name="T8" fmla="*/ 2656 w 2680"/>
                <a:gd name="T9" fmla="*/ 0 h 560"/>
                <a:gd name="T10" fmla="*/ 0 w 2680"/>
                <a:gd name="T11" fmla="*/ 0 h 5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80" h="560">
                  <a:moveTo>
                    <a:pt x="0" y="0"/>
                  </a:moveTo>
                  <a:cubicBezTo>
                    <a:pt x="0" y="560"/>
                    <a:pt x="0" y="560"/>
                    <a:pt x="0" y="560"/>
                  </a:cubicBezTo>
                  <a:cubicBezTo>
                    <a:pt x="2680" y="560"/>
                    <a:pt x="2680" y="560"/>
                    <a:pt x="2680" y="560"/>
                  </a:cubicBezTo>
                  <a:cubicBezTo>
                    <a:pt x="2680" y="24"/>
                    <a:pt x="2680" y="24"/>
                    <a:pt x="2680" y="24"/>
                  </a:cubicBezTo>
                  <a:cubicBezTo>
                    <a:pt x="2680" y="24"/>
                    <a:pt x="2680" y="0"/>
                    <a:pt x="2656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F62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333333"/>
                </a:solidFill>
              </a:endParaRPr>
            </a:p>
          </p:txBody>
        </p:sp>
      </p:grpSp>
      <p:sp>
        <p:nvSpPr>
          <p:cNvPr id="8" name="Rectangle 7"/>
          <p:cNvSpPr/>
          <p:nvPr userDrawn="1"/>
        </p:nvSpPr>
        <p:spPr bwMode="gray">
          <a:xfrm>
            <a:off x="1" y="6024880"/>
            <a:ext cx="9904532" cy="8331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2400">
              <a:solidFill>
                <a:prstClr val="white"/>
              </a:solidFill>
            </a:endParaRPr>
          </a:p>
        </p:txBody>
      </p:sp>
      <p:sp>
        <p:nvSpPr>
          <p:cNvPr id="25" name="Title 1"/>
          <p:cNvSpPr>
            <a:spLocks noGrp="1"/>
          </p:cNvSpPr>
          <p:nvPr>
            <p:ph type="ctrTitle"/>
          </p:nvPr>
        </p:nvSpPr>
        <p:spPr bwMode="gray">
          <a:xfrm>
            <a:off x="684477" y="2116801"/>
            <a:ext cx="8379482" cy="1227573"/>
          </a:xfrm>
        </p:spPr>
        <p:txBody>
          <a:bodyPr anchor="ctr" anchorCtr="0">
            <a:noAutofit/>
          </a:bodyPr>
          <a:lstStyle>
            <a:lvl1pPr algn="l">
              <a:lnSpc>
                <a:spcPts val="4600"/>
              </a:lnSpc>
              <a:defRPr sz="4600">
                <a:solidFill>
                  <a:schemeClr val="bg1"/>
                </a:solidFill>
              </a:defRPr>
            </a:lvl1pPr>
          </a:lstStyle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  <p:sp>
        <p:nvSpPr>
          <p:cNvPr id="26" name="Subtitle 2"/>
          <p:cNvSpPr>
            <a:spLocks noGrp="1"/>
          </p:cNvSpPr>
          <p:nvPr>
            <p:ph type="subTitle" idx="1"/>
          </p:nvPr>
        </p:nvSpPr>
        <p:spPr bwMode="gray">
          <a:xfrm>
            <a:off x="684477" y="4240704"/>
            <a:ext cx="5754721" cy="306798"/>
          </a:xfrm>
        </p:spPr>
        <p:txBody>
          <a:bodyPr anchor="ctr" anchorCtr="0">
            <a:noAutofit/>
          </a:bodyPr>
          <a:lstStyle>
            <a:lvl1pPr marL="0" indent="0" algn="l">
              <a:lnSpc>
                <a:spcPts val="2200"/>
              </a:lnSpc>
              <a:buNone/>
              <a:defRPr sz="2000" b="0" i="0"/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nl-NL" noProof="0" smtClean="0"/>
              <a:t>Klik om de ondertitelstijl van het model te bewerken</a:t>
            </a:r>
            <a:endParaRPr lang="en-GB" noProof="0" dirty="0"/>
          </a:p>
        </p:txBody>
      </p:sp>
      <p:sp>
        <p:nvSpPr>
          <p:cNvPr id="27" name="Text Placeholder 6"/>
          <p:cNvSpPr>
            <a:spLocks noGrp="1"/>
          </p:cNvSpPr>
          <p:nvPr>
            <p:ph type="body" sz="quarter" idx="11"/>
          </p:nvPr>
        </p:nvSpPr>
        <p:spPr bwMode="gray">
          <a:xfrm>
            <a:off x="684450" y="3556801"/>
            <a:ext cx="8373361" cy="385233"/>
          </a:xfrm>
        </p:spPr>
        <p:txBody>
          <a:bodyPr>
            <a:noAutofit/>
          </a:bodyPr>
          <a:lstStyle>
            <a:lvl1pPr>
              <a:lnSpc>
                <a:spcPts val="2200"/>
              </a:lnSpc>
              <a:defRPr sz="220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noProof="0" smtClean="0"/>
              <a:t>Klik om de modelstijlen te bewerken</a:t>
            </a:r>
          </a:p>
        </p:txBody>
      </p:sp>
      <p:pic>
        <p:nvPicPr>
          <p:cNvPr id="38" name="Picture 3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28199" y="6203775"/>
            <a:ext cx="1233535" cy="378000"/>
          </a:xfrm>
          <a:prstGeom prst="rect">
            <a:avLst/>
          </a:prstGeom>
        </p:spPr>
      </p:pic>
      <p:pic>
        <p:nvPicPr>
          <p:cNvPr id="13" name="Picture Placeholder 36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/>
        </p:blipFill>
        <p:spPr bwMode="gray">
          <a:xfrm>
            <a:off x="681038" y="6291858"/>
            <a:ext cx="1784250" cy="287825"/>
          </a:xfrm>
          <a:prstGeom prst="rect">
            <a:avLst/>
          </a:prstGeom>
        </p:spPr>
      </p:pic>
      <p:grpSp>
        <p:nvGrpSpPr>
          <p:cNvPr id="44" name="Group 43"/>
          <p:cNvGrpSpPr/>
          <p:nvPr userDrawn="1"/>
        </p:nvGrpSpPr>
        <p:grpSpPr bwMode="gray">
          <a:xfrm>
            <a:off x="-1653580" y="0"/>
            <a:ext cx="1521000" cy="4689612"/>
            <a:chOff x="-2581275" y="595116"/>
            <a:chExt cx="1872000" cy="4689612"/>
          </a:xfrm>
        </p:grpSpPr>
        <p:sp>
          <p:nvSpPr>
            <p:cNvPr id="45" name="Rectangle 104"/>
            <p:cNvSpPr>
              <a:spLocks noChangeArrowheads="1"/>
            </p:cNvSpPr>
            <p:nvPr/>
          </p:nvSpPr>
          <p:spPr bwMode="gray">
            <a:xfrm>
              <a:off x="-2581275" y="4276728"/>
              <a:ext cx="1872000" cy="100800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46" name="Rectangle 104"/>
            <p:cNvSpPr>
              <a:spLocks noChangeArrowheads="1"/>
            </p:cNvSpPr>
            <p:nvPr userDrawn="1"/>
          </p:nvSpPr>
          <p:spPr bwMode="gray">
            <a:xfrm>
              <a:off x="-2581275" y="595116"/>
              <a:ext cx="1872000" cy="3672087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47" name="Rectangle 105"/>
            <p:cNvSpPr>
              <a:spLocks noChangeArrowheads="1"/>
            </p:cNvSpPr>
            <p:nvPr userDrawn="1"/>
          </p:nvSpPr>
          <p:spPr bwMode="gray">
            <a:xfrm>
              <a:off x="-2449513" y="1136650"/>
              <a:ext cx="215900" cy="215900"/>
            </a:xfrm>
            <a:prstGeom prst="rect">
              <a:avLst/>
            </a:prstGeom>
            <a:solidFill>
              <a:srgbClr val="FF6200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48" name="Rectangle 106"/>
            <p:cNvSpPr>
              <a:spLocks noChangeArrowheads="1"/>
            </p:cNvSpPr>
            <p:nvPr userDrawn="1"/>
          </p:nvSpPr>
          <p:spPr bwMode="gray">
            <a:xfrm>
              <a:off x="-2159000" y="1146175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Orang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55, 98, 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49" name="Rectangle 107"/>
            <p:cNvSpPr>
              <a:spLocks noChangeArrowheads="1"/>
            </p:cNvSpPr>
            <p:nvPr userDrawn="1"/>
          </p:nvSpPr>
          <p:spPr bwMode="gray">
            <a:xfrm>
              <a:off x="-2449513" y="1571626"/>
              <a:ext cx="215900" cy="215900"/>
            </a:xfrm>
            <a:prstGeom prst="rect">
              <a:avLst/>
            </a:prstGeom>
            <a:solidFill>
              <a:srgbClr val="A8A8A8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0" name="Rectangle 108"/>
            <p:cNvSpPr>
              <a:spLocks noChangeArrowheads="1"/>
            </p:cNvSpPr>
            <p:nvPr userDrawn="1"/>
          </p:nvSpPr>
          <p:spPr bwMode="gray">
            <a:xfrm>
              <a:off x="-2159000" y="15970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ght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68, 168, 16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1" name="Rectangle 109"/>
            <p:cNvSpPr>
              <a:spLocks noChangeArrowheads="1"/>
            </p:cNvSpPr>
            <p:nvPr userDrawn="1"/>
          </p:nvSpPr>
          <p:spPr bwMode="gray">
            <a:xfrm>
              <a:off x="-2449513" y="2058988"/>
              <a:ext cx="215900" cy="215900"/>
            </a:xfrm>
            <a:prstGeom prst="rect">
              <a:avLst/>
            </a:prstGeom>
            <a:solidFill>
              <a:srgbClr val="52519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2" name="Rectangle 110"/>
            <p:cNvSpPr>
              <a:spLocks noChangeArrowheads="1"/>
            </p:cNvSpPr>
            <p:nvPr userDrawn="1"/>
          </p:nvSpPr>
          <p:spPr bwMode="gray">
            <a:xfrm>
              <a:off x="-2159000" y="2068513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Indigo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82, 81, 153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3" name="Rectangle 111"/>
            <p:cNvSpPr>
              <a:spLocks noChangeArrowheads="1"/>
            </p:cNvSpPr>
            <p:nvPr userDrawn="1"/>
          </p:nvSpPr>
          <p:spPr bwMode="gray">
            <a:xfrm>
              <a:off x="-2449513" y="2527301"/>
              <a:ext cx="215900" cy="215900"/>
            </a:xfrm>
            <a:prstGeom prst="rect">
              <a:avLst/>
            </a:prstGeom>
            <a:solidFill>
              <a:srgbClr val="60A6DA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4" name="Rectangle 112"/>
            <p:cNvSpPr>
              <a:spLocks noChangeArrowheads="1"/>
            </p:cNvSpPr>
            <p:nvPr userDrawn="1"/>
          </p:nvSpPr>
          <p:spPr bwMode="gray">
            <a:xfrm>
              <a:off x="-2159000" y="25368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Sk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96, 166, 2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5" name="Rectangle 113"/>
            <p:cNvSpPr>
              <a:spLocks noChangeArrowheads="1"/>
            </p:cNvSpPr>
            <p:nvPr userDrawn="1"/>
          </p:nvSpPr>
          <p:spPr bwMode="gray">
            <a:xfrm>
              <a:off x="-2449513" y="762000"/>
              <a:ext cx="1692000" cy="165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90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200" b="1" smtClean="0">
                  <a:solidFill>
                    <a:srgbClr val="333333"/>
                  </a:solidFill>
                </a:rPr>
                <a:t>Colour Guidelines</a:t>
              </a:r>
              <a:endParaRPr lang="en-GB" altLang="en-US" sz="1200" b="1">
                <a:solidFill>
                  <a:srgbClr val="333333"/>
                </a:solidFill>
              </a:endParaRPr>
            </a:p>
          </p:txBody>
        </p:sp>
        <p:sp>
          <p:nvSpPr>
            <p:cNvPr id="56" name="Rectangle 107"/>
            <p:cNvSpPr>
              <a:spLocks noChangeArrowheads="1"/>
            </p:cNvSpPr>
            <p:nvPr/>
          </p:nvSpPr>
          <p:spPr bwMode="gray">
            <a:xfrm>
              <a:off x="-2449513" y="2962277"/>
              <a:ext cx="215900" cy="215900"/>
            </a:xfrm>
            <a:prstGeom prst="rect">
              <a:avLst/>
            </a:prstGeom>
            <a:solidFill>
              <a:srgbClr val="AB006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7" name="Rectangle 108"/>
            <p:cNvSpPr>
              <a:spLocks noChangeArrowheads="1"/>
            </p:cNvSpPr>
            <p:nvPr/>
          </p:nvSpPr>
          <p:spPr bwMode="gray">
            <a:xfrm>
              <a:off x="-2159000" y="29876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Fuchsia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71, 0, 102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8" name="Rectangle 109"/>
            <p:cNvSpPr>
              <a:spLocks noChangeArrowheads="1"/>
            </p:cNvSpPr>
            <p:nvPr/>
          </p:nvSpPr>
          <p:spPr bwMode="gray">
            <a:xfrm>
              <a:off x="-2449513" y="3449639"/>
              <a:ext cx="215900" cy="215900"/>
            </a:xfrm>
            <a:prstGeom prst="rect">
              <a:avLst/>
            </a:prstGeom>
            <a:solidFill>
              <a:srgbClr val="D0D93C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9" name="Rectangle 110"/>
            <p:cNvSpPr>
              <a:spLocks noChangeArrowheads="1"/>
            </p:cNvSpPr>
            <p:nvPr/>
          </p:nvSpPr>
          <p:spPr bwMode="gray">
            <a:xfrm>
              <a:off x="-2159000" y="3459164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m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08, 217, 6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0" name="Rectangle 111"/>
            <p:cNvSpPr>
              <a:spLocks noChangeArrowheads="1"/>
            </p:cNvSpPr>
            <p:nvPr/>
          </p:nvSpPr>
          <p:spPr bwMode="gray">
            <a:xfrm>
              <a:off x="-2449513" y="3917952"/>
              <a:ext cx="215900" cy="215900"/>
            </a:xfrm>
            <a:prstGeom prst="rect">
              <a:avLst/>
            </a:prstGeom>
            <a:solidFill>
              <a:srgbClr val="01964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1" name="Rectangle 112"/>
            <p:cNvSpPr>
              <a:spLocks noChangeArrowheads="1"/>
            </p:cNvSpPr>
            <p:nvPr/>
          </p:nvSpPr>
          <p:spPr bwMode="gray">
            <a:xfrm>
              <a:off x="-2159000" y="39274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eaf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2, 150, 8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2" name="Rectangle 109"/>
            <p:cNvSpPr>
              <a:spLocks noChangeArrowheads="1"/>
            </p:cNvSpPr>
            <p:nvPr/>
          </p:nvSpPr>
          <p:spPr bwMode="gray">
            <a:xfrm>
              <a:off x="-2449513" y="4405314"/>
              <a:ext cx="215900" cy="215900"/>
            </a:xfrm>
            <a:prstGeom prst="rect">
              <a:avLst/>
            </a:prstGeom>
            <a:solidFill>
              <a:srgbClr val="76767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3" name="Rectangle 110"/>
            <p:cNvSpPr>
              <a:spLocks noChangeArrowheads="1"/>
            </p:cNvSpPr>
            <p:nvPr/>
          </p:nvSpPr>
          <p:spPr bwMode="gray">
            <a:xfrm>
              <a:off x="-2159000" y="4414839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Mid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18, 118, 1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4" name="Rectangle 111"/>
            <p:cNvSpPr>
              <a:spLocks noChangeArrowheads="1"/>
            </p:cNvSpPr>
            <p:nvPr/>
          </p:nvSpPr>
          <p:spPr bwMode="gray">
            <a:xfrm>
              <a:off x="-2449513" y="4873627"/>
              <a:ext cx="215900" cy="215900"/>
            </a:xfrm>
            <a:prstGeom prst="rect">
              <a:avLst/>
            </a:prstGeom>
            <a:solidFill>
              <a:srgbClr val="333333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5" name="Rectangle 112"/>
            <p:cNvSpPr>
              <a:spLocks noChangeArrowheads="1"/>
            </p:cNvSpPr>
            <p:nvPr/>
          </p:nvSpPr>
          <p:spPr bwMode="gray">
            <a:xfrm>
              <a:off x="-2159000" y="4883152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Text Colour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1, 51, 5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</p:grpSp>
      <p:pic>
        <p:nvPicPr>
          <p:cNvPr id="34" name="Picture 33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466554" y="4402733"/>
            <a:ext cx="125761" cy="138908"/>
          </a:xfrm>
          <a:prstGeom prst="rect">
            <a:avLst/>
          </a:prstGeom>
        </p:spPr>
      </p:pic>
      <p:sp>
        <p:nvSpPr>
          <p:cNvPr id="36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6636209" y="4291504"/>
            <a:ext cx="2427750" cy="275612"/>
          </a:xfrm>
        </p:spPr>
        <p:txBody>
          <a:bodyPr tIns="0" bIns="0"/>
          <a:lstStyle>
            <a:lvl1pPr marL="0" indent="0" algn="r">
              <a:lnSpc>
                <a:spcPct val="100000"/>
              </a:lnSpc>
              <a:buNone/>
              <a:defRPr sz="1500">
                <a:solidFill>
                  <a:srgbClr val="000000"/>
                </a:solidFill>
                <a:latin typeface="+mn-lt"/>
              </a:defRPr>
            </a:lvl1pPr>
            <a:lvl2pPr>
              <a:defRPr sz="2200">
                <a:solidFill>
                  <a:srgbClr val="000000"/>
                </a:solidFill>
              </a:defRPr>
            </a:lvl2pPr>
            <a:lvl3pPr>
              <a:defRPr sz="2200">
                <a:solidFill>
                  <a:srgbClr val="000000"/>
                </a:solidFill>
              </a:defRPr>
            </a:lvl3pPr>
            <a:lvl4pPr>
              <a:defRPr sz="2200">
                <a:solidFill>
                  <a:srgbClr val="000000"/>
                </a:solidFill>
              </a:defRPr>
            </a:lvl4pPr>
            <a:lvl5pPr>
              <a:defRPr sz="2200">
                <a:solidFill>
                  <a:srgbClr val="000000"/>
                </a:solidFill>
              </a:defRPr>
            </a:lvl5pPr>
          </a:lstStyle>
          <a:p>
            <a:pPr lvl="0"/>
            <a:r>
              <a:rPr lang="en-GB" noProof="0" dirty="0" smtClean="0"/>
              <a:t>Click to edit location and date</a:t>
            </a:r>
          </a:p>
        </p:txBody>
      </p:sp>
    </p:spTree>
    <p:extLst>
      <p:ext uri="{BB962C8B-B14F-4D97-AF65-F5344CB8AC3E}">
        <p14:creationId xmlns:p14="http://schemas.microsoft.com/office/powerpoint/2010/main" val="738835930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="" xmlns:p15="http://schemas.microsoft.com/office/powerpoint/2012/main">
        <p15:guide id="1" orient="horz" pos="4135">
          <p15:clr>
            <a:srgbClr val="FBAE40"/>
          </p15:clr>
        </p15:guide>
      </p15:sldGuideLst>
    </p:ext>
  </p:extLs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F Title Slide Full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4" name="Group 73"/>
          <p:cNvGrpSpPr>
            <a:grpSpLocks noChangeAspect="1"/>
          </p:cNvGrpSpPr>
          <p:nvPr userDrawn="1"/>
        </p:nvGrpSpPr>
        <p:grpSpPr bwMode="gray">
          <a:xfrm>
            <a:off x="0" y="1643199"/>
            <a:ext cx="4801323" cy="3045600"/>
            <a:chOff x="3465513" y="2070100"/>
            <a:chExt cx="5260975" cy="2711450"/>
          </a:xfrm>
        </p:grpSpPr>
        <p:sp>
          <p:nvSpPr>
            <p:cNvPr id="75" name="Freeform 5"/>
            <p:cNvSpPr>
              <a:spLocks/>
            </p:cNvSpPr>
            <p:nvPr userDrawn="1"/>
          </p:nvSpPr>
          <p:spPr bwMode="gray">
            <a:xfrm>
              <a:off x="3465513" y="4095750"/>
              <a:ext cx="5260975" cy="685800"/>
            </a:xfrm>
            <a:custGeom>
              <a:avLst/>
              <a:gdLst>
                <a:gd name="T0" fmla="*/ 0 w 1400"/>
                <a:gd name="T1" fmla="*/ 0 h 182"/>
                <a:gd name="T2" fmla="*/ 0 w 1400"/>
                <a:gd name="T3" fmla="*/ 182 h 182"/>
                <a:gd name="T4" fmla="*/ 1376 w 1400"/>
                <a:gd name="T5" fmla="*/ 182 h 182"/>
                <a:gd name="T6" fmla="*/ 1400 w 1400"/>
                <a:gd name="T7" fmla="*/ 158 h 182"/>
                <a:gd name="T8" fmla="*/ 1400 w 1400"/>
                <a:gd name="T9" fmla="*/ 0 h 182"/>
                <a:gd name="T10" fmla="*/ 0 w 1400"/>
                <a:gd name="T11" fmla="*/ 0 h 1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400" h="182">
                  <a:moveTo>
                    <a:pt x="0" y="0"/>
                  </a:moveTo>
                  <a:cubicBezTo>
                    <a:pt x="0" y="182"/>
                    <a:pt x="0" y="182"/>
                    <a:pt x="0" y="182"/>
                  </a:cubicBezTo>
                  <a:cubicBezTo>
                    <a:pt x="1376" y="182"/>
                    <a:pt x="1376" y="182"/>
                    <a:pt x="1376" y="182"/>
                  </a:cubicBezTo>
                  <a:cubicBezTo>
                    <a:pt x="1376" y="182"/>
                    <a:pt x="1400" y="182"/>
                    <a:pt x="1400" y="158"/>
                  </a:cubicBezTo>
                  <a:cubicBezTo>
                    <a:pt x="1400" y="0"/>
                    <a:pt x="1400" y="0"/>
                    <a:pt x="1400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EAEAEA"/>
            </a:solidFill>
            <a:ln w="9525">
              <a:solidFill>
                <a:srgbClr val="EAEAEA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333333"/>
                </a:solidFill>
              </a:endParaRPr>
            </a:p>
          </p:txBody>
        </p:sp>
        <p:sp>
          <p:nvSpPr>
            <p:cNvPr id="76" name="Freeform 75"/>
            <p:cNvSpPr>
              <a:spLocks/>
            </p:cNvSpPr>
            <p:nvPr userDrawn="1"/>
          </p:nvSpPr>
          <p:spPr bwMode="gray">
            <a:xfrm>
              <a:off x="3465513" y="2070100"/>
              <a:ext cx="5260975" cy="2025650"/>
            </a:xfrm>
            <a:custGeom>
              <a:avLst/>
              <a:gdLst>
                <a:gd name="T0" fmla="*/ 0 w 1400"/>
                <a:gd name="T1" fmla="*/ 0 h 538"/>
                <a:gd name="T2" fmla="*/ 0 w 1400"/>
                <a:gd name="T3" fmla="*/ 538 h 538"/>
                <a:gd name="T4" fmla="*/ 1400 w 1400"/>
                <a:gd name="T5" fmla="*/ 538 h 538"/>
                <a:gd name="T6" fmla="*/ 1400 w 1400"/>
                <a:gd name="T7" fmla="*/ 24 h 538"/>
                <a:gd name="T8" fmla="*/ 1376 w 1400"/>
                <a:gd name="T9" fmla="*/ 0 h 538"/>
                <a:gd name="T10" fmla="*/ 0 w 1400"/>
                <a:gd name="T11" fmla="*/ 0 h 5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400" h="538">
                  <a:moveTo>
                    <a:pt x="0" y="0"/>
                  </a:moveTo>
                  <a:cubicBezTo>
                    <a:pt x="0" y="538"/>
                    <a:pt x="0" y="538"/>
                    <a:pt x="0" y="538"/>
                  </a:cubicBezTo>
                  <a:cubicBezTo>
                    <a:pt x="1400" y="538"/>
                    <a:pt x="1400" y="538"/>
                    <a:pt x="1400" y="538"/>
                  </a:cubicBezTo>
                  <a:cubicBezTo>
                    <a:pt x="1400" y="24"/>
                    <a:pt x="1400" y="24"/>
                    <a:pt x="1400" y="24"/>
                  </a:cubicBezTo>
                  <a:cubicBezTo>
                    <a:pt x="1400" y="24"/>
                    <a:pt x="1400" y="0"/>
                    <a:pt x="1376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F6200"/>
            </a:solidFill>
            <a:ln w="9525">
              <a:solidFill>
                <a:srgbClr val="FF6200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333333"/>
                </a:solidFill>
              </a:endParaRPr>
            </a:p>
          </p:txBody>
        </p:sp>
      </p:grpSp>
      <p:sp>
        <p:nvSpPr>
          <p:cNvPr id="9" name="Title 1"/>
          <p:cNvSpPr>
            <a:spLocks noGrp="1"/>
          </p:cNvSpPr>
          <p:nvPr>
            <p:ph type="ctrTitle"/>
          </p:nvPr>
        </p:nvSpPr>
        <p:spPr bwMode="gray">
          <a:xfrm>
            <a:off x="684478" y="2012286"/>
            <a:ext cx="3963347" cy="1461600"/>
          </a:xfrm>
        </p:spPr>
        <p:txBody>
          <a:bodyPr anchor="ctr" anchorCtr="0">
            <a:noAutofit/>
          </a:bodyPr>
          <a:lstStyle>
            <a:lvl1pPr algn="l">
              <a:lnSpc>
                <a:spcPts val="3800"/>
              </a:lnSpc>
              <a:defRPr sz="3800">
                <a:solidFill>
                  <a:schemeClr val="bg1"/>
                </a:solidFill>
              </a:defRPr>
            </a:lvl1pPr>
          </a:lstStyle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  <p:sp>
        <p:nvSpPr>
          <p:cNvPr id="10" name="Subtitle 2"/>
          <p:cNvSpPr>
            <a:spLocks noGrp="1"/>
          </p:cNvSpPr>
          <p:nvPr>
            <p:ph type="subTitle" idx="1"/>
          </p:nvPr>
        </p:nvSpPr>
        <p:spPr bwMode="gray">
          <a:xfrm>
            <a:off x="684478" y="4031478"/>
            <a:ext cx="3963347" cy="306798"/>
          </a:xfrm>
        </p:spPr>
        <p:txBody>
          <a:bodyPr anchor="ctr" anchorCtr="0">
            <a:noAutofit/>
          </a:bodyPr>
          <a:lstStyle>
            <a:lvl1pPr marL="0" indent="0" algn="l">
              <a:lnSpc>
                <a:spcPts val="2200"/>
              </a:lnSpc>
              <a:buNone/>
              <a:defRPr sz="1700" b="0" i="0"/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nl-NL" noProof="0" smtClean="0"/>
              <a:t>Klik om de ondertitelstijl van het model te bewerken</a:t>
            </a:r>
            <a:endParaRPr lang="en-GB" noProof="0" dirty="0"/>
          </a:p>
        </p:txBody>
      </p:sp>
      <p:sp>
        <p:nvSpPr>
          <p:cNvPr id="11" name="Text Placeholder 6"/>
          <p:cNvSpPr>
            <a:spLocks noGrp="1"/>
          </p:cNvSpPr>
          <p:nvPr>
            <p:ph type="body" sz="quarter" idx="11"/>
          </p:nvPr>
        </p:nvSpPr>
        <p:spPr bwMode="gray">
          <a:xfrm>
            <a:off x="684478" y="3603486"/>
            <a:ext cx="3963347" cy="290712"/>
          </a:xfrm>
        </p:spPr>
        <p:txBody>
          <a:bodyPr bIns="0">
            <a:noAutofit/>
          </a:bodyPr>
          <a:lstStyle>
            <a:lvl1pPr algn="l">
              <a:lnSpc>
                <a:spcPts val="1700"/>
              </a:lnSpc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noProof="0" smtClean="0"/>
              <a:t>Klik om de modelstijlen te bewerken</a:t>
            </a:r>
          </a:p>
        </p:txBody>
      </p:sp>
      <p:sp>
        <p:nvSpPr>
          <p:cNvPr id="12" name="Rectangle 11"/>
          <p:cNvSpPr/>
          <p:nvPr userDrawn="1"/>
        </p:nvSpPr>
        <p:spPr bwMode="gray">
          <a:xfrm>
            <a:off x="1" y="6024880"/>
            <a:ext cx="9904532" cy="8331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2400">
              <a:solidFill>
                <a:prstClr val="white"/>
              </a:solidFill>
            </a:endParaRPr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28199" y="6203775"/>
            <a:ext cx="1233535" cy="378000"/>
          </a:xfrm>
          <a:prstGeom prst="rect">
            <a:avLst/>
          </a:prstGeom>
        </p:spPr>
      </p:pic>
      <p:pic>
        <p:nvPicPr>
          <p:cNvPr id="19" name="Picture Placeholder 36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/>
        </p:blipFill>
        <p:spPr bwMode="gray">
          <a:xfrm>
            <a:off x="681038" y="6291858"/>
            <a:ext cx="1784250" cy="287825"/>
          </a:xfrm>
          <a:prstGeom prst="rect">
            <a:avLst/>
          </a:prstGeom>
        </p:spPr>
      </p:pic>
      <p:grpSp>
        <p:nvGrpSpPr>
          <p:cNvPr id="42" name="Group 41"/>
          <p:cNvGrpSpPr/>
          <p:nvPr userDrawn="1"/>
        </p:nvGrpSpPr>
        <p:grpSpPr bwMode="gray">
          <a:xfrm>
            <a:off x="-1653580" y="0"/>
            <a:ext cx="1521000" cy="4689612"/>
            <a:chOff x="-2581275" y="595116"/>
            <a:chExt cx="1872000" cy="4689612"/>
          </a:xfrm>
        </p:grpSpPr>
        <p:sp>
          <p:nvSpPr>
            <p:cNvPr id="43" name="Rectangle 104"/>
            <p:cNvSpPr>
              <a:spLocks noChangeArrowheads="1"/>
            </p:cNvSpPr>
            <p:nvPr/>
          </p:nvSpPr>
          <p:spPr bwMode="gray">
            <a:xfrm>
              <a:off x="-2581275" y="4276728"/>
              <a:ext cx="1872000" cy="100800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44" name="Rectangle 104"/>
            <p:cNvSpPr>
              <a:spLocks noChangeArrowheads="1"/>
            </p:cNvSpPr>
            <p:nvPr userDrawn="1"/>
          </p:nvSpPr>
          <p:spPr bwMode="gray">
            <a:xfrm>
              <a:off x="-2581275" y="595116"/>
              <a:ext cx="1872000" cy="3672087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45" name="Rectangle 105"/>
            <p:cNvSpPr>
              <a:spLocks noChangeArrowheads="1"/>
            </p:cNvSpPr>
            <p:nvPr userDrawn="1"/>
          </p:nvSpPr>
          <p:spPr bwMode="gray">
            <a:xfrm>
              <a:off x="-2449513" y="1136650"/>
              <a:ext cx="215900" cy="215900"/>
            </a:xfrm>
            <a:prstGeom prst="rect">
              <a:avLst/>
            </a:prstGeom>
            <a:solidFill>
              <a:srgbClr val="FF6200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46" name="Rectangle 106"/>
            <p:cNvSpPr>
              <a:spLocks noChangeArrowheads="1"/>
            </p:cNvSpPr>
            <p:nvPr userDrawn="1"/>
          </p:nvSpPr>
          <p:spPr bwMode="gray">
            <a:xfrm>
              <a:off x="-2159000" y="1146175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Orang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55, 98, 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47" name="Rectangle 107"/>
            <p:cNvSpPr>
              <a:spLocks noChangeArrowheads="1"/>
            </p:cNvSpPr>
            <p:nvPr userDrawn="1"/>
          </p:nvSpPr>
          <p:spPr bwMode="gray">
            <a:xfrm>
              <a:off x="-2449513" y="1571626"/>
              <a:ext cx="215900" cy="215900"/>
            </a:xfrm>
            <a:prstGeom prst="rect">
              <a:avLst/>
            </a:prstGeom>
            <a:solidFill>
              <a:srgbClr val="A8A8A8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48" name="Rectangle 108"/>
            <p:cNvSpPr>
              <a:spLocks noChangeArrowheads="1"/>
            </p:cNvSpPr>
            <p:nvPr userDrawn="1"/>
          </p:nvSpPr>
          <p:spPr bwMode="gray">
            <a:xfrm>
              <a:off x="-2159000" y="15970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ght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68, 168, 16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49" name="Rectangle 109"/>
            <p:cNvSpPr>
              <a:spLocks noChangeArrowheads="1"/>
            </p:cNvSpPr>
            <p:nvPr userDrawn="1"/>
          </p:nvSpPr>
          <p:spPr bwMode="gray">
            <a:xfrm>
              <a:off x="-2449513" y="2058988"/>
              <a:ext cx="215900" cy="215900"/>
            </a:xfrm>
            <a:prstGeom prst="rect">
              <a:avLst/>
            </a:prstGeom>
            <a:solidFill>
              <a:srgbClr val="52519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0" name="Rectangle 110"/>
            <p:cNvSpPr>
              <a:spLocks noChangeArrowheads="1"/>
            </p:cNvSpPr>
            <p:nvPr userDrawn="1"/>
          </p:nvSpPr>
          <p:spPr bwMode="gray">
            <a:xfrm>
              <a:off x="-2159000" y="2068513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Indigo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82, 81, 153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1" name="Rectangle 111"/>
            <p:cNvSpPr>
              <a:spLocks noChangeArrowheads="1"/>
            </p:cNvSpPr>
            <p:nvPr userDrawn="1"/>
          </p:nvSpPr>
          <p:spPr bwMode="gray">
            <a:xfrm>
              <a:off x="-2449513" y="2527301"/>
              <a:ext cx="215900" cy="215900"/>
            </a:xfrm>
            <a:prstGeom prst="rect">
              <a:avLst/>
            </a:prstGeom>
            <a:solidFill>
              <a:srgbClr val="60A6DA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2" name="Rectangle 112"/>
            <p:cNvSpPr>
              <a:spLocks noChangeArrowheads="1"/>
            </p:cNvSpPr>
            <p:nvPr userDrawn="1"/>
          </p:nvSpPr>
          <p:spPr bwMode="gray">
            <a:xfrm>
              <a:off x="-2159000" y="25368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Sk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96, 166, 2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3" name="Rectangle 113"/>
            <p:cNvSpPr>
              <a:spLocks noChangeArrowheads="1"/>
            </p:cNvSpPr>
            <p:nvPr userDrawn="1"/>
          </p:nvSpPr>
          <p:spPr bwMode="gray">
            <a:xfrm>
              <a:off x="-2449513" y="762000"/>
              <a:ext cx="1692000" cy="165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90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200" b="1" smtClean="0">
                  <a:solidFill>
                    <a:srgbClr val="333333"/>
                  </a:solidFill>
                </a:rPr>
                <a:t>Colour Guidelines</a:t>
              </a:r>
              <a:endParaRPr lang="en-GB" altLang="en-US" sz="1200" b="1">
                <a:solidFill>
                  <a:srgbClr val="333333"/>
                </a:solidFill>
              </a:endParaRPr>
            </a:p>
          </p:txBody>
        </p:sp>
        <p:sp>
          <p:nvSpPr>
            <p:cNvPr id="54" name="Rectangle 107"/>
            <p:cNvSpPr>
              <a:spLocks noChangeArrowheads="1"/>
            </p:cNvSpPr>
            <p:nvPr/>
          </p:nvSpPr>
          <p:spPr bwMode="gray">
            <a:xfrm>
              <a:off x="-2449513" y="2962277"/>
              <a:ext cx="215900" cy="215900"/>
            </a:xfrm>
            <a:prstGeom prst="rect">
              <a:avLst/>
            </a:prstGeom>
            <a:solidFill>
              <a:srgbClr val="AB006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5" name="Rectangle 108"/>
            <p:cNvSpPr>
              <a:spLocks noChangeArrowheads="1"/>
            </p:cNvSpPr>
            <p:nvPr/>
          </p:nvSpPr>
          <p:spPr bwMode="gray">
            <a:xfrm>
              <a:off x="-2159000" y="29876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Fuchsia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71, 0, 102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6" name="Rectangle 109"/>
            <p:cNvSpPr>
              <a:spLocks noChangeArrowheads="1"/>
            </p:cNvSpPr>
            <p:nvPr/>
          </p:nvSpPr>
          <p:spPr bwMode="gray">
            <a:xfrm>
              <a:off x="-2449513" y="3449639"/>
              <a:ext cx="215900" cy="215900"/>
            </a:xfrm>
            <a:prstGeom prst="rect">
              <a:avLst/>
            </a:prstGeom>
            <a:solidFill>
              <a:srgbClr val="D0D93C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7" name="Rectangle 110"/>
            <p:cNvSpPr>
              <a:spLocks noChangeArrowheads="1"/>
            </p:cNvSpPr>
            <p:nvPr/>
          </p:nvSpPr>
          <p:spPr bwMode="gray">
            <a:xfrm>
              <a:off x="-2159000" y="3459164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m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08, 217, 6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8" name="Rectangle 111"/>
            <p:cNvSpPr>
              <a:spLocks noChangeArrowheads="1"/>
            </p:cNvSpPr>
            <p:nvPr/>
          </p:nvSpPr>
          <p:spPr bwMode="gray">
            <a:xfrm>
              <a:off x="-2449513" y="3917952"/>
              <a:ext cx="215900" cy="215900"/>
            </a:xfrm>
            <a:prstGeom prst="rect">
              <a:avLst/>
            </a:prstGeom>
            <a:solidFill>
              <a:srgbClr val="01964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9" name="Rectangle 112"/>
            <p:cNvSpPr>
              <a:spLocks noChangeArrowheads="1"/>
            </p:cNvSpPr>
            <p:nvPr/>
          </p:nvSpPr>
          <p:spPr bwMode="gray">
            <a:xfrm>
              <a:off x="-2159000" y="39274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eaf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2, 150, 8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0" name="Rectangle 109"/>
            <p:cNvSpPr>
              <a:spLocks noChangeArrowheads="1"/>
            </p:cNvSpPr>
            <p:nvPr/>
          </p:nvSpPr>
          <p:spPr bwMode="gray">
            <a:xfrm>
              <a:off x="-2449513" y="4405314"/>
              <a:ext cx="215900" cy="215900"/>
            </a:xfrm>
            <a:prstGeom prst="rect">
              <a:avLst/>
            </a:prstGeom>
            <a:solidFill>
              <a:srgbClr val="76767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1" name="Rectangle 110"/>
            <p:cNvSpPr>
              <a:spLocks noChangeArrowheads="1"/>
            </p:cNvSpPr>
            <p:nvPr/>
          </p:nvSpPr>
          <p:spPr bwMode="gray">
            <a:xfrm>
              <a:off x="-2159000" y="4414839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Mid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18, 118, 1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2" name="Rectangle 111"/>
            <p:cNvSpPr>
              <a:spLocks noChangeArrowheads="1"/>
            </p:cNvSpPr>
            <p:nvPr/>
          </p:nvSpPr>
          <p:spPr bwMode="gray">
            <a:xfrm>
              <a:off x="-2449513" y="4873627"/>
              <a:ext cx="215900" cy="215900"/>
            </a:xfrm>
            <a:prstGeom prst="rect">
              <a:avLst/>
            </a:prstGeom>
            <a:solidFill>
              <a:srgbClr val="333333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3" name="Rectangle 112"/>
            <p:cNvSpPr>
              <a:spLocks noChangeArrowheads="1"/>
            </p:cNvSpPr>
            <p:nvPr/>
          </p:nvSpPr>
          <p:spPr bwMode="gray">
            <a:xfrm>
              <a:off x="-2159000" y="4883152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Text Colour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1, 51, 5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</p:grpSp>
      <p:pic>
        <p:nvPicPr>
          <p:cNvPr id="35" name="Picture 34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466554" y="4402733"/>
            <a:ext cx="125761" cy="138908"/>
          </a:xfrm>
          <a:prstGeom prst="rect">
            <a:avLst/>
          </a:prstGeom>
        </p:spPr>
      </p:pic>
      <p:sp>
        <p:nvSpPr>
          <p:cNvPr id="37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684478" y="4381898"/>
            <a:ext cx="3963375" cy="216000"/>
          </a:xfrm>
        </p:spPr>
        <p:txBody>
          <a:bodyPr tIns="0" bIns="0"/>
          <a:lstStyle>
            <a:lvl1pPr marL="0" indent="0" algn="l">
              <a:lnSpc>
                <a:spcPts val="1350"/>
              </a:lnSpc>
              <a:buNone/>
              <a:defRPr sz="1350">
                <a:solidFill>
                  <a:srgbClr val="000000"/>
                </a:solidFill>
                <a:latin typeface="+mn-lt"/>
              </a:defRPr>
            </a:lvl1pPr>
            <a:lvl2pPr>
              <a:defRPr sz="2200">
                <a:solidFill>
                  <a:srgbClr val="000000"/>
                </a:solidFill>
              </a:defRPr>
            </a:lvl2pPr>
            <a:lvl3pPr>
              <a:defRPr sz="2200">
                <a:solidFill>
                  <a:srgbClr val="000000"/>
                </a:solidFill>
              </a:defRPr>
            </a:lvl3pPr>
            <a:lvl4pPr>
              <a:defRPr sz="2200">
                <a:solidFill>
                  <a:srgbClr val="000000"/>
                </a:solidFill>
              </a:defRPr>
            </a:lvl4pPr>
            <a:lvl5pPr>
              <a:defRPr sz="2200">
                <a:solidFill>
                  <a:srgbClr val="000000"/>
                </a:solidFill>
              </a:defRPr>
            </a:lvl5pPr>
          </a:lstStyle>
          <a:p>
            <a:pPr lvl="0"/>
            <a:r>
              <a:rPr lang="en-GB" noProof="0" dirty="0" smtClean="0"/>
              <a:t>Click to edit location and date</a:t>
            </a:r>
          </a:p>
        </p:txBody>
      </p:sp>
      <p:sp>
        <p:nvSpPr>
          <p:cNvPr id="38" name="Picture Placeholder 37"/>
          <p:cNvSpPr>
            <a:spLocks noGrp="1"/>
          </p:cNvSpPr>
          <p:nvPr>
            <p:ph type="pic" sz="quarter" idx="12"/>
          </p:nvPr>
        </p:nvSpPr>
        <p:spPr bwMode="gray">
          <a:xfrm>
            <a:off x="-2580" y="2"/>
            <a:ext cx="9908580" cy="6024879"/>
          </a:xfrm>
          <a:custGeom>
            <a:avLst/>
            <a:gdLst>
              <a:gd name="connsiteX0" fmla="*/ 0 w 12195175"/>
              <a:gd name="connsiteY0" fmla="*/ 0 h 6024879"/>
              <a:gd name="connsiteX1" fmla="*/ 12195175 w 12195175"/>
              <a:gd name="connsiteY1" fmla="*/ 0 h 6024879"/>
              <a:gd name="connsiteX2" fmla="*/ 12195175 w 12195175"/>
              <a:gd name="connsiteY2" fmla="*/ 6024879 h 6024879"/>
              <a:gd name="connsiteX3" fmla="*/ 0 w 12195175"/>
              <a:gd name="connsiteY3" fmla="*/ 6024879 h 6024879"/>
              <a:gd name="connsiteX4" fmla="*/ 0 w 12195175"/>
              <a:gd name="connsiteY4" fmla="*/ 4688798 h 6024879"/>
              <a:gd name="connsiteX5" fmla="*/ 3176 w 12195175"/>
              <a:gd name="connsiteY5" fmla="*/ 4688798 h 6024879"/>
              <a:gd name="connsiteX6" fmla="*/ 61412 w 12195175"/>
              <a:gd name="connsiteY6" fmla="*/ 4688798 h 6024879"/>
              <a:gd name="connsiteX7" fmla="*/ 530839 w 12195175"/>
              <a:gd name="connsiteY7" fmla="*/ 4688798 h 6024879"/>
              <a:gd name="connsiteX8" fmla="*/ 5811194 w 12195175"/>
              <a:gd name="connsiteY8" fmla="*/ 4688798 h 6024879"/>
              <a:gd name="connsiteX9" fmla="*/ 5912496 w 12195175"/>
              <a:gd name="connsiteY9" fmla="*/ 4587218 h 6024879"/>
              <a:gd name="connsiteX10" fmla="*/ 5912496 w 12195175"/>
              <a:gd name="connsiteY10" fmla="*/ 3918482 h 6024879"/>
              <a:gd name="connsiteX11" fmla="*/ 5912496 w 12195175"/>
              <a:gd name="connsiteY11" fmla="*/ 1744697 h 6024879"/>
              <a:gd name="connsiteX12" fmla="*/ 5811194 w 12195175"/>
              <a:gd name="connsiteY12" fmla="*/ 1643198 h 6024879"/>
              <a:gd name="connsiteX13" fmla="*/ 61412 w 12195175"/>
              <a:gd name="connsiteY13" fmla="*/ 1643198 h 6024879"/>
              <a:gd name="connsiteX14" fmla="*/ 3176 w 12195175"/>
              <a:gd name="connsiteY14" fmla="*/ 1643198 h 6024879"/>
              <a:gd name="connsiteX15" fmla="*/ 0 w 12195175"/>
              <a:gd name="connsiteY15" fmla="*/ 1643198 h 60248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2195175" h="6024879">
                <a:moveTo>
                  <a:pt x="0" y="0"/>
                </a:moveTo>
                <a:lnTo>
                  <a:pt x="12195175" y="0"/>
                </a:lnTo>
                <a:lnTo>
                  <a:pt x="12195175" y="6024879"/>
                </a:lnTo>
                <a:lnTo>
                  <a:pt x="0" y="6024879"/>
                </a:lnTo>
                <a:lnTo>
                  <a:pt x="0" y="4688798"/>
                </a:lnTo>
                <a:lnTo>
                  <a:pt x="3176" y="4688798"/>
                </a:lnTo>
                <a:lnTo>
                  <a:pt x="61412" y="4688798"/>
                </a:lnTo>
                <a:lnTo>
                  <a:pt x="530839" y="4688798"/>
                </a:lnTo>
                <a:cubicBezTo>
                  <a:pt x="5811194" y="4688798"/>
                  <a:pt x="5811194" y="4688798"/>
                  <a:pt x="5811194" y="4688798"/>
                </a:cubicBezTo>
                <a:cubicBezTo>
                  <a:pt x="5811194" y="4688798"/>
                  <a:pt x="5912496" y="4688798"/>
                  <a:pt x="5912496" y="4587218"/>
                </a:cubicBezTo>
                <a:cubicBezTo>
                  <a:pt x="5912496" y="3918482"/>
                  <a:pt x="5912496" y="3918482"/>
                  <a:pt x="5912496" y="3918482"/>
                </a:cubicBezTo>
                <a:cubicBezTo>
                  <a:pt x="5912496" y="1744697"/>
                  <a:pt x="5912496" y="1744697"/>
                  <a:pt x="5912496" y="1744697"/>
                </a:cubicBezTo>
                <a:cubicBezTo>
                  <a:pt x="5912496" y="1744697"/>
                  <a:pt x="5912496" y="1643198"/>
                  <a:pt x="5811194" y="1643198"/>
                </a:cubicBezTo>
                <a:lnTo>
                  <a:pt x="61412" y="1643198"/>
                </a:lnTo>
                <a:lnTo>
                  <a:pt x="3176" y="1643198"/>
                </a:lnTo>
                <a:lnTo>
                  <a:pt x="0" y="1643198"/>
                </a:lnTo>
                <a:close/>
              </a:path>
            </a:pathLst>
          </a:custGeom>
          <a:solidFill>
            <a:srgbClr val="E9E9E9">
              <a:alpha val="10000"/>
            </a:srgbClr>
          </a:solidFill>
        </p:spPr>
        <p:txBody>
          <a:bodyPr wrap="square" lIns="2880000" tIns="0" anchor="ctr" anchorCtr="0">
            <a:noAutofit/>
          </a:bodyPr>
          <a:lstStyle>
            <a:lvl1pPr algn="ctr">
              <a:defRPr sz="1400" b="0"/>
            </a:lvl1pPr>
          </a:lstStyle>
          <a:p>
            <a:r>
              <a:rPr lang="nl-NL" smtClean="0"/>
              <a:t>Klik op het pictogram als u een afbeelding wilt toevoege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9593866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="" xmlns:p15="http://schemas.microsoft.com/office/powerpoint/2012/main">
        <p15:guide id="1" orient="horz" pos="4135">
          <p15:clr>
            <a:srgbClr val="FBAE40"/>
          </p15:clr>
        </p15:guide>
      </p15:sldGuideLst>
    </p:ext>
  </p:extLst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F Title Slide Confidential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8" name="Group 37"/>
          <p:cNvGrpSpPr/>
          <p:nvPr userDrawn="1"/>
        </p:nvGrpSpPr>
        <p:grpSpPr bwMode="gray">
          <a:xfrm>
            <a:off x="1" y="1643200"/>
            <a:ext cx="9213354" cy="3055937"/>
            <a:chOff x="409575" y="3144838"/>
            <a:chExt cx="11339513" cy="3055937"/>
          </a:xfrm>
        </p:grpSpPr>
        <p:sp>
          <p:nvSpPr>
            <p:cNvPr id="40" name="Freeform 5"/>
            <p:cNvSpPr>
              <a:spLocks/>
            </p:cNvSpPr>
            <p:nvPr/>
          </p:nvSpPr>
          <p:spPr bwMode="gray">
            <a:xfrm>
              <a:off x="409575" y="5521325"/>
              <a:ext cx="11339513" cy="679450"/>
            </a:xfrm>
            <a:custGeom>
              <a:avLst/>
              <a:gdLst>
                <a:gd name="T0" fmla="*/ 0 w 2680"/>
                <a:gd name="T1" fmla="*/ 0 h 160"/>
                <a:gd name="T2" fmla="*/ 0 w 2680"/>
                <a:gd name="T3" fmla="*/ 160 h 160"/>
                <a:gd name="T4" fmla="*/ 2656 w 2680"/>
                <a:gd name="T5" fmla="*/ 160 h 160"/>
                <a:gd name="T6" fmla="*/ 2680 w 2680"/>
                <a:gd name="T7" fmla="*/ 136 h 160"/>
                <a:gd name="T8" fmla="*/ 2680 w 2680"/>
                <a:gd name="T9" fmla="*/ 0 h 160"/>
                <a:gd name="T10" fmla="*/ 0 w 2680"/>
                <a:gd name="T11" fmla="*/ 0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80" h="160">
                  <a:moveTo>
                    <a:pt x="0" y="0"/>
                  </a:moveTo>
                  <a:cubicBezTo>
                    <a:pt x="0" y="160"/>
                    <a:pt x="0" y="160"/>
                    <a:pt x="0" y="160"/>
                  </a:cubicBezTo>
                  <a:cubicBezTo>
                    <a:pt x="2656" y="160"/>
                    <a:pt x="2656" y="160"/>
                    <a:pt x="2656" y="160"/>
                  </a:cubicBezTo>
                  <a:cubicBezTo>
                    <a:pt x="2656" y="160"/>
                    <a:pt x="2680" y="160"/>
                    <a:pt x="2680" y="136"/>
                  </a:cubicBezTo>
                  <a:cubicBezTo>
                    <a:pt x="2680" y="0"/>
                    <a:pt x="2680" y="0"/>
                    <a:pt x="2680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EAEAE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333333"/>
                </a:solidFill>
              </a:endParaRPr>
            </a:p>
          </p:txBody>
        </p:sp>
        <p:sp>
          <p:nvSpPr>
            <p:cNvPr id="41" name="Freeform 6"/>
            <p:cNvSpPr>
              <a:spLocks/>
            </p:cNvSpPr>
            <p:nvPr/>
          </p:nvSpPr>
          <p:spPr bwMode="gray">
            <a:xfrm>
              <a:off x="409575" y="3144838"/>
              <a:ext cx="11339513" cy="2376487"/>
            </a:xfrm>
            <a:custGeom>
              <a:avLst/>
              <a:gdLst>
                <a:gd name="T0" fmla="*/ 0 w 2680"/>
                <a:gd name="T1" fmla="*/ 0 h 560"/>
                <a:gd name="T2" fmla="*/ 0 w 2680"/>
                <a:gd name="T3" fmla="*/ 560 h 560"/>
                <a:gd name="T4" fmla="*/ 2680 w 2680"/>
                <a:gd name="T5" fmla="*/ 560 h 560"/>
                <a:gd name="T6" fmla="*/ 2680 w 2680"/>
                <a:gd name="T7" fmla="*/ 24 h 560"/>
                <a:gd name="T8" fmla="*/ 2656 w 2680"/>
                <a:gd name="T9" fmla="*/ 0 h 560"/>
                <a:gd name="T10" fmla="*/ 0 w 2680"/>
                <a:gd name="T11" fmla="*/ 0 h 5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80" h="560">
                  <a:moveTo>
                    <a:pt x="0" y="0"/>
                  </a:moveTo>
                  <a:cubicBezTo>
                    <a:pt x="0" y="560"/>
                    <a:pt x="0" y="560"/>
                    <a:pt x="0" y="560"/>
                  </a:cubicBezTo>
                  <a:cubicBezTo>
                    <a:pt x="2680" y="560"/>
                    <a:pt x="2680" y="560"/>
                    <a:pt x="2680" y="560"/>
                  </a:cubicBezTo>
                  <a:cubicBezTo>
                    <a:pt x="2680" y="24"/>
                    <a:pt x="2680" y="24"/>
                    <a:pt x="2680" y="24"/>
                  </a:cubicBezTo>
                  <a:cubicBezTo>
                    <a:pt x="2680" y="24"/>
                    <a:pt x="2680" y="0"/>
                    <a:pt x="2656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F62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333333"/>
                </a:solidFill>
              </a:endParaRPr>
            </a:p>
          </p:txBody>
        </p:sp>
      </p:grpSp>
      <p:sp>
        <p:nvSpPr>
          <p:cNvPr id="8" name="Rectangle 7"/>
          <p:cNvSpPr/>
          <p:nvPr userDrawn="1"/>
        </p:nvSpPr>
        <p:spPr bwMode="gray">
          <a:xfrm>
            <a:off x="1" y="6024880"/>
            <a:ext cx="9904532" cy="8331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2400">
              <a:solidFill>
                <a:prstClr val="white"/>
              </a:solidFill>
            </a:endParaRPr>
          </a:p>
        </p:txBody>
      </p:sp>
      <p:sp>
        <p:nvSpPr>
          <p:cNvPr id="25" name="Title 1"/>
          <p:cNvSpPr>
            <a:spLocks noGrp="1"/>
          </p:cNvSpPr>
          <p:nvPr>
            <p:ph type="ctrTitle"/>
          </p:nvPr>
        </p:nvSpPr>
        <p:spPr bwMode="gray">
          <a:xfrm>
            <a:off x="684477" y="2116801"/>
            <a:ext cx="8379482" cy="1227573"/>
          </a:xfrm>
        </p:spPr>
        <p:txBody>
          <a:bodyPr anchor="ctr" anchorCtr="0">
            <a:noAutofit/>
          </a:bodyPr>
          <a:lstStyle>
            <a:lvl1pPr algn="l">
              <a:lnSpc>
                <a:spcPts val="4600"/>
              </a:lnSpc>
              <a:defRPr sz="4600">
                <a:solidFill>
                  <a:schemeClr val="bg1"/>
                </a:solidFill>
              </a:defRPr>
            </a:lvl1pPr>
          </a:lstStyle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  <p:sp>
        <p:nvSpPr>
          <p:cNvPr id="26" name="Subtitle 2"/>
          <p:cNvSpPr>
            <a:spLocks noGrp="1"/>
          </p:cNvSpPr>
          <p:nvPr>
            <p:ph type="subTitle" idx="1"/>
          </p:nvPr>
        </p:nvSpPr>
        <p:spPr bwMode="gray">
          <a:xfrm>
            <a:off x="684477" y="4240704"/>
            <a:ext cx="5754721" cy="306798"/>
          </a:xfrm>
        </p:spPr>
        <p:txBody>
          <a:bodyPr anchor="ctr" anchorCtr="0">
            <a:noAutofit/>
          </a:bodyPr>
          <a:lstStyle>
            <a:lvl1pPr marL="0" indent="0" algn="l">
              <a:lnSpc>
                <a:spcPts val="2200"/>
              </a:lnSpc>
              <a:buNone/>
              <a:defRPr sz="2000" b="0" i="0"/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nl-NL" noProof="0" smtClean="0"/>
              <a:t>Klik om de ondertitelstijl van het model te bewerken</a:t>
            </a:r>
            <a:endParaRPr lang="en-GB" noProof="0" dirty="0"/>
          </a:p>
        </p:txBody>
      </p:sp>
      <p:sp>
        <p:nvSpPr>
          <p:cNvPr id="27" name="Text Placeholder 6"/>
          <p:cNvSpPr>
            <a:spLocks noGrp="1"/>
          </p:cNvSpPr>
          <p:nvPr>
            <p:ph type="body" sz="quarter" idx="11"/>
          </p:nvPr>
        </p:nvSpPr>
        <p:spPr bwMode="gray">
          <a:xfrm>
            <a:off x="684450" y="3556801"/>
            <a:ext cx="8373361" cy="385233"/>
          </a:xfrm>
        </p:spPr>
        <p:txBody>
          <a:bodyPr>
            <a:noAutofit/>
          </a:bodyPr>
          <a:lstStyle>
            <a:lvl1pPr>
              <a:lnSpc>
                <a:spcPts val="2200"/>
              </a:lnSpc>
              <a:defRPr sz="220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noProof="0" smtClean="0"/>
              <a:t>Klik om de modelstijlen te bewerken</a:t>
            </a:r>
          </a:p>
        </p:txBody>
      </p:sp>
      <p:pic>
        <p:nvPicPr>
          <p:cNvPr id="30" name="Picture 29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28199" y="6203775"/>
            <a:ext cx="1233535" cy="378000"/>
          </a:xfrm>
          <a:prstGeom prst="rect">
            <a:avLst/>
          </a:prstGeom>
        </p:spPr>
      </p:pic>
      <p:pic>
        <p:nvPicPr>
          <p:cNvPr id="35" name="Picture Placeholder 36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/>
        </p:blipFill>
        <p:spPr bwMode="gray">
          <a:xfrm>
            <a:off x="681038" y="6291858"/>
            <a:ext cx="1778050" cy="287825"/>
          </a:xfrm>
          <a:prstGeom prst="rect">
            <a:avLst/>
          </a:prstGeom>
        </p:spPr>
      </p:pic>
      <p:grpSp>
        <p:nvGrpSpPr>
          <p:cNvPr id="48" name="Group 47"/>
          <p:cNvGrpSpPr/>
          <p:nvPr userDrawn="1"/>
        </p:nvGrpSpPr>
        <p:grpSpPr bwMode="gray">
          <a:xfrm>
            <a:off x="-1653580" y="0"/>
            <a:ext cx="1521000" cy="4689612"/>
            <a:chOff x="-2581275" y="595116"/>
            <a:chExt cx="1872000" cy="4689612"/>
          </a:xfrm>
        </p:grpSpPr>
        <p:sp>
          <p:nvSpPr>
            <p:cNvPr id="49" name="Rectangle 104"/>
            <p:cNvSpPr>
              <a:spLocks noChangeArrowheads="1"/>
            </p:cNvSpPr>
            <p:nvPr/>
          </p:nvSpPr>
          <p:spPr bwMode="gray">
            <a:xfrm>
              <a:off x="-2581275" y="4276728"/>
              <a:ext cx="1872000" cy="100800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0" name="Rectangle 104"/>
            <p:cNvSpPr>
              <a:spLocks noChangeArrowheads="1"/>
            </p:cNvSpPr>
            <p:nvPr userDrawn="1"/>
          </p:nvSpPr>
          <p:spPr bwMode="gray">
            <a:xfrm>
              <a:off x="-2581275" y="595116"/>
              <a:ext cx="1872000" cy="3672087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1" name="Rectangle 105"/>
            <p:cNvSpPr>
              <a:spLocks noChangeArrowheads="1"/>
            </p:cNvSpPr>
            <p:nvPr userDrawn="1"/>
          </p:nvSpPr>
          <p:spPr bwMode="gray">
            <a:xfrm>
              <a:off x="-2449513" y="1136650"/>
              <a:ext cx="215900" cy="215900"/>
            </a:xfrm>
            <a:prstGeom prst="rect">
              <a:avLst/>
            </a:prstGeom>
            <a:solidFill>
              <a:srgbClr val="FF6200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2" name="Rectangle 106"/>
            <p:cNvSpPr>
              <a:spLocks noChangeArrowheads="1"/>
            </p:cNvSpPr>
            <p:nvPr userDrawn="1"/>
          </p:nvSpPr>
          <p:spPr bwMode="gray">
            <a:xfrm>
              <a:off x="-2159000" y="1146175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Orang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55, 98, 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3" name="Rectangle 107"/>
            <p:cNvSpPr>
              <a:spLocks noChangeArrowheads="1"/>
            </p:cNvSpPr>
            <p:nvPr userDrawn="1"/>
          </p:nvSpPr>
          <p:spPr bwMode="gray">
            <a:xfrm>
              <a:off x="-2449513" y="1571626"/>
              <a:ext cx="215900" cy="215900"/>
            </a:xfrm>
            <a:prstGeom prst="rect">
              <a:avLst/>
            </a:prstGeom>
            <a:solidFill>
              <a:srgbClr val="A8A8A8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4" name="Rectangle 108"/>
            <p:cNvSpPr>
              <a:spLocks noChangeArrowheads="1"/>
            </p:cNvSpPr>
            <p:nvPr userDrawn="1"/>
          </p:nvSpPr>
          <p:spPr bwMode="gray">
            <a:xfrm>
              <a:off x="-2159000" y="15970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ght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68, 168, 16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5" name="Rectangle 109"/>
            <p:cNvSpPr>
              <a:spLocks noChangeArrowheads="1"/>
            </p:cNvSpPr>
            <p:nvPr userDrawn="1"/>
          </p:nvSpPr>
          <p:spPr bwMode="gray">
            <a:xfrm>
              <a:off x="-2449513" y="2058988"/>
              <a:ext cx="215900" cy="215900"/>
            </a:xfrm>
            <a:prstGeom prst="rect">
              <a:avLst/>
            </a:prstGeom>
            <a:solidFill>
              <a:srgbClr val="52519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6" name="Rectangle 110"/>
            <p:cNvSpPr>
              <a:spLocks noChangeArrowheads="1"/>
            </p:cNvSpPr>
            <p:nvPr userDrawn="1"/>
          </p:nvSpPr>
          <p:spPr bwMode="gray">
            <a:xfrm>
              <a:off x="-2159000" y="2068513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Indigo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82, 81, 153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7" name="Rectangle 111"/>
            <p:cNvSpPr>
              <a:spLocks noChangeArrowheads="1"/>
            </p:cNvSpPr>
            <p:nvPr userDrawn="1"/>
          </p:nvSpPr>
          <p:spPr bwMode="gray">
            <a:xfrm>
              <a:off x="-2449513" y="2527301"/>
              <a:ext cx="215900" cy="215900"/>
            </a:xfrm>
            <a:prstGeom prst="rect">
              <a:avLst/>
            </a:prstGeom>
            <a:solidFill>
              <a:srgbClr val="60A6DA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8" name="Rectangle 112"/>
            <p:cNvSpPr>
              <a:spLocks noChangeArrowheads="1"/>
            </p:cNvSpPr>
            <p:nvPr userDrawn="1"/>
          </p:nvSpPr>
          <p:spPr bwMode="gray">
            <a:xfrm>
              <a:off x="-2159000" y="25368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Sk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96, 166, 2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9" name="Rectangle 113"/>
            <p:cNvSpPr>
              <a:spLocks noChangeArrowheads="1"/>
            </p:cNvSpPr>
            <p:nvPr userDrawn="1"/>
          </p:nvSpPr>
          <p:spPr bwMode="gray">
            <a:xfrm>
              <a:off x="-2449513" y="762000"/>
              <a:ext cx="1692000" cy="165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90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200" b="1" smtClean="0">
                  <a:solidFill>
                    <a:srgbClr val="333333"/>
                  </a:solidFill>
                </a:rPr>
                <a:t>Colour Guidelines</a:t>
              </a:r>
              <a:endParaRPr lang="en-GB" altLang="en-US" sz="1200" b="1">
                <a:solidFill>
                  <a:srgbClr val="333333"/>
                </a:solidFill>
              </a:endParaRPr>
            </a:p>
          </p:txBody>
        </p:sp>
        <p:sp>
          <p:nvSpPr>
            <p:cNvPr id="60" name="Rectangle 107"/>
            <p:cNvSpPr>
              <a:spLocks noChangeArrowheads="1"/>
            </p:cNvSpPr>
            <p:nvPr/>
          </p:nvSpPr>
          <p:spPr bwMode="gray">
            <a:xfrm>
              <a:off x="-2449513" y="2962277"/>
              <a:ext cx="215900" cy="215900"/>
            </a:xfrm>
            <a:prstGeom prst="rect">
              <a:avLst/>
            </a:prstGeom>
            <a:solidFill>
              <a:srgbClr val="AB006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1" name="Rectangle 108"/>
            <p:cNvSpPr>
              <a:spLocks noChangeArrowheads="1"/>
            </p:cNvSpPr>
            <p:nvPr/>
          </p:nvSpPr>
          <p:spPr bwMode="gray">
            <a:xfrm>
              <a:off x="-2159000" y="29876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Fuchsia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71, 0, 102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2" name="Rectangle 109"/>
            <p:cNvSpPr>
              <a:spLocks noChangeArrowheads="1"/>
            </p:cNvSpPr>
            <p:nvPr/>
          </p:nvSpPr>
          <p:spPr bwMode="gray">
            <a:xfrm>
              <a:off x="-2449513" y="3449639"/>
              <a:ext cx="215900" cy="215900"/>
            </a:xfrm>
            <a:prstGeom prst="rect">
              <a:avLst/>
            </a:prstGeom>
            <a:solidFill>
              <a:srgbClr val="D0D93C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3" name="Rectangle 110"/>
            <p:cNvSpPr>
              <a:spLocks noChangeArrowheads="1"/>
            </p:cNvSpPr>
            <p:nvPr/>
          </p:nvSpPr>
          <p:spPr bwMode="gray">
            <a:xfrm>
              <a:off x="-2159000" y="3459164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m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08, 217, 6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4" name="Rectangle 111"/>
            <p:cNvSpPr>
              <a:spLocks noChangeArrowheads="1"/>
            </p:cNvSpPr>
            <p:nvPr/>
          </p:nvSpPr>
          <p:spPr bwMode="gray">
            <a:xfrm>
              <a:off x="-2449513" y="3917952"/>
              <a:ext cx="215900" cy="215900"/>
            </a:xfrm>
            <a:prstGeom prst="rect">
              <a:avLst/>
            </a:prstGeom>
            <a:solidFill>
              <a:srgbClr val="01964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5" name="Rectangle 112"/>
            <p:cNvSpPr>
              <a:spLocks noChangeArrowheads="1"/>
            </p:cNvSpPr>
            <p:nvPr/>
          </p:nvSpPr>
          <p:spPr bwMode="gray">
            <a:xfrm>
              <a:off x="-2159000" y="39274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eaf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2, 150, 8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6" name="Rectangle 109"/>
            <p:cNvSpPr>
              <a:spLocks noChangeArrowheads="1"/>
            </p:cNvSpPr>
            <p:nvPr/>
          </p:nvSpPr>
          <p:spPr bwMode="gray">
            <a:xfrm>
              <a:off x="-2449513" y="4405314"/>
              <a:ext cx="215900" cy="215900"/>
            </a:xfrm>
            <a:prstGeom prst="rect">
              <a:avLst/>
            </a:prstGeom>
            <a:solidFill>
              <a:srgbClr val="76767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7" name="Rectangle 110"/>
            <p:cNvSpPr>
              <a:spLocks noChangeArrowheads="1"/>
            </p:cNvSpPr>
            <p:nvPr/>
          </p:nvSpPr>
          <p:spPr bwMode="gray">
            <a:xfrm>
              <a:off x="-2159000" y="4414839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Mid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18, 118, 1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8" name="Rectangle 111"/>
            <p:cNvSpPr>
              <a:spLocks noChangeArrowheads="1"/>
            </p:cNvSpPr>
            <p:nvPr/>
          </p:nvSpPr>
          <p:spPr bwMode="gray">
            <a:xfrm>
              <a:off x="-2449513" y="4873627"/>
              <a:ext cx="215900" cy="215900"/>
            </a:xfrm>
            <a:prstGeom prst="rect">
              <a:avLst/>
            </a:prstGeom>
            <a:solidFill>
              <a:srgbClr val="333333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9" name="Rectangle 112"/>
            <p:cNvSpPr>
              <a:spLocks noChangeArrowheads="1"/>
            </p:cNvSpPr>
            <p:nvPr/>
          </p:nvSpPr>
          <p:spPr bwMode="gray">
            <a:xfrm>
              <a:off x="-2159000" y="4883152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Text Colour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1, 51, 5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</p:grpSp>
      <p:pic>
        <p:nvPicPr>
          <p:cNvPr id="37" name="Picture 36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466554" y="4402733"/>
            <a:ext cx="125761" cy="138908"/>
          </a:xfrm>
          <a:prstGeom prst="rect">
            <a:avLst/>
          </a:prstGeom>
        </p:spPr>
      </p:pic>
      <p:sp>
        <p:nvSpPr>
          <p:cNvPr id="39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6636209" y="4291504"/>
            <a:ext cx="2427750" cy="275612"/>
          </a:xfrm>
        </p:spPr>
        <p:txBody>
          <a:bodyPr tIns="0" bIns="0"/>
          <a:lstStyle>
            <a:lvl1pPr marL="0" indent="0" algn="r">
              <a:lnSpc>
                <a:spcPct val="100000"/>
              </a:lnSpc>
              <a:buNone/>
              <a:defRPr sz="1500">
                <a:solidFill>
                  <a:srgbClr val="000000"/>
                </a:solidFill>
                <a:latin typeface="+mn-lt"/>
              </a:defRPr>
            </a:lvl1pPr>
            <a:lvl2pPr>
              <a:defRPr sz="2200">
                <a:solidFill>
                  <a:srgbClr val="000000"/>
                </a:solidFill>
              </a:defRPr>
            </a:lvl2pPr>
            <a:lvl3pPr>
              <a:defRPr sz="2200">
                <a:solidFill>
                  <a:srgbClr val="000000"/>
                </a:solidFill>
              </a:defRPr>
            </a:lvl3pPr>
            <a:lvl4pPr>
              <a:defRPr sz="2200">
                <a:solidFill>
                  <a:srgbClr val="000000"/>
                </a:solidFill>
              </a:defRPr>
            </a:lvl4pPr>
            <a:lvl5pPr>
              <a:defRPr sz="2200">
                <a:solidFill>
                  <a:srgbClr val="000000"/>
                </a:solidFill>
              </a:defRPr>
            </a:lvl5pPr>
          </a:lstStyle>
          <a:p>
            <a:pPr lvl="0"/>
            <a:r>
              <a:rPr lang="en-GB" noProof="0" dirty="0" smtClean="0"/>
              <a:t>Click to edit location and date</a:t>
            </a:r>
          </a:p>
        </p:txBody>
      </p:sp>
      <p:grpSp>
        <p:nvGrpSpPr>
          <p:cNvPr id="42" name="Group 41"/>
          <p:cNvGrpSpPr/>
          <p:nvPr userDrawn="1"/>
        </p:nvGrpSpPr>
        <p:grpSpPr>
          <a:xfrm>
            <a:off x="8733699" y="-133099"/>
            <a:ext cx="1170834" cy="1565166"/>
            <a:chOff x="5364088" y="4720073"/>
            <a:chExt cx="1441027" cy="1565166"/>
          </a:xfrm>
        </p:grpSpPr>
        <p:sp>
          <p:nvSpPr>
            <p:cNvPr id="43" name="Freeform 5"/>
            <p:cNvSpPr>
              <a:spLocks/>
            </p:cNvSpPr>
            <p:nvPr/>
          </p:nvSpPr>
          <p:spPr bwMode="gray">
            <a:xfrm>
              <a:off x="5364088" y="4844212"/>
              <a:ext cx="1441027" cy="1441027"/>
            </a:xfrm>
            <a:custGeom>
              <a:avLst/>
              <a:gdLst>
                <a:gd name="T0" fmla="*/ 0 w 810"/>
                <a:gd name="T1" fmla="*/ 0 h 810"/>
                <a:gd name="T2" fmla="*/ 810 w 810"/>
                <a:gd name="T3" fmla="*/ 810 h 810"/>
                <a:gd name="T4" fmla="*/ 810 w 810"/>
                <a:gd name="T5" fmla="*/ 536 h 810"/>
                <a:gd name="T6" fmla="*/ 274 w 810"/>
                <a:gd name="T7" fmla="*/ 0 h 810"/>
                <a:gd name="T8" fmla="*/ 0 w 810"/>
                <a:gd name="T9" fmla="*/ 0 h 8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10" h="810">
                  <a:moveTo>
                    <a:pt x="0" y="0"/>
                  </a:moveTo>
                  <a:lnTo>
                    <a:pt x="810" y="810"/>
                  </a:lnTo>
                  <a:lnTo>
                    <a:pt x="810" y="536"/>
                  </a:lnTo>
                  <a:lnTo>
                    <a:pt x="274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17A7DC"/>
            </a:solidFill>
            <a:ln w="3175">
              <a:solidFill>
                <a:srgbClr val="17A7DC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>
                <a:solidFill>
                  <a:srgbClr val="333333"/>
                </a:solidFill>
              </a:endParaRPr>
            </a:p>
          </p:txBody>
        </p:sp>
        <p:sp>
          <p:nvSpPr>
            <p:cNvPr id="44" name="Title 14"/>
            <p:cNvSpPr txBox="1">
              <a:spLocks/>
            </p:cNvSpPr>
            <p:nvPr userDrawn="1"/>
          </p:nvSpPr>
          <p:spPr bwMode="gray">
            <a:xfrm rot="2700000">
              <a:off x="5481455" y="5320862"/>
              <a:ext cx="1447800" cy="246221"/>
            </a:xfrm>
            <a:prstGeom prst="rect">
              <a:avLst/>
            </a:prstGeom>
          </p:spPr>
          <p:txBody>
            <a:bodyPr vert="horz" wrap="none" lIns="0" tIns="0" rIns="0" bIns="0" rtlCol="0" anchor="ctr" anchorCtr="0">
              <a:noAutofit/>
            </a:bodyPr>
            <a:lstStyle>
              <a:lvl1pPr algn="l" defTabSz="914400" rtl="0" eaLnBrk="1" latinLnBrk="0" hangingPunct="1">
                <a:lnSpc>
                  <a:spcPts val="4600"/>
                </a:lnSpc>
                <a:spcBef>
                  <a:spcPct val="0"/>
                </a:spcBef>
                <a:buNone/>
                <a:defRPr sz="4400" b="1" kern="1200" baseline="0">
                  <a:solidFill>
                    <a:schemeClr val="bg1"/>
                  </a:solidFill>
                  <a:latin typeface="+mj-lt"/>
                  <a:ea typeface="+mj-ea"/>
                  <a:cs typeface="Arial" panose="020B0604020202020204" pitchFamily="34" charset="0"/>
                </a:defRPr>
              </a:lvl1pPr>
            </a:lstStyle>
            <a:p>
              <a:pPr algn="ctr">
                <a:lnSpc>
                  <a:spcPct val="100000"/>
                </a:lnSpc>
              </a:pPr>
              <a:r>
                <a:rPr lang="en-US" sz="1600" smtClean="0">
                  <a:solidFill>
                    <a:prstClr val="white"/>
                  </a:solidFill>
                </a:rPr>
                <a:t>Confidential</a:t>
              </a:r>
              <a:endParaRPr lang="en-GB" sz="1600" dirty="0">
                <a:solidFill>
                  <a:prstClr val="white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280074690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="" xmlns:p15="http://schemas.microsoft.com/office/powerpoint/2012/main">
        <p15:guide id="1" orient="horz" pos="4135">
          <p15:clr>
            <a:srgbClr val="FBAE40"/>
          </p15:clr>
        </p15:guide>
      </p15:sldGuideLst>
    </p:ext>
  </p:extLs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F Title Slide Alt Confidenti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9" name="Group 78"/>
          <p:cNvGrpSpPr>
            <a:grpSpLocks noChangeAspect="1"/>
          </p:cNvGrpSpPr>
          <p:nvPr userDrawn="1"/>
        </p:nvGrpSpPr>
        <p:grpSpPr bwMode="gray">
          <a:xfrm>
            <a:off x="0" y="1643199"/>
            <a:ext cx="4801323" cy="3045600"/>
            <a:chOff x="3465513" y="2070100"/>
            <a:chExt cx="5260975" cy="2711450"/>
          </a:xfrm>
        </p:grpSpPr>
        <p:sp>
          <p:nvSpPr>
            <p:cNvPr id="80" name="Freeform 5"/>
            <p:cNvSpPr>
              <a:spLocks/>
            </p:cNvSpPr>
            <p:nvPr userDrawn="1"/>
          </p:nvSpPr>
          <p:spPr bwMode="gray">
            <a:xfrm>
              <a:off x="3465513" y="4095750"/>
              <a:ext cx="5260975" cy="685800"/>
            </a:xfrm>
            <a:custGeom>
              <a:avLst/>
              <a:gdLst>
                <a:gd name="T0" fmla="*/ 0 w 1400"/>
                <a:gd name="T1" fmla="*/ 0 h 182"/>
                <a:gd name="T2" fmla="*/ 0 w 1400"/>
                <a:gd name="T3" fmla="*/ 182 h 182"/>
                <a:gd name="T4" fmla="*/ 1376 w 1400"/>
                <a:gd name="T5" fmla="*/ 182 h 182"/>
                <a:gd name="T6" fmla="*/ 1400 w 1400"/>
                <a:gd name="T7" fmla="*/ 158 h 182"/>
                <a:gd name="T8" fmla="*/ 1400 w 1400"/>
                <a:gd name="T9" fmla="*/ 0 h 182"/>
                <a:gd name="T10" fmla="*/ 0 w 1400"/>
                <a:gd name="T11" fmla="*/ 0 h 1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400" h="182">
                  <a:moveTo>
                    <a:pt x="0" y="0"/>
                  </a:moveTo>
                  <a:cubicBezTo>
                    <a:pt x="0" y="182"/>
                    <a:pt x="0" y="182"/>
                    <a:pt x="0" y="182"/>
                  </a:cubicBezTo>
                  <a:cubicBezTo>
                    <a:pt x="1376" y="182"/>
                    <a:pt x="1376" y="182"/>
                    <a:pt x="1376" y="182"/>
                  </a:cubicBezTo>
                  <a:cubicBezTo>
                    <a:pt x="1376" y="182"/>
                    <a:pt x="1400" y="182"/>
                    <a:pt x="1400" y="158"/>
                  </a:cubicBezTo>
                  <a:cubicBezTo>
                    <a:pt x="1400" y="0"/>
                    <a:pt x="1400" y="0"/>
                    <a:pt x="1400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EAEAEA"/>
            </a:solidFill>
            <a:ln w="9525">
              <a:solidFill>
                <a:srgbClr val="EAEAEA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333333"/>
                </a:solidFill>
              </a:endParaRPr>
            </a:p>
          </p:txBody>
        </p:sp>
        <p:sp>
          <p:nvSpPr>
            <p:cNvPr id="81" name="Freeform 80"/>
            <p:cNvSpPr>
              <a:spLocks/>
            </p:cNvSpPr>
            <p:nvPr userDrawn="1"/>
          </p:nvSpPr>
          <p:spPr bwMode="gray">
            <a:xfrm>
              <a:off x="3465513" y="2070100"/>
              <a:ext cx="5260975" cy="2025650"/>
            </a:xfrm>
            <a:custGeom>
              <a:avLst/>
              <a:gdLst>
                <a:gd name="T0" fmla="*/ 0 w 1400"/>
                <a:gd name="T1" fmla="*/ 0 h 538"/>
                <a:gd name="T2" fmla="*/ 0 w 1400"/>
                <a:gd name="T3" fmla="*/ 538 h 538"/>
                <a:gd name="T4" fmla="*/ 1400 w 1400"/>
                <a:gd name="T5" fmla="*/ 538 h 538"/>
                <a:gd name="T6" fmla="*/ 1400 w 1400"/>
                <a:gd name="T7" fmla="*/ 24 h 538"/>
                <a:gd name="T8" fmla="*/ 1376 w 1400"/>
                <a:gd name="T9" fmla="*/ 0 h 538"/>
                <a:gd name="T10" fmla="*/ 0 w 1400"/>
                <a:gd name="T11" fmla="*/ 0 h 5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400" h="538">
                  <a:moveTo>
                    <a:pt x="0" y="0"/>
                  </a:moveTo>
                  <a:cubicBezTo>
                    <a:pt x="0" y="538"/>
                    <a:pt x="0" y="538"/>
                    <a:pt x="0" y="538"/>
                  </a:cubicBezTo>
                  <a:cubicBezTo>
                    <a:pt x="1400" y="538"/>
                    <a:pt x="1400" y="538"/>
                    <a:pt x="1400" y="538"/>
                  </a:cubicBezTo>
                  <a:cubicBezTo>
                    <a:pt x="1400" y="24"/>
                    <a:pt x="1400" y="24"/>
                    <a:pt x="1400" y="24"/>
                  </a:cubicBezTo>
                  <a:cubicBezTo>
                    <a:pt x="1400" y="24"/>
                    <a:pt x="1400" y="0"/>
                    <a:pt x="1376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F6200"/>
            </a:solidFill>
            <a:ln w="9525">
              <a:solidFill>
                <a:srgbClr val="FF6200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333333"/>
                </a:solidFill>
              </a:endParaRPr>
            </a:p>
          </p:txBody>
        </p:sp>
      </p:grpSp>
      <p:sp>
        <p:nvSpPr>
          <p:cNvPr id="9" name="Title 1"/>
          <p:cNvSpPr>
            <a:spLocks noGrp="1"/>
          </p:cNvSpPr>
          <p:nvPr>
            <p:ph type="ctrTitle"/>
          </p:nvPr>
        </p:nvSpPr>
        <p:spPr bwMode="gray">
          <a:xfrm>
            <a:off x="684478" y="2012286"/>
            <a:ext cx="3963347" cy="1461600"/>
          </a:xfrm>
        </p:spPr>
        <p:txBody>
          <a:bodyPr anchor="ctr" anchorCtr="0">
            <a:noAutofit/>
          </a:bodyPr>
          <a:lstStyle>
            <a:lvl1pPr algn="l">
              <a:lnSpc>
                <a:spcPts val="3800"/>
              </a:lnSpc>
              <a:defRPr sz="3800">
                <a:solidFill>
                  <a:schemeClr val="bg1"/>
                </a:solidFill>
              </a:defRPr>
            </a:lvl1pPr>
          </a:lstStyle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  <p:sp>
        <p:nvSpPr>
          <p:cNvPr id="10" name="Subtitle 2"/>
          <p:cNvSpPr>
            <a:spLocks noGrp="1"/>
          </p:cNvSpPr>
          <p:nvPr>
            <p:ph type="subTitle" idx="1"/>
          </p:nvPr>
        </p:nvSpPr>
        <p:spPr bwMode="gray">
          <a:xfrm>
            <a:off x="684478" y="4031478"/>
            <a:ext cx="3963347" cy="306798"/>
          </a:xfrm>
        </p:spPr>
        <p:txBody>
          <a:bodyPr anchor="ctr" anchorCtr="0">
            <a:noAutofit/>
          </a:bodyPr>
          <a:lstStyle>
            <a:lvl1pPr marL="0" indent="0" algn="l">
              <a:lnSpc>
                <a:spcPts val="2200"/>
              </a:lnSpc>
              <a:buNone/>
              <a:defRPr sz="1700" b="0" i="0"/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nl-NL" noProof="0" smtClean="0"/>
              <a:t>Klik om de ondertitelstijl van het model te bewerken</a:t>
            </a:r>
            <a:endParaRPr lang="en-GB" noProof="0" dirty="0"/>
          </a:p>
        </p:txBody>
      </p:sp>
      <p:sp>
        <p:nvSpPr>
          <p:cNvPr id="11" name="Text Placeholder 6"/>
          <p:cNvSpPr>
            <a:spLocks noGrp="1"/>
          </p:cNvSpPr>
          <p:nvPr>
            <p:ph type="body" sz="quarter" idx="11"/>
          </p:nvPr>
        </p:nvSpPr>
        <p:spPr bwMode="gray">
          <a:xfrm>
            <a:off x="684478" y="3603486"/>
            <a:ext cx="3963347" cy="290712"/>
          </a:xfrm>
        </p:spPr>
        <p:txBody>
          <a:bodyPr bIns="0">
            <a:noAutofit/>
          </a:bodyPr>
          <a:lstStyle>
            <a:lvl1pPr algn="l">
              <a:lnSpc>
                <a:spcPts val="1700"/>
              </a:lnSpc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noProof="0" smtClean="0"/>
              <a:t>Klik om de modelstijlen te bewerken</a:t>
            </a:r>
          </a:p>
        </p:txBody>
      </p:sp>
      <p:sp>
        <p:nvSpPr>
          <p:cNvPr id="12" name="Rectangle 11"/>
          <p:cNvSpPr/>
          <p:nvPr userDrawn="1"/>
        </p:nvSpPr>
        <p:spPr bwMode="gray">
          <a:xfrm>
            <a:off x="1" y="6024880"/>
            <a:ext cx="9904532" cy="8331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2400">
              <a:solidFill>
                <a:prstClr val="white"/>
              </a:solidFill>
            </a:endParaRPr>
          </a:p>
        </p:txBody>
      </p:sp>
      <p:pic>
        <p:nvPicPr>
          <p:cNvPr id="18" name="Picture 1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28199" y="6203775"/>
            <a:ext cx="1233535" cy="378000"/>
          </a:xfrm>
          <a:prstGeom prst="rect">
            <a:avLst/>
          </a:prstGeom>
        </p:spPr>
      </p:pic>
      <p:pic>
        <p:nvPicPr>
          <p:cNvPr id="30" name="Picture Placeholder 36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/>
        </p:blipFill>
        <p:spPr bwMode="gray">
          <a:xfrm>
            <a:off x="681038" y="6291858"/>
            <a:ext cx="1778050" cy="287825"/>
          </a:xfrm>
          <a:prstGeom prst="rect">
            <a:avLst/>
          </a:prstGeom>
        </p:spPr>
      </p:pic>
      <p:grpSp>
        <p:nvGrpSpPr>
          <p:cNvPr id="48" name="Group 47"/>
          <p:cNvGrpSpPr/>
          <p:nvPr userDrawn="1"/>
        </p:nvGrpSpPr>
        <p:grpSpPr bwMode="gray">
          <a:xfrm>
            <a:off x="-1653580" y="0"/>
            <a:ext cx="1521000" cy="4689612"/>
            <a:chOff x="-2581275" y="595116"/>
            <a:chExt cx="1872000" cy="4689612"/>
          </a:xfrm>
        </p:grpSpPr>
        <p:sp>
          <p:nvSpPr>
            <p:cNvPr id="49" name="Rectangle 104"/>
            <p:cNvSpPr>
              <a:spLocks noChangeArrowheads="1"/>
            </p:cNvSpPr>
            <p:nvPr/>
          </p:nvSpPr>
          <p:spPr bwMode="gray">
            <a:xfrm>
              <a:off x="-2581275" y="4276728"/>
              <a:ext cx="1872000" cy="100800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0" name="Rectangle 104"/>
            <p:cNvSpPr>
              <a:spLocks noChangeArrowheads="1"/>
            </p:cNvSpPr>
            <p:nvPr userDrawn="1"/>
          </p:nvSpPr>
          <p:spPr bwMode="gray">
            <a:xfrm>
              <a:off x="-2581275" y="595116"/>
              <a:ext cx="1872000" cy="3672087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1" name="Rectangle 105"/>
            <p:cNvSpPr>
              <a:spLocks noChangeArrowheads="1"/>
            </p:cNvSpPr>
            <p:nvPr userDrawn="1"/>
          </p:nvSpPr>
          <p:spPr bwMode="gray">
            <a:xfrm>
              <a:off x="-2449513" y="1136650"/>
              <a:ext cx="215900" cy="215900"/>
            </a:xfrm>
            <a:prstGeom prst="rect">
              <a:avLst/>
            </a:prstGeom>
            <a:solidFill>
              <a:srgbClr val="FF6200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2" name="Rectangle 106"/>
            <p:cNvSpPr>
              <a:spLocks noChangeArrowheads="1"/>
            </p:cNvSpPr>
            <p:nvPr userDrawn="1"/>
          </p:nvSpPr>
          <p:spPr bwMode="gray">
            <a:xfrm>
              <a:off x="-2159000" y="1146175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Orang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55, 98, 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3" name="Rectangle 107"/>
            <p:cNvSpPr>
              <a:spLocks noChangeArrowheads="1"/>
            </p:cNvSpPr>
            <p:nvPr userDrawn="1"/>
          </p:nvSpPr>
          <p:spPr bwMode="gray">
            <a:xfrm>
              <a:off x="-2449513" y="1571626"/>
              <a:ext cx="215900" cy="215900"/>
            </a:xfrm>
            <a:prstGeom prst="rect">
              <a:avLst/>
            </a:prstGeom>
            <a:solidFill>
              <a:srgbClr val="A8A8A8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4" name="Rectangle 108"/>
            <p:cNvSpPr>
              <a:spLocks noChangeArrowheads="1"/>
            </p:cNvSpPr>
            <p:nvPr userDrawn="1"/>
          </p:nvSpPr>
          <p:spPr bwMode="gray">
            <a:xfrm>
              <a:off x="-2159000" y="15970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ght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68, 168, 16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5" name="Rectangle 109"/>
            <p:cNvSpPr>
              <a:spLocks noChangeArrowheads="1"/>
            </p:cNvSpPr>
            <p:nvPr userDrawn="1"/>
          </p:nvSpPr>
          <p:spPr bwMode="gray">
            <a:xfrm>
              <a:off x="-2449513" y="2058988"/>
              <a:ext cx="215900" cy="215900"/>
            </a:xfrm>
            <a:prstGeom prst="rect">
              <a:avLst/>
            </a:prstGeom>
            <a:solidFill>
              <a:srgbClr val="52519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6" name="Rectangle 110"/>
            <p:cNvSpPr>
              <a:spLocks noChangeArrowheads="1"/>
            </p:cNvSpPr>
            <p:nvPr userDrawn="1"/>
          </p:nvSpPr>
          <p:spPr bwMode="gray">
            <a:xfrm>
              <a:off x="-2159000" y="2068513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Indigo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82, 81, 153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7" name="Rectangle 111"/>
            <p:cNvSpPr>
              <a:spLocks noChangeArrowheads="1"/>
            </p:cNvSpPr>
            <p:nvPr userDrawn="1"/>
          </p:nvSpPr>
          <p:spPr bwMode="gray">
            <a:xfrm>
              <a:off x="-2449513" y="2527301"/>
              <a:ext cx="215900" cy="215900"/>
            </a:xfrm>
            <a:prstGeom prst="rect">
              <a:avLst/>
            </a:prstGeom>
            <a:solidFill>
              <a:srgbClr val="60A6DA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8" name="Rectangle 112"/>
            <p:cNvSpPr>
              <a:spLocks noChangeArrowheads="1"/>
            </p:cNvSpPr>
            <p:nvPr userDrawn="1"/>
          </p:nvSpPr>
          <p:spPr bwMode="gray">
            <a:xfrm>
              <a:off x="-2159000" y="25368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Sk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96, 166, 2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9" name="Rectangle 113"/>
            <p:cNvSpPr>
              <a:spLocks noChangeArrowheads="1"/>
            </p:cNvSpPr>
            <p:nvPr userDrawn="1"/>
          </p:nvSpPr>
          <p:spPr bwMode="gray">
            <a:xfrm>
              <a:off x="-2449513" y="762000"/>
              <a:ext cx="1692000" cy="165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90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200" b="1" smtClean="0">
                  <a:solidFill>
                    <a:srgbClr val="333333"/>
                  </a:solidFill>
                </a:rPr>
                <a:t>Colour Guidelines</a:t>
              </a:r>
              <a:endParaRPr lang="en-GB" altLang="en-US" sz="1200" b="1">
                <a:solidFill>
                  <a:srgbClr val="333333"/>
                </a:solidFill>
              </a:endParaRPr>
            </a:p>
          </p:txBody>
        </p:sp>
        <p:sp>
          <p:nvSpPr>
            <p:cNvPr id="60" name="Rectangle 107"/>
            <p:cNvSpPr>
              <a:spLocks noChangeArrowheads="1"/>
            </p:cNvSpPr>
            <p:nvPr/>
          </p:nvSpPr>
          <p:spPr bwMode="gray">
            <a:xfrm>
              <a:off x="-2449513" y="2962277"/>
              <a:ext cx="215900" cy="215900"/>
            </a:xfrm>
            <a:prstGeom prst="rect">
              <a:avLst/>
            </a:prstGeom>
            <a:solidFill>
              <a:srgbClr val="AB006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1" name="Rectangle 108"/>
            <p:cNvSpPr>
              <a:spLocks noChangeArrowheads="1"/>
            </p:cNvSpPr>
            <p:nvPr/>
          </p:nvSpPr>
          <p:spPr bwMode="gray">
            <a:xfrm>
              <a:off x="-2159000" y="29876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Fuchsia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71, 0, 102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2" name="Rectangle 109"/>
            <p:cNvSpPr>
              <a:spLocks noChangeArrowheads="1"/>
            </p:cNvSpPr>
            <p:nvPr/>
          </p:nvSpPr>
          <p:spPr bwMode="gray">
            <a:xfrm>
              <a:off x="-2449513" y="3449639"/>
              <a:ext cx="215900" cy="215900"/>
            </a:xfrm>
            <a:prstGeom prst="rect">
              <a:avLst/>
            </a:prstGeom>
            <a:solidFill>
              <a:srgbClr val="D0D93C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3" name="Rectangle 110"/>
            <p:cNvSpPr>
              <a:spLocks noChangeArrowheads="1"/>
            </p:cNvSpPr>
            <p:nvPr/>
          </p:nvSpPr>
          <p:spPr bwMode="gray">
            <a:xfrm>
              <a:off x="-2159000" y="3459164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m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08, 217, 6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4" name="Rectangle 111"/>
            <p:cNvSpPr>
              <a:spLocks noChangeArrowheads="1"/>
            </p:cNvSpPr>
            <p:nvPr/>
          </p:nvSpPr>
          <p:spPr bwMode="gray">
            <a:xfrm>
              <a:off x="-2449513" y="3917952"/>
              <a:ext cx="215900" cy="215900"/>
            </a:xfrm>
            <a:prstGeom prst="rect">
              <a:avLst/>
            </a:prstGeom>
            <a:solidFill>
              <a:srgbClr val="01964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5" name="Rectangle 112"/>
            <p:cNvSpPr>
              <a:spLocks noChangeArrowheads="1"/>
            </p:cNvSpPr>
            <p:nvPr/>
          </p:nvSpPr>
          <p:spPr bwMode="gray">
            <a:xfrm>
              <a:off x="-2159000" y="39274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eaf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2, 150, 8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6" name="Rectangle 109"/>
            <p:cNvSpPr>
              <a:spLocks noChangeArrowheads="1"/>
            </p:cNvSpPr>
            <p:nvPr/>
          </p:nvSpPr>
          <p:spPr bwMode="gray">
            <a:xfrm>
              <a:off x="-2449513" y="4405314"/>
              <a:ext cx="215900" cy="215900"/>
            </a:xfrm>
            <a:prstGeom prst="rect">
              <a:avLst/>
            </a:prstGeom>
            <a:solidFill>
              <a:srgbClr val="76767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7" name="Rectangle 110"/>
            <p:cNvSpPr>
              <a:spLocks noChangeArrowheads="1"/>
            </p:cNvSpPr>
            <p:nvPr/>
          </p:nvSpPr>
          <p:spPr bwMode="gray">
            <a:xfrm>
              <a:off x="-2159000" y="4414839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Mid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18, 118, 1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8" name="Rectangle 111"/>
            <p:cNvSpPr>
              <a:spLocks noChangeArrowheads="1"/>
            </p:cNvSpPr>
            <p:nvPr/>
          </p:nvSpPr>
          <p:spPr bwMode="gray">
            <a:xfrm>
              <a:off x="-2449513" y="4873627"/>
              <a:ext cx="215900" cy="215900"/>
            </a:xfrm>
            <a:prstGeom prst="rect">
              <a:avLst/>
            </a:prstGeom>
            <a:solidFill>
              <a:srgbClr val="333333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9" name="Rectangle 112"/>
            <p:cNvSpPr>
              <a:spLocks noChangeArrowheads="1"/>
            </p:cNvSpPr>
            <p:nvPr/>
          </p:nvSpPr>
          <p:spPr bwMode="gray">
            <a:xfrm>
              <a:off x="-2159000" y="4883152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Text Colour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1, 51, 5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</p:grpSp>
      <p:pic>
        <p:nvPicPr>
          <p:cNvPr id="38" name="Picture 37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466554" y="4402733"/>
            <a:ext cx="125761" cy="138908"/>
          </a:xfrm>
          <a:prstGeom prst="rect">
            <a:avLst/>
          </a:prstGeom>
        </p:spPr>
      </p:pic>
      <p:sp>
        <p:nvSpPr>
          <p:cNvPr id="39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684478" y="4381898"/>
            <a:ext cx="3963375" cy="216000"/>
          </a:xfrm>
        </p:spPr>
        <p:txBody>
          <a:bodyPr tIns="0" bIns="0"/>
          <a:lstStyle>
            <a:lvl1pPr marL="0" indent="0" algn="l">
              <a:lnSpc>
                <a:spcPts val="1350"/>
              </a:lnSpc>
              <a:buNone/>
              <a:defRPr sz="1350">
                <a:solidFill>
                  <a:srgbClr val="000000"/>
                </a:solidFill>
                <a:latin typeface="+mn-lt"/>
              </a:defRPr>
            </a:lvl1pPr>
            <a:lvl2pPr>
              <a:defRPr sz="2200">
                <a:solidFill>
                  <a:srgbClr val="000000"/>
                </a:solidFill>
              </a:defRPr>
            </a:lvl2pPr>
            <a:lvl3pPr>
              <a:defRPr sz="2200">
                <a:solidFill>
                  <a:srgbClr val="000000"/>
                </a:solidFill>
              </a:defRPr>
            </a:lvl3pPr>
            <a:lvl4pPr>
              <a:defRPr sz="2200">
                <a:solidFill>
                  <a:srgbClr val="000000"/>
                </a:solidFill>
              </a:defRPr>
            </a:lvl4pPr>
            <a:lvl5pPr>
              <a:defRPr sz="2200">
                <a:solidFill>
                  <a:srgbClr val="000000"/>
                </a:solidFill>
              </a:defRPr>
            </a:lvl5pPr>
          </a:lstStyle>
          <a:p>
            <a:pPr lvl="0"/>
            <a:r>
              <a:rPr lang="en-GB" noProof="0" dirty="0" smtClean="0"/>
              <a:t>Click to edit location and date</a:t>
            </a:r>
          </a:p>
        </p:txBody>
      </p:sp>
      <p:sp>
        <p:nvSpPr>
          <p:cNvPr id="70" name="Picture Placeholder 69"/>
          <p:cNvSpPr>
            <a:spLocks noGrp="1"/>
          </p:cNvSpPr>
          <p:nvPr>
            <p:ph type="pic" sz="quarter" idx="12"/>
          </p:nvPr>
        </p:nvSpPr>
        <p:spPr bwMode="gray">
          <a:xfrm>
            <a:off x="-2580" y="2"/>
            <a:ext cx="9908580" cy="6024879"/>
          </a:xfrm>
          <a:custGeom>
            <a:avLst/>
            <a:gdLst>
              <a:gd name="connsiteX0" fmla="*/ 11239226 w 12195175"/>
              <a:gd name="connsiteY0" fmla="*/ 0 h 6024879"/>
              <a:gd name="connsiteX1" fmla="*/ 12195175 w 12195175"/>
              <a:gd name="connsiteY1" fmla="*/ 0 h 6024879"/>
              <a:gd name="connsiteX2" fmla="*/ 12195175 w 12195175"/>
              <a:gd name="connsiteY2" fmla="*/ 955949 h 6024879"/>
              <a:gd name="connsiteX3" fmla="*/ 0 w 12195175"/>
              <a:gd name="connsiteY3" fmla="*/ 0 h 6024879"/>
              <a:gd name="connsiteX4" fmla="*/ 10750550 w 12195175"/>
              <a:gd name="connsiteY4" fmla="*/ 0 h 6024879"/>
              <a:gd name="connsiteX5" fmla="*/ 12195175 w 12195175"/>
              <a:gd name="connsiteY5" fmla="*/ 1444625 h 6024879"/>
              <a:gd name="connsiteX6" fmla="*/ 12195175 w 12195175"/>
              <a:gd name="connsiteY6" fmla="*/ 6024879 h 6024879"/>
              <a:gd name="connsiteX7" fmla="*/ 0 w 12195175"/>
              <a:gd name="connsiteY7" fmla="*/ 6024879 h 6024879"/>
              <a:gd name="connsiteX8" fmla="*/ 0 w 12195175"/>
              <a:gd name="connsiteY8" fmla="*/ 4688798 h 6024879"/>
              <a:gd name="connsiteX9" fmla="*/ 3176 w 12195175"/>
              <a:gd name="connsiteY9" fmla="*/ 4688798 h 6024879"/>
              <a:gd name="connsiteX10" fmla="*/ 61412 w 12195175"/>
              <a:gd name="connsiteY10" fmla="*/ 4688798 h 6024879"/>
              <a:gd name="connsiteX11" fmla="*/ 530839 w 12195175"/>
              <a:gd name="connsiteY11" fmla="*/ 4688798 h 6024879"/>
              <a:gd name="connsiteX12" fmla="*/ 5811194 w 12195175"/>
              <a:gd name="connsiteY12" fmla="*/ 4688798 h 6024879"/>
              <a:gd name="connsiteX13" fmla="*/ 5912496 w 12195175"/>
              <a:gd name="connsiteY13" fmla="*/ 4587218 h 6024879"/>
              <a:gd name="connsiteX14" fmla="*/ 5912496 w 12195175"/>
              <a:gd name="connsiteY14" fmla="*/ 3918482 h 6024879"/>
              <a:gd name="connsiteX15" fmla="*/ 5912496 w 12195175"/>
              <a:gd name="connsiteY15" fmla="*/ 1744697 h 6024879"/>
              <a:gd name="connsiteX16" fmla="*/ 5811194 w 12195175"/>
              <a:gd name="connsiteY16" fmla="*/ 1643198 h 6024879"/>
              <a:gd name="connsiteX17" fmla="*/ 61412 w 12195175"/>
              <a:gd name="connsiteY17" fmla="*/ 1643198 h 6024879"/>
              <a:gd name="connsiteX18" fmla="*/ 3176 w 12195175"/>
              <a:gd name="connsiteY18" fmla="*/ 1643198 h 6024879"/>
              <a:gd name="connsiteX19" fmla="*/ 0 w 12195175"/>
              <a:gd name="connsiteY19" fmla="*/ 1643198 h 60248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12195175" h="6024879">
                <a:moveTo>
                  <a:pt x="11239226" y="0"/>
                </a:moveTo>
                <a:lnTo>
                  <a:pt x="12195175" y="0"/>
                </a:lnTo>
                <a:lnTo>
                  <a:pt x="12195175" y="955949"/>
                </a:lnTo>
                <a:close/>
                <a:moveTo>
                  <a:pt x="0" y="0"/>
                </a:moveTo>
                <a:lnTo>
                  <a:pt x="10750550" y="0"/>
                </a:lnTo>
                <a:lnTo>
                  <a:pt x="12195175" y="1444625"/>
                </a:lnTo>
                <a:lnTo>
                  <a:pt x="12195175" y="6024879"/>
                </a:lnTo>
                <a:lnTo>
                  <a:pt x="0" y="6024879"/>
                </a:lnTo>
                <a:lnTo>
                  <a:pt x="0" y="4688798"/>
                </a:lnTo>
                <a:lnTo>
                  <a:pt x="3176" y="4688798"/>
                </a:lnTo>
                <a:lnTo>
                  <a:pt x="61412" y="4688798"/>
                </a:lnTo>
                <a:lnTo>
                  <a:pt x="530839" y="4688798"/>
                </a:lnTo>
                <a:cubicBezTo>
                  <a:pt x="5811194" y="4688798"/>
                  <a:pt x="5811194" y="4688798"/>
                  <a:pt x="5811194" y="4688798"/>
                </a:cubicBezTo>
                <a:cubicBezTo>
                  <a:pt x="5811194" y="4688798"/>
                  <a:pt x="5912496" y="4688798"/>
                  <a:pt x="5912496" y="4587218"/>
                </a:cubicBezTo>
                <a:cubicBezTo>
                  <a:pt x="5912496" y="3918482"/>
                  <a:pt x="5912496" y="3918482"/>
                  <a:pt x="5912496" y="3918482"/>
                </a:cubicBezTo>
                <a:cubicBezTo>
                  <a:pt x="5912496" y="1744697"/>
                  <a:pt x="5912496" y="1744697"/>
                  <a:pt x="5912496" y="1744697"/>
                </a:cubicBezTo>
                <a:cubicBezTo>
                  <a:pt x="5912496" y="1744697"/>
                  <a:pt x="5912496" y="1643198"/>
                  <a:pt x="5811194" y="1643198"/>
                </a:cubicBezTo>
                <a:lnTo>
                  <a:pt x="61412" y="1643198"/>
                </a:lnTo>
                <a:lnTo>
                  <a:pt x="3176" y="1643198"/>
                </a:lnTo>
                <a:lnTo>
                  <a:pt x="0" y="1643198"/>
                </a:lnTo>
                <a:close/>
              </a:path>
            </a:pathLst>
          </a:custGeom>
          <a:solidFill>
            <a:srgbClr val="E9E9E9">
              <a:alpha val="10000"/>
            </a:srgbClr>
          </a:solidFill>
        </p:spPr>
        <p:txBody>
          <a:bodyPr wrap="square" lIns="2880000" tIns="0" anchor="ctr" anchorCtr="0">
            <a:noAutofit/>
          </a:bodyPr>
          <a:lstStyle>
            <a:lvl1pPr algn="ctr">
              <a:defRPr sz="1400" b="0"/>
            </a:lvl1pPr>
          </a:lstStyle>
          <a:p>
            <a:r>
              <a:rPr lang="nl-NL" smtClean="0"/>
              <a:t>Klik op het pictogram als u een afbeelding wilt toevoegen</a:t>
            </a:r>
            <a:endParaRPr lang="en-GB"/>
          </a:p>
        </p:txBody>
      </p:sp>
      <p:grpSp>
        <p:nvGrpSpPr>
          <p:cNvPr id="40" name="Group 39"/>
          <p:cNvGrpSpPr/>
          <p:nvPr userDrawn="1"/>
        </p:nvGrpSpPr>
        <p:grpSpPr>
          <a:xfrm>
            <a:off x="8733699" y="-133099"/>
            <a:ext cx="1170834" cy="1565166"/>
            <a:chOff x="5364088" y="4720073"/>
            <a:chExt cx="1441027" cy="1565166"/>
          </a:xfrm>
        </p:grpSpPr>
        <p:sp>
          <p:nvSpPr>
            <p:cNvPr id="41" name="Freeform 5"/>
            <p:cNvSpPr>
              <a:spLocks/>
            </p:cNvSpPr>
            <p:nvPr/>
          </p:nvSpPr>
          <p:spPr bwMode="gray">
            <a:xfrm>
              <a:off x="5364088" y="4844212"/>
              <a:ext cx="1441027" cy="1441027"/>
            </a:xfrm>
            <a:custGeom>
              <a:avLst/>
              <a:gdLst>
                <a:gd name="T0" fmla="*/ 0 w 810"/>
                <a:gd name="T1" fmla="*/ 0 h 810"/>
                <a:gd name="T2" fmla="*/ 810 w 810"/>
                <a:gd name="T3" fmla="*/ 810 h 810"/>
                <a:gd name="T4" fmla="*/ 810 w 810"/>
                <a:gd name="T5" fmla="*/ 536 h 810"/>
                <a:gd name="T6" fmla="*/ 274 w 810"/>
                <a:gd name="T7" fmla="*/ 0 h 810"/>
                <a:gd name="T8" fmla="*/ 0 w 810"/>
                <a:gd name="T9" fmla="*/ 0 h 8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10" h="810">
                  <a:moveTo>
                    <a:pt x="0" y="0"/>
                  </a:moveTo>
                  <a:lnTo>
                    <a:pt x="810" y="810"/>
                  </a:lnTo>
                  <a:lnTo>
                    <a:pt x="810" y="536"/>
                  </a:lnTo>
                  <a:lnTo>
                    <a:pt x="274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17A7DC"/>
            </a:solidFill>
            <a:ln w="3175">
              <a:solidFill>
                <a:srgbClr val="17A7DC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>
                <a:solidFill>
                  <a:srgbClr val="333333"/>
                </a:solidFill>
              </a:endParaRPr>
            </a:p>
          </p:txBody>
        </p:sp>
        <p:sp>
          <p:nvSpPr>
            <p:cNvPr id="42" name="Title 14"/>
            <p:cNvSpPr txBox="1">
              <a:spLocks/>
            </p:cNvSpPr>
            <p:nvPr userDrawn="1"/>
          </p:nvSpPr>
          <p:spPr bwMode="gray">
            <a:xfrm rot="2700000">
              <a:off x="5481455" y="5320862"/>
              <a:ext cx="1447800" cy="246221"/>
            </a:xfrm>
            <a:prstGeom prst="rect">
              <a:avLst/>
            </a:prstGeom>
          </p:spPr>
          <p:txBody>
            <a:bodyPr vert="horz" wrap="none" lIns="0" tIns="0" rIns="0" bIns="0" rtlCol="0" anchor="ctr" anchorCtr="0">
              <a:noAutofit/>
            </a:bodyPr>
            <a:lstStyle>
              <a:lvl1pPr algn="l" defTabSz="914400" rtl="0" eaLnBrk="1" latinLnBrk="0" hangingPunct="1">
                <a:lnSpc>
                  <a:spcPts val="4600"/>
                </a:lnSpc>
                <a:spcBef>
                  <a:spcPct val="0"/>
                </a:spcBef>
                <a:buNone/>
                <a:defRPr sz="4400" b="1" kern="1200" baseline="0">
                  <a:solidFill>
                    <a:schemeClr val="bg1"/>
                  </a:solidFill>
                  <a:latin typeface="+mj-lt"/>
                  <a:ea typeface="+mj-ea"/>
                  <a:cs typeface="Arial" panose="020B0604020202020204" pitchFamily="34" charset="0"/>
                </a:defRPr>
              </a:lvl1pPr>
            </a:lstStyle>
            <a:p>
              <a:pPr algn="ctr">
                <a:lnSpc>
                  <a:spcPct val="100000"/>
                </a:lnSpc>
              </a:pPr>
              <a:r>
                <a:rPr lang="en-US" sz="1600" smtClean="0">
                  <a:solidFill>
                    <a:prstClr val="white"/>
                  </a:solidFill>
                </a:rPr>
                <a:t>Confidential</a:t>
              </a:r>
              <a:endParaRPr lang="en-GB" sz="1600" dirty="0">
                <a:solidFill>
                  <a:prstClr val="white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128085664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="" xmlns:p15="http://schemas.microsoft.com/office/powerpoint/2012/main">
        <p15:guide id="1" orient="horz" pos="4135">
          <p15:clr>
            <a:srgbClr val="FBAE40"/>
          </p15:clr>
        </p15:guide>
      </p15:sldGuideLst>
    </p:ext>
  </p:extLs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ex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5"/>
          <p:cNvSpPr>
            <a:spLocks noChangeAspect="1"/>
          </p:cNvSpPr>
          <p:nvPr userDrawn="1"/>
        </p:nvSpPr>
        <p:spPr bwMode="gray">
          <a:xfrm>
            <a:off x="566241" y="1201147"/>
            <a:ext cx="9099675" cy="4999653"/>
          </a:xfrm>
          <a:custGeom>
            <a:avLst/>
            <a:gdLst>
              <a:gd name="connsiteX0" fmla="*/ 95997 w 11199600"/>
              <a:gd name="connsiteY0" fmla="*/ 0 h 4999653"/>
              <a:gd name="connsiteX1" fmla="*/ 11103603 w 11199600"/>
              <a:gd name="connsiteY1" fmla="*/ 0 h 4999653"/>
              <a:gd name="connsiteX2" fmla="*/ 11199600 w 11199600"/>
              <a:gd name="connsiteY2" fmla="*/ 96110 h 4999653"/>
              <a:gd name="connsiteX3" fmla="*/ 11199600 w 11199600"/>
              <a:gd name="connsiteY3" fmla="*/ 335165 h 4999653"/>
              <a:gd name="connsiteX4" fmla="*/ 11199600 w 11199600"/>
              <a:gd name="connsiteY4" fmla="*/ 370350 h 4999653"/>
              <a:gd name="connsiteX5" fmla="*/ 11199600 w 11199600"/>
              <a:gd name="connsiteY5" fmla="*/ 379204 h 4999653"/>
              <a:gd name="connsiteX6" fmla="*/ 11199600 w 11199600"/>
              <a:gd name="connsiteY6" fmla="*/ 400048 h 4999653"/>
              <a:gd name="connsiteX7" fmla="*/ 11199600 w 11199600"/>
              <a:gd name="connsiteY7" fmla="*/ 400232 h 4999653"/>
              <a:gd name="connsiteX8" fmla="*/ 11199600 w 11199600"/>
              <a:gd name="connsiteY8" fmla="*/ 471202 h 4999653"/>
              <a:gd name="connsiteX9" fmla="*/ 11199600 w 11199600"/>
              <a:gd name="connsiteY9" fmla="*/ 475721 h 4999653"/>
              <a:gd name="connsiteX10" fmla="*/ 11199600 w 11199600"/>
              <a:gd name="connsiteY10" fmla="*/ 508692 h 4999653"/>
              <a:gd name="connsiteX11" fmla="*/ 11199600 w 11199600"/>
              <a:gd name="connsiteY11" fmla="*/ 554484 h 4999653"/>
              <a:gd name="connsiteX12" fmla="*/ 11199600 w 11199600"/>
              <a:gd name="connsiteY12" fmla="*/ 563015 h 4999653"/>
              <a:gd name="connsiteX13" fmla="*/ 11199600 w 11199600"/>
              <a:gd name="connsiteY13" fmla="*/ 609405 h 4999653"/>
              <a:gd name="connsiteX14" fmla="*/ 11199600 w 11199600"/>
              <a:gd name="connsiteY14" fmla="*/ 662759 h 4999653"/>
              <a:gd name="connsiteX15" fmla="*/ 11199600 w 11199600"/>
              <a:gd name="connsiteY15" fmla="*/ 674288 h 4999653"/>
              <a:gd name="connsiteX16" fmla="*/ 11199600 w 11199600"/>
              <a:gd name="connsiteY16" fmla="*/ 749961 h 4999653"/>
              <a:gd name="connsiteX17" fmla="*/ 11199600 w 11199600"/>
              <a:gd name="connsiteY17" fmla="*/ 775785 h 4999653"/>
              <a:gd name="connsiteX18" fmla="*/ 11199600 w 11199600"/>
              <a:gd name="connsiteY18" fmla="*/ 837255 h 4999653"/>
              <a:gd name="connsiteX19" fmla="*/ 11199600 w 11199600"/>
              <a:gd name="connsiteY19" fmla="*/ 902921 h 4999653"/>
              <a:gd name="connsiteX20" fmla="*/ 11199600 w 11199600"/>
              <a:gd name="connsiteY20" fmla="*/ 936999 h 4999653"/>
              <a:gd name="connsiteX21" fmla="*/ 11199600 w 11199600"/>
              <a:gd name="connsiteY21" fmla="*/ 1044999 h 4999653"/>
              <a:gd name="connsiteX22" fmla="*/ 11199600 w 11199600"/>
              <a:gd name="connsiteY22" fmla="*/ 1050025 h 4999653"/>
              <a:gd name="connsiteX23" fmla="*/ 11199600 w 11199600"/>
              <a:gd name="connsiteY23" fmla="*/ 1177161 h 4999653"/>
              <a:gd name="connsiteX24" fmla="*/ 11199600 w 11199600"/>
              <a:gd name="connsiteY24" fmla="*/ 1202847 h 4999653"/>
              <a:gd name="connsiteX25" fmla="*/ 11199600 w 11199600"/>
              <a:gd name="connsiteY25" fmla="*/ 1319239 h 4999653"/>
              <a:gd name="connsiteX26" fmla="*/ 11199600 w 11199600"/>
              <a:gd name="connsiteY26" fmla="*/ 1377296 h 4999653"/>
              <a:gd name="connsiteX27" fmla="*/ 11199600 w 11199600"/>
              <a:gd name="connsiteY27" fmla="*/ 1477087 h 4999653"/>
              <a:gd name="connsiteX28" fmla="*/ 11199600 w 11199600"/>
              <a:gd name="connsiteY28" fmla="*/ 1569177 h 4999653"/>
              <a:gd name="connsiteX29" fmla="*/ 11199600 w 11199600"/>
              <a:gd name="connsiteY29" fmla="*/ 1651536 h 4999653"/>
              <a:gd name="connsiteX30" fmla="*/ 11199600 w 11199600"/>
              <a:gd name="connsiteY30" fmla="*/ 1779318 h 4999653"/>
              <a:gd name="connsiteX31" fmla="*/ 11199600 w 11199600"/>
              <a:gd name="connsiteY31" fmla="*/ 1843417 h 4999653"/>
              <a:gd name="connsiteX32" fmla="*/ 11199600 w 11199600"/>
              <a:gd name="connsiteY32" fmla="*/ 2008551 h 4999653"/>
              <a:gd name="connsiteX33" fmla="*/ 11199600 w 11199600"/>
              <a:gd name="connsiteY33" fmla="*/ 2053558 h 4999653"/>
              <a:gd name="connsiteX34" fmla="*/ 11199600 w 11199600"/>
              <a:gd name="connsiteY34" fmla="*/ 2257705 h 4999653"/>
              <a:gd name="connsiteX35" fmla="*/ 11199600 w 11199600"/>
              <a:gd name="connsiteY35" fmla="*/ 2282791 h 4999653"/>
              <a:gd name="connsiteX36" fmla="*/ 11199600 w 11199600"/>
              <a:gd name="connsiteY36" fmla="*/ 2527610 h 4999653"/>
              <a:gd name="connsiteX37" fmla="*/ 11199600 w 11199600"/>
              <a:gd name="connsiteY37" fmla="*/ 2531945 h 4999653"/>
              <a:gd name="connsiteX38" fmla="*/ 11199600 w 11199600"/>
              <a:gd name="connsiteY38" fmla="*/ 2801851 h 4999653"/>
              <a:gd name="connsiteX39" fmla="*/ 11199600 w 11199600"/>
              <a:gd name="connsiteY39" fmla="*/ 2819097 h 4999653"/>
              <a:gd name="connsiteX40" fmla="*/ 11199600 w 11199600"/>
              <a:gd name="connsiteY40" fmla="*/ 3093337 h 4999653"/>
              <a:gd name="connsiteX41" fmla="*/ 11199600 w 11199600"/>
              <a:gd name="connsiteY41" fmla="*/ 3132995 h 4999653"/>
              <a:gd name="connsiteX42" fmla="*/ 11199600 w 11199600"/>
              <a:gd name="connsiteY42" fmla="*/ 3407236 h 4999653"/>
              <a:gd name="connsiteX43" fmla="*/ 11199600 w 11199600"/>
              <a:gd name="connsiteY43" fmla="*/ 3470135 h 4999653"/>
              <a:gd name="connsiteX44" fmla="*/ 11199600 w 11199600"/>
              <a:gd name="connsiteY44" fmla="*/ 3744375 h 4999653"/>
              <a:gd name="connsiteX45" fmla="*/ 11199600 w 11199600"/>
              <a:gd name="connsiteY45" fmla="*/ 3831346 h 4999653"/>
              <a:gd name="connsiteX46" fmla="*/ 11199600 w 11199600"/>
              <a:gd name="connsiteY46" fmla="*/ 4105586 h 4999653"/>
              <a:gd name="connsiteX47" fmla="*/ 11199600 w 11199600"/>
              <a:gd name="connsiteY47" fmla="*/ 4217459 h 4999653"/>
              <a:gd name="connsiteX48" fmla="*/ 11199600 w 11199600"/>
              <a:gd name="connsiteY48" fmla="*/ 4491699 h 4999653"/>
              <a:gd name="connsiteX49" fmla="*/ 11199600 w 11199600"/>
              <a:gd name="connsiteY49" fmla="*/ 4629303 h 4999653"/>
              <a:gd name="connsiteX50" fmla="*/ 11199600 w 11199600"/>
              <a:gd name="connsiteY50" fmla="*/ 4903543 h 4999653"/>
              <a:gd name="connsiteX51" fmla="*/ 11103603 w 11199600"/>
              <a:gd name="connsiteY51" fmla="*/ 4999653 h 4999653"/>
              <a:gd name="connsiteX52" fmla="*/ 95997 w 11199600"/>
              <a:gd name="connsiteY52" fmla="*/ 4999653 h 4999653"/>
              <a:gd name="connsiteX53" fmla="*/ 0 w 11199600"/>
              <a:gd name="connsiteY53" fmla="*/ 4903543 h 4999653"/>
              <a:gd name="connsiteX54" fmla="*/ 0 w 11199600"/>
              <a:gd name="connsiteY54" fmla="*/ 4664488 h 4999653"/>
              <a:gd name="connsiteX55" fmla="*/ 0 w 11199600"/>
              <a:gd name="connsiteY55" fmla="*/ 4629303 h 4999653"/>
              <a:gd name="connsiteX56" fmla="*/ 0 w 11199600"/>
              <a:gd name="connsiteY56" fmla="*/ 4628197 h 4999653"/>
              <a:gd name="connsiteX57" fmla="*/ 0 w 11199600"/>
              <a:gd name="connsiteY57" fmla="*/ 4620449 h 4999653"/>
              <a:gd name="connsiteX58" fmla="*/ 0 w 11199600"/>
              <a:gd name="connsiteY58" fmla="*/ 4599606 h 4999653"/>
              <a:gd name="connsiteX59" fmla="*/ 0 w 11199600"/>
              <a:gd name="connsiteY59" fmla="*/ 4599421 h 4999653"/>
              <a:gd name="connsiteX60" fmla="*/ 0 w 11199600"/>
              <a:gd name="connsiteY60" fmla="*/ 4558472 h 4999653"/>
              <a:gd name="connsiteX61" fmla="*/ 0 w 11199600"/>
              <a:gd name="connsiteY61" fmla="*/ 4528452 h 4999653"/>
              <a:gd name="connsiteX62" fmla="*/ 0 w 11199600"/>
              <a:gd name="connsiteY62" fmla="*/ 4523933 h 4999653"/>
              <a:gd name="connsiteX63" fmla="*/ 0 w 11199600"/>
              <a:gd name="connsiteY63" fmla="*/ 4490961 h 4999653"/>
              <a:gd name="connsiteX64" fmla="*/ 0 w 11199600"/>
              <a:gd name="connsiteY64" fmla="*/ 4445170 h 4999653"/>
              <a:gd name="connsiteX65" fmla="*/ 0 w 11199600"/>
              <a:gd name="connsiteY65" fmla="*/ 4436639 h 4999653"/>
              <a:gd name="connsiteX66" fmla="*/ 0 w 11199600"/>
              <a:gd name="connsiteY66" fmla="*/ 4390248 h 4999653"/>
              <a:gd name="connsiteX67" fmla="*/ 0 w 11199600"/>
              <a:gd name="connsiteY67" fmla="*/ 4336894 h 4999653"/>
              <a:gd name="connsiteX68" fmla="*/ 0 w 11199600"/>
              <a:gd name="connsiteY68" fmla="*/ 4325366 h 4999653"/>
              <a:gd name="connsiteX69" fmla="*/ 0 w 11199600"/>
              <a:gd name="connsiteY69" fmla="*/ 4249693 h 4999653"/>
              <a:gd name="connsiteX70" fmla="*/ 0 w 11199600"/>
              <a:gd name="connsiteY70" fmla="*/ 4223869 h 4999653"/>
              <a:gd name="connsiteX71" fmla="*/ 0 w 11199600"/>
              <a:gd name="connsiteY71" fmla="*/ 4162399 h 4999653"/>
              <a:gd name="connsiteX72" fmla="*/ 0 w 11199600"/>
              <a:gd name="connsiteY72" fmla="*/ 4096732 h 4999653"/>
              <a:gd name="connsiteX73" fmla="*/ 0 w 11199600"/>
              <a:gd name="connsiteY73" fmla="*/ 4062654 h 4999653"/>
              <a:gd name="connsiteX74" fmla="*/ 0 w 11199600"/>
              <a:gd name="connsiteY74" fmla="*/ 3954655 h 4999653"/>
              <a:gd name="connsiteX75" fmla="*/ 0 w 11199600"/>
              <a:gd name="connsiteY75" fmla="*/ 3949629 h 4999653"/>
              <a:gd name="connsiteX76" fmla="*/ 0 w 11199600"/>
              <a:gd name="connsiteY76" fmla="*/ 3822492 h 4999653"/>
              <a:gd name="connsiteX77" fmla="*/ 0 w 11199600"/>
              <a:gd name="connsiteY77" fmla="*/ 3796807 h 4999653"/>
              <a:gd name="connsiteX78" fmla="*/ 0 w 11199600"/>
              <a:gd name="connsiteY78" fmla="*/ 3680415 h 4999653"/>
              <a:gd name="connsiteX79" fmla="*/ 0 w 11199600"/>
              <a:gd name="connsiteY79" fmla="*/ 3622357 h 4999653"/>
              <a:gd name="connsiteX80" fmla="*/ 0 w 11199600"/>
              <a:gd name="connsiteY80" fmla="*/ 3522567 h 4999653"/>
              <a:gd name="connsiteX81" fmla="*/ 0 w 11199600"/>
              <a:gd name="connsiteY81" fmla="*/ 3430477 h 4999653"/>
              <a:gd name="connsiteX82" fmla="*/ 0 w 11199600"/>
              <a:gd name="connsiteY82" fmla="*/ 3348117 h 4999653"/>
              <a:gd name="connsiteX83" fmla="*/ 0 w 11199600"/>
              <a:gd name="connsiteY83" fmla="*/ 3220335 h 4999653"/>
              <a:gd name="connsiteX84" fmla="*/ 0 w 11199600"/>
              <a:gd name="connsiteY84" fmla="*/ 3156237 h 4999653"/>
              <a:gd name="connsiteX85" fmla="*/ 0 w 11199600"/>
              <a:gd name="connsiteY85" fmla="*/ 2991102 h 4999653"/>
              <a:gd name="connsiteX86" fmla="*/ 0 w 11199600"/>
              <a:gd name="connsiteY86" fmla="*/ 2946095 h 4999653"/>
              <a:gd name="connsiteX87" fmla="*/ 0 w 11199600"/>
              <a:gd name="connsiteY87" fmla="*/ 2741948 h 4999653"/>
              <a:gd name="connsiteX88" fmla="*/ 0 w 11199600"/>
              <a:gd name="connsiteY88" fmla="*/ 2716862 h 4999653"/>
              <a:gd name="connsiteX89" fmla="*/ 0 w 11199600"/>
              <a:gd name="connsiteY89" fmla="*/ 2472043 h 4999653"/>
              <a:gd name="connsiteX90" fmla="*/ 0 w 11199600"/>
              <a:gd name="connsiteY90" fmla="*/ 2467708 h 4999653"/>
              <a:gd name="connsiteX91" fmla="*/ 0 w 11199600"/>
              <a:gd name="connsiteY91" fmla="*/ 2197803 h 4999653"/>
              <a:gd name="connsiteX92" fmla="*/ 0 w 11199600"/>
              <a:gd name="connsiteY92" fmla="*/ 2180556 h 4999653"/>
              <a:gd name="connsiteX93" fmla="*/ 0 w 11199600"/>
              <a:gd name="connsiteY93" fmla="*/ 1906316 h 4999653"/>
              <a:gd name="connsiteX94" fmla="*/ 0 w 11199600"/>
              <a:gd name="connsiteY94" fmla="*/ 1866658 h 4999653"/>
              <a:gd name="connsiteX95" fmla="*/ 0 w 11199600"/>
              <a:gd name="connsiteY95" fmla="*/ 1592418 h 4999653"/>
              <a:gd name="connsiteX96" fmla="*/ 0 w 11199600"/>
              <a:gd name="connsiteY96" fmla="*/ 1529519 h 4999653"/>
              <a:gd name="connsiteX97" fmla="*/ 0 w 11199600"/>
              <a:gd name="connsiteY97" fmla="*/ 1255278 h 4999653"/>
              <a:gd name="connsiteX98" fmla="*/ 0 w 11199600"/>
              <a:gd name="connsiteY98" fmla="*/ 1168307 h 4999653"/>
              <a:gd name="connsiteX99" fmla="*/ 0 w 11199600"/>
              <a:gd name="connsiteY99" fmla="*/ 894067 h 4999653"/>
              <a:gd name="connsiteX100" fmla="*/ 0 w 11199600"/>
              <a:gd name="connsiteY100" fmla="*/ 782195 h 4999653"/>
              <a:gd name="connsiteX101" fmla="*/ 0 w 11199600"/>
              <a:gd name="connsiteY101" fmla="*/ 507955 h 4999653"/>
              <a:gd name="connsiteX102" fmla="*/ 0 w 11199600"/>
              <a:gd name="connsiteY102" fmla="*/ 370350 h 4999653"/>
              <a:gd name="connsiteX103" fmla="*/ 0 w 11199600"/>
              <a:gd name="connsiteY103" fmla="*/ 96110 h 4999653"/>
              <a:gd name="connsiteX104" fmla="*/ 95997 w 11199600"/>
              <a:gd name="connsiteY104" fmla="*/ 0 h 49996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</a:cxnLst>
            <a:rect l="l" t="t" r="r" b="b"/>
            <a:pathLst>
              <a:path w="11199600" h="4999653">
                <a:moveTo>
                  <a:pt x="95997" y="0"/>
                </a:moveTo>
                <a:lnTo>
                  <a:pt x="11103603" y="0"/>
                </a:lnTo>
                <a:cubicBezTo>
                  <a:pt x="11199600" y="0"/>
                  <a:pt x="11199600" y="96110"/>
                  <a:pt x="11199600" y="96110"/>
                </a:cubicBezTo>
                <a:cubicBezTo>
                  <a:pt x="11199600" y="96110"/>
                  <a:pt x="11199600" y="96110"/>
                  <a:pt x="11199600" y="335165"/>
                </a:cubicBezTo>
                <a:lnTo>
                  <a:pt x="11199600" y="370350"/>
                </a:lnTo>
                <a:cubicBezTo>
                  <a:pt x="11199600" y="370350"/>
                  <a:pt x="11199600" y="370350"/>
                  <a:pt x="11199600" y="379204"/>
                </a:cubicBezTo>
                <a:lnTo>
                  <a:pt x="11199600" y="400048"/>
                </a:lnTo>
                <a:lnTo>
                  <a:pt x="11199600" y="400232"/>
                </a:lnTo>
                <a:cubicBezTo>
                  <a:pt x="11199600" y="415173"/>
                  <a:pt x="11199600" y="437585"/>
                  <a:pt x="11199600" y="471202"/>
                </a:cubicBezTo>
                <a:lnTo>
                  <a:pt x="11199600" y="475721"/>
                </a:lnTo>
                <a:lnTo>
                  <a:pt x="11199600" y="508692"/>
                </a:lnTo>
                <a:cubicBezTo>
                  <a:pt x="11199600" y="522527"/>
                  <a:pt x="11199600" y="537744"/>
                  <a:pt x="11199600" y="554484"/>
                </a:cubicBezTo>
                <a:lnTo>
                  <a:pt x="11199600" y="563015"/>
                </a:lnTo>
                <a:lnTo>
                  <a:pt x="11199600" y="609405"/>
                </a:lnTo>
                <a:lnTo>
                  <a:pt x="11199600" y="662759"/>
                </a:lnTo>
                <a:lnTo>
                  <a:pt x="11199600" y="674288"/>
                </a:lnTo>
                <a:cubicBezTo>
                  <a:pt x="11199600" y="697668"/>
                  <a:pt x="11199600" y="722846"/>
                  <a:pt x="11199600" y="749961"/>
                </a:cubicBezTo>
                <a:lnTo>
                  <a:pt x="11199600" y="775785"/>
                </a:lnTo>
                <a:lnTo>
                  <a:pt x="11199600" y="837255"/>
                </a:lnTo>
                <a:lnTo>
                  <a:pt x="11199600" y="902921"/>
                </a:lnTo>
                <a:lnTo>
                  <a:pt x="11199600" y="936999"/>
                </a:lnTo>
                <a:lnTo>
                  <a:pt x="11199600" y="1044999"/>
                </a:lnTo>
                <a:lnTo>
                  <a:pt x="11199600" y="1050025"/>
                </a:lnTo>
                <a:cubicBezTo>
                  <a:pt x="11199600" y="1090006"/>
                  <a:pt x="11199600" y="1132338"/>
                  <a:pt x="11199600" y="1177161"/>
                </a:cubicBezTo>
                <a:lnTo>
                  <a:pt x="11199600" y="1202847"/>
                </a:lnTo>
                <a:lnTo>
                  <a:pt x="11199600" y="1319239"/>
                </a:lnTo>
                <a:lnTo>
                  <a:pt x="11199600" y="1377296"/>
                </a:lnTo>
                <a:lnTo>
                  <a:pt x="11199600" y="1477087"/>
                </a:lnTo>
                <a:lnTo>
                  <a:pt x="11199600" y="1569177"/>
                </a:lnTo>
                <a:lnTo>
                  <a:pt x="11199600" y="1651536"/>
                </a:lnTo>
                <a:lnTo>
                  <a:pt x="11199600" y="1779318"/>
                </a:lnTo>
                <a:lnTo>
                  <a:pt x="11199600" y="1843417"/>
                </a:lnTo>
                <a:lnTo>
                  <a:pt x="11199600" y="2008551"/>
                </a:lnTo>
                <a:lnTo>
                  <a:pt x="11199600" y="2053558"/>
                </a:lnTo>
                <a:lnTo>
                  <a:pt x="11199600" y="2257705"/>
                </a:lnTo>
                <a:lnTo>
                  <a:pt x="11199600" y="2282791"/>
                </a:lnTo>
                <a:lnTo>
                  <a:pt x="11199600" y="2527610"/>
                </a:lnTo>
                <a:lnTo>
                  <a:pt x="11199600" y="2531945"/>
                </a:lnTo>
                <a:cubicBezTo>
                  <a:pt x="11199600" y="2618409"/>
                  <a:pt x="11199600" y="2708331"/>
                  <a:pt x="11199600" y="2801851"/>
                </a:cubicBezTo>
                <a:lnTo>
                  <a:pt x="11199600" y="2819097"/>
                </a:lnTo>
                <a:lnTo>
                  <a:pt x="11199600" y="3093337"/>
                </a:lnTo>
                <a:lnTo>
                  <a:pt x="11199600" y="3132995"/>
                </a:lnTo>
                <a:lnTo>
                  <a:pt x="11199600" y="3407236"/>
                </a:lnTo>
                <a:lnTo>
                  <a:pt x="11199600" y="3470135"/>
                </a:lnTo>
                <a:lnTo>
                  <a:pt x="11199600" y="3744375"/>
                </a:lnTo>
                <a:lnTo>
                  <a:pt x="11199600" y="3831346"/>
                </a:lnTo>
                <a:lnTo>
                  <a:pt x="11199600" y="4105586"/>
                </a:lnTo>
                <a:lnTo>
                  <a:pt x="11199600" y="4217459"/>
                </a:lnTo>
                <a:lnTo>
                  <a:pt x="11199600" y="4491699"/>
                </a:lnTo>
                <a:lnTo>
                  <a:pt x="11199600" y="4629303"/>
                </a:lnTo>
                <a:lnTo>
                  <a:pt x="11199600" y="4903543"/>
                </a:lnTo>
                <a:cubicBezTo>
                  <a:pt x="11199600" y="4999653"/>
                  <a:pt x="11103603" y="4999653"/>
                  <a:pt x="11103603" y="4999653"/>
                </a:cubicBezTo>
                <a:cubicBezTo>
                  <a:pt x="11103603" y="4999653"/>
                  <a:pt x="11103603" y="4999653"/>
                  <a:pt x="95997" y="4999653"/>
                </a:cubicBezTo>
                <a:cubicBezTo>
                  <a:pt x="0" y="4999653"/>
                  <a:pt x="0" y="4903543"/>
                  <a:pt x="0" y="4903543"/>
                </a:cubicBezTo>
                <a:cubicBezTo>
                  <a:pt x="0" y="4903543"/>
                  <a:pt x="0" y="4903543"/>
                  <a:pt x="0" y="4664488"/>
                </a:cubicBezTo>
                <a:lnTo>
                  <a:pt x="0" y="4629303"/>
                </a:lnTo>
                <a:lnTo>
                  <a:pt x="0" y="4628197"/>
                </a:lnTo>
                <a:lnTo>
                  <a:pt x="0" y="4620449"/>
                </a:lnTo>
                <a:lnTo>
                  <a:pt x="0" y="4599606"/>
                </a:lnTo>
                <a:lnTo>
                  <a:pt x="0" y="4599421"/>
                </a:lnTo>
                <a:lnTo>
                  <a:pt x="0" y="4558472"/>
                </a:lnTo>
                <a:lnTo>
                  <a:pt x="0" y="4528452"/>
                </a:lnTo>
                <a:lnTo>
                  <a:pt x="0" y="4523933"/>
                </a:lnTo>
                <a:lnTo>
                  <a:pt x="0" y="4490961"/>
                </a:lnTo>
                <a:lnTo>
                  <a:pt x="0" y="4445170"/>
                </a:lnTo>
                <a:lnTo>
                  <a:pt x="0" y="4436639"/>
                </a:lnTo>
                <a:lnTo>
                  <a:pt x="0" y="4390248"/>
                </a:lnTo>
                <a:lnTo>
                  <a:pt x="0" y="4336894"/>
                </a:lnTo>
                <a:lnTo>
                  <a:pt x="0" y="4325366"/>
                </a:lnTo>
                <a:lnTo>
                  <a:pt x="0" y="4249693"/>
                </a:lnTo>
                <a:lnTo>
                  <a:pt x="0" y="4223869"/>
                </a:lnTo>
                <a:lnTo>
                  <a:pt x="0" y="4162399"/>
                </a:lnTo>
                <a:lnTo>
                  <a:pt x="0" y="4096732"/>
                </a:lnTo>
                <a:lnTo>
                  <a:pt x="0" y="4062654"/>
                </a:lnTo>
                <a:lnTo>
                  <a:pt x="0" y="3954655"/>
                </a:lnTo>
                <a:lnTo>
                  <a:pt x="0" y="3949629"/>
                </a:lnTo>
                <a:lnTo>
                  <a:pt x="0" y="3822492"/>
                </a:lnTo>
                <a:lnTo>
                  <a:pt x="0" y="3796807"/>
                </a:lnTo>
                <a:lnTo>
                  <a:pt x="0" y="3680415"/>
                </a:lnTo>
                <a:lnTo>
                  <a:pt x="0" y="3622357"/>
                </a:lnTo>
                <a:lnTo>
                  <a:pt x="0" y="3522567"/>
                </a:lnTo>
                <a:lnTo>
                  <a:pt x="0" y="3430477"/>
                </a:lnTo>
                <a:lnTo>
                  <a:pt x="0" y="3348117"/>
                </a:lnTo>
                <a:lnTo>
                  <a:pt x="0" y="3220335"/>
                </a:lnTo>
                <a:lnTo>
                  <a:pt x="0" y="3156237"/>
                </a:lnTo>
                <a:lnTo>
                  <a:pt x="0" y="2991102"/>
                </a:lnTo>
                <a:lnTo>
                  <a:pt x="0" y="2946095"/>
                </a:lnTo>
                <a:lnTo>
                  <a:pt x="0" y="2741948"/>
                </a:lnTo>
                <a:lnTo>
                  <a:pt x="0" y="2716862"/>
                </a:lnTo>
                <a:lnTo>
                  <a:pt x="0" y="2472043"/>
                </a:lnTo>
                <a:lnTo>
                  <a:pt x="0" y="2467708"/>
                </a:lnTo>
                <a:lnTo>
                  <a:pt x="0" y="2197803"/>
                </a:lnTo>
                <a:lnTo>
                  <a:pt x="0" y="2180556"/>
                </a:lnTo>
                <a:lnTo>
                  <a:pt x="0" y="1906316"/>
                </a:lnTo>
                <a:lnTo>
                  <a:pt x="0" y="1866658"/>
                </a:lnTo>
                <a:lnTo>
                  <a:pt x="0" y="1592418"/>
                </a:lnTo>
                <a:lnTo>
                  <a:pt x="0" y="1529519"/>
                </a:lnTo>
                <a:lnTo>
                  <a:pt x="0" y="1255278"/>
                </a:lnTo>
                <a:lnTo>
                  <a:pt x="0" y="1168307"/>
                </a:lnTo>
                <a:lnTo>
                  <a:pt x="0" y="894067"/>
                </a:lnTo>
                <a:lnTo>
                  <a:pt x="0" y="782195"/>
                </a:lnTo>
                <a:lnTo>
                  <a:pt x="0" y="507955"/>
                </a:lnTo>
                <a:lnTo>
                  <a:pt x="0" y="370350"/>
                </a:lnTo>
                <a:lnTo>
                  <a:pt x="0" y="96110"/>
                </a:lnTo>
                <a:cubicBezTo>
                  <a:pt x="0" y="0"/>
                  <a:pt x="95997" y="0"/>
                  <a:pt x="95997" y="0"/>
                </a:cubicBezTo>
                <a:close/>
              </a:path>
            </a:pathLst>
          </a:custGeom>
          <a:solidFill>
            <a:srgbClr val="EAEAEA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GB">
              <a:solidFill>
                <a:srgbClr val="333333"/>
              </a:solidFill>
            </a:endParaRPr>
          </a:p>
        </p:txBody>
      </p:sp>
      <p:sp>
        <p:nvSpPr>
          <p:cNvPr id="13" name="Content Placeholder 2"/>
          <p:cNvSpPr>
            <a:spLocks noGrp="1"/>
          </p:cNvSpPr>
          <p:nvPr>
            <p:ph idx="1"/>
          </p:nvPr>
        </p:nvSpPr>
        <p:spPr bwMode="gray">
          <a:xfrm>
            <a:off x="687029" y="1327150"/>
            <a:ext cx="8522456" cy="4752000"/>
          </a:xfrm>
        </p:spPr>
        <p:txBody>
          <a:bodyPr>
            <a:noAutofit/>
          </a:bodyPr>
          <a:lstStyle>
            <a:lvl1pPr marL="432000" marR="0" indent="-432000" algn="l" defTabSz="914377" rtl="0" eaLnBrk="1" fontAlgn="auto" latinLnBrk="0" hangingPunct="1">
              <a:lnSpc>
                <a:spcPts val="2200"/>
              </a:lnSpc>
              <a:spcBef>
                <a:spcPts val="200"/>
              </a:spcBef>
              <a:spcAft>
                <a:spcPts val="800"/>
              </a:spcAft>
              <a:buClrTx/>
              <a:buSzTx/>
              <a:buFont typeface="+mj-lt"/>
              <a:buAutoNum type="arabicPeriod"/>
              <a:tabLst>
                <a:tab pos="355591" algn="l"/>
              </a:tabLst>
              <a:defRPr sz="2000" b="0"/>
            </a:lvl1pPr>
            <a:lvl2pPr>
              <a:defRPr sz="2000"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606610752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="" xmlns:p15="http://schemas.microsoft.com/office/powerpoint/2012/main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F Title Slide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5" name="Group 34"/>
          <p:cNvGrpSpPr/>
          <p:nvPr userDrawn="1"/>
        </p:nvGrpSpPr>
        <p:grpSpPr bwMode="gray">
          <a:xfrm>
            <a:off x="1" y="1643202"/>
            <a:ext cx="9213354" cy="3055937"/>
            <a:chOff x="409575" y="3144838"/>
            <a:chExt cx="11339513" cy="3055937"/>
          </a:xfrm>
        </p:grpSpPr>
        <p:sp>
          <p:nvSpPr>
            <p:cNvPr id="37" name="Freeform 5"/>
            <p:cNvSpPr>
              <a:spLocks/>
            </p:cNvSpPr>
            <p:nvPr/>
          </p:nvSpPr>
          <p:spPr bwMode="gray">
            <a:xfrm>
              <a:off x="409575" y="5521325"/>
              <a:ext cx="11339513" cy="679450"/>
            </a:xfrm>
            <a:custGeom>
              <a:avLst/>
              <a:gdLst>
                <a:gd name="T0" fmla="*/ 0 w 2680"/>
                <a:gd name="T1" fmla="*/ 0 h 160"/>
                <a:gd name="T2" fmla="*/ 0 w 2680"/>
                <a:gd name="T3" fmla="*/ 160 h 160"/>
                <a:gd name="T4" fmla="*/ 2656 w 2680"/>
                <a:gd name="T5" fmla="*/ 160 h 160"/>
                <a:gd name="T6" fmla="*/ 2680 w 2680"/>
                <a:gd name="T7" fmla="*/ 136 h 160"/>
                <a:gd name="T8" fmla="*/ 2680 w 2680"/>
                <a:gd name="T9" fmla="*/ 0 h 160"/>
                <a:gd name="T10" fmla="*/ 0 w 2680"/>
                <a:gd name="T11" fmla="*/ 0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80" h="160">
                  <a:moveTo>
                    <a:pt x="0" y="0"/>
                  </a:moveTo>
                  <a:cubicBezTo>
                    <a:pt x="0" y="160"/>
                    <a:pt x="0" y="160"/>
                    <a:pt x="0" y="160"/>
                  </a:cubicBezTo>
                  <a:cubicBezTo>
                    <a:pt x="2656" y="160"/>
                    <a:pt x="2656" y="160"/>
                    <a:pt x="2656" y="160"/>
                  </a:cubicBezTo>
                  <a:cubicBezTo>
                    <a:pt x="2656" y="160"/>
                    <a:pt x="2680" y="160"/>
                    <a:pt x="2680" y="136"/>
                  </a:cubicBezTo>
                  <a:cubicBezTo>
                    <a:pt x="2680" y="0"/>
                    <a:pt x="2680" y="0"/>
                    <a:pt x="2680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EAEAE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9" name="Freeform 6"/>
            <p:cNvSpPr>
              <a:spLocks/>
            </p:cNvSpPr>
            <p:nvPr/>
          </p:nvSpPr>
          <p:spPr bwMode="gray">
            <a:xfrm>
              <a:off x="409575" y="3144838"/>
              <a:ext cx="11339513" cy="2376487"/>
            </a:xfrm>
            <a:custGeom>
              <a:avLst/>
              <a:gdLst>
                <a:gd name="T0" fmla="*/ 0 w 2680"/>
                <a:gd name="T1" fmla="*/ 0 h 560"/>
                <a:gd name="T2" fmla="*/ 0 w 2680"/>
                <a:gd name="T3" fmla="*/ 560 h 560"/>
                <a:gd name="T4" fmla="*/ 2680 w 2680"/>
                <a:gd name="T5" fmla="*/ 560 h 560"/>
                <a:gd name="T6" fmla="*/ 2680 w 2680"/>
                <a:gd name="T7" fmla="*/ 24 h 560"/>
                <a:gd name="T8" fmla="*/ 2656 w 2680"/>
                <a:gd name="T9" fmla="*/ 0 h 560"/>
                <a:gd name="T10" fmla="*/ 0 w 2680"/>
                <a:gd name="T11" fmla="*/ 0 h 5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80" h="560">
                  <a:moveTo>
                    <a:pt x="0" y="0"/>
                  </a:moveTo>
                  <a:cubicBezTo>
                    <a:pt x="0" y="560"/>
                    <a:pt x="0" y="560"/>
                    <a:pt x="0" y="560"/>
                  </a:cubicBezTo>
                  <a:cubicBezTo>
                    <a:pt x="2680" y="560"/>
                    <a:pt x="2680" y="560"/>
                    <a:pt x="2680" y="560"/>
                  </a:cubicBezTo>
                  <a:cubicBezTo>
                    <a:pt x="2680" y="24"/>
                    <a:pt x="2680" y="24"/>
                    <a:pt x="2680" y="24"/>
                  </a:cubicBezTo>
                  <a:cubicBezTo>
                    <a:pt x="2680" y="24"/>
                    <a:pt x="2680" y="0"/>
                    <a:pt x="2656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F62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8" name="Rectangle 7"/>
          <p:cNvSpPr/>
          <p:nvPr userDrawn="1"/>
        </p:nvSpPr>
        <p:spPr bwMode="gray">
          <a:xfrm>
            <a:off x="2" y="6024880"/>
            <a:ext cx="9904532" cy="8331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2400"/>
          </a:p>
        </p:txBody>
      </p:sp>
      <p:sp>
        <p:nvSpPr>
          <p:cNvPr id="25" name="Title 1"/>
          <p:cNvSpPr>
            <a:spLocks noGrp="1"/>
          </p:cNvSpPr>
          <p:nvPr>
            <p:ph type="ctrTitle"/>
          </p:nvPr>
        </p:nvSpPr>
        <p:spPr bwMode="gray">
          <a:xfrm>
            <a:off x="684477" y="2116803"/>
            <a:ext cx="8379482" cy="1227573"/>
          </a:xfrm>
        </p:spPr>
        <p:txBody>
          <a:bodyPr anchor="ctr" anchorCtr="0">
            <a:noAutofit/>
          </a:bodyPr>
          <a:lstStyle>
            <a:lvl1pPr algn="l">
              <a:lnSpc>
                <a:spcPts val="4600"/>
              </a:lnSpc>
              <a:defRPr sz="4600">
                <a:solidFill>
                  <a:schemeClr val="bg1"/>
                </a:solidFill>
              </a:defRPr>
            </a:lvl1pPr>
          </a:lstStyle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  <p:sp>
        <p:nvSpPr>
          <p:cNvPr id="26" name="Subtitle 2"/>
          <p:cNvSpPr>
            <a:spLocks noGrp="1"/>
          </p:cNvSpPr>
          <p:nvPr>
            <p:ph type="subTitle" idx="1"/>
          </p:nvPr>
        </p:nvSpPr>
        <p:spPr bwMode="gray">
          <a:xfrm>
            <a:off x="684477" y="4240704"/>
            <a:ext cx="5754721" cy="306798"/>
          </a:xfrm>
        </p:spPr>
        <p:txBody>
          <a:bodyPr anchor="ctr" anchorCtr="0">
            <a:noAutofit/>
          </a:bodyPr>
          <a:lstStyle>
            <a:lvl1pPr marL="0" indent="0" algn="l">
              <a:lnSpc>
                <a:spcPts val="2200"/>
              </a:lnSpc>
              <a:buNone/>
              <a:defRPr sz="2000" b="0" i="0"/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nl-NL" noProof="0" smtClean="0"/>
              <a:t>Klik om de ondertitelstijl van het model te bewerken</a:t>
            </a:r>
            <a:endParaRPr lang="en-GB" noProof="0" dirty="0"/>
          </a:p>
        </p:txBody>
      </p:sp>
      <p:sp>
        <p:nvSpPr>
          <p:cNvPr id="27" name="Text Placeholder 6"/>
          <p:cNvSpPr>
            <a:spLocks noGrp="1"/>
          </p:cNvSpPr>
          <p:nvPr>
            <p:ph type="body" sz="quarter" idx="11"/>
          </p:nvPr>
        </p:nvSpPr>
        <p:spPr bwMode="gray">
          <a:xfrm>
            <a:off x="684451" y="3556803"/>
            <a:ext cx="8373361" cy="385233"/>
          </a:xfrm>
        </p:spPr>
        <p:txBody>
          <a:bodyPr>
            <a:noAutofit/>
          </a:bodyPr>
          <a:lstStyle>
            <a:lvl1pPr>
              <a:lnSpc>
                <a:spcPts val="2200"/>
              </a:lnSpc>
              <a:defRPr sz="220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noProof="0" smtClean="0"/>
              <a:t>Klik om de modelstijlen te bewerken</a:t>
            </a:r>
          </a:p>
        </p:txBody>
      </p:sp>
      <p:pic>
        <p:nvPicPr>
          <p:cNvPr id="38" name="Picture 37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428199" y="6203775"/>
            <a:ext cx="1233535" cy="378000"/>
          </a:xfrm>
          <a:prstGeom prst="rect">
            <a:avLst/>
          </a:prstGeom>
        </p:spPr>
      </p:pic>
      <p:pic>
        <p:nvPicPr>
          <p:cNvPr id="13" name="Picture Placeholder 36"/>
          <p:cNvPicPr>
            <a:picLocks noChangeAspect="1"/>
          </p:cNvPicPr>
          <p:nvPr userDrawn="1"/>
        </p:nvPicPr>
        <p:blipFill rotWithShape="1">
          <a:blip r:embed="rId3"/>
          <a:stretch/>
        </p:blipFill>
        <p:spPr bwMode="gray">
          <a:xfrm>
            <a:off x="681038" y="6291860"/>
            <a:ext cx="1784250" cy="287825"/>
          </a:xfrm>
          <a:prstGeom prst="rect">
            <a:avLst/>
          </a:prstGeom>
        </p:spPr>
      </p:pic>
      <p:grpSp>
        <p:nvGrpSpPr>
          <p:cNvPr id="44" name="Group 43"/>
          <p:cNvGrpSpPr/>
          <p:nvPr userDrawn="1"/>
        </p:nvGrpSpPr>
        <p:grpSpPr bwMode="gray">
          <a:xfrm>
            <a:off x="-1653580" y="0"/>
            <a:ext cx="1521000" cy="4689612"/>
            <a:chOff x="-2581275" y="595116"/>
            <a:chExt cx="1872000" cy="4689612"/>
          </a:xfrm>
        </p:grpSpPr>
        <p:sp>
          <p:nvSpPr>
            <p:cNvPr id="45" name="Rectangle 104"/>
            <p:cNvSpPr>
              <a:spLocks noChangeArrowheads="1"/>
            </p:cNvSpPr>
            <p:nvPr/>
          </p:nvSpPr>
          <p:spPr bwMode="gray">
            <a:xfrm>
              <a:off x="-2581275" y="4276728"/>
              <a:ext cx="1872000" cy="100800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46" name="Rectangle 104"/>
            <p:cNvSpPr>
              <a:spLocks noChangeArrowheads="1"/>
            </p:cNvSpPr>
            <p:nvPr userDrawn="1"/>
          </p:nvSpPr>
          <p:spPr bwMode="gray">
            <a:xfrm>
              <a:off x="-2581275" y="595116"/>
              <a:ext cx="1872000" cy="3672087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47" name="Rectangle 105"/>
            <p:cNvSpPr>
              <a:spLocks noChangeArrowheads="1"/>
            </p:cNvSpPr>
            <p:nvPr userDrawn="1"/>
          </p:nvSpPr>
          <p:spPr bwMode="gray">
            <a:xfrm>
              <a:off x="-2449513" y="1136650"/>
              <a:ext cx="215900" cy="215900"/>
            </a:xfrm>
            <a:prstGeom prst="rect">
              <a:avLst/>
            </a:prstGeom>
            <a:solidFill>
              <a:srgbClr val="FF6200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48" name="Rectangle 106"/>
            <p:cNvSpPr>
              <a:spLocks noChangeArrowheads="1"/>
            </p:cNvSpPr>
            <p:nvPr userDrawn="1"/>
          </p:nvSpPr>
          <p:spPr bwMode="gray">
            <a:xfrm>
              <a:off x="-2159000" y="1146175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Orang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55, 98, 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49" name="Rectangle 107"/>
            <p:cNvSpPr>
              <a:spLocks noChangeArrowheads="1"/>
            </p:cNvSpPr>
            <p:nvPr userDrawn="1"/>
          </p:nvSpPr>
          <p:spPr bwMode="gray">
            <a:xfrm>
              <a:off x="-2449513" y="1571626"/>
              <a:ext cx="215900" cy="215900"/>
            </a:xfrm>
            <a:prstGeom prst="rect">
              <a:avLst/>
            </a:prstGeom>
            <a:solidFill>
              <a:srgbClr val="A8A8A8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50" name="Rectangle 108"/>
            <p:cNvSpPr>
              <a:spLocks noChangeArrowheads="1"/>
            </p:cNvSpPr>
            <p:nvPr userDrawn="1"/>
          </p:nvSpPr>
          <p:spPr bwMode="gray">
            <a:xfrm>
              <a:off x="-2159000" y="15970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ght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68, 168, 16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1" name="Rectangle 109"/>
            <p:cNvSpPr>
              <a:spLocks noChangeArrowheads="1"/>
            </p:cNvSpPr>
            <p:nvPr userDrawn="1"/>
          </p:nvSpPr>
          <p:spPr bwMode="gray">
            <a:xfrm>
              <a:off x="-2449513" y="2058988"/>
              <a:ext cx="215900" cy="215900"/>
            </a:xfrm>
            <a:prstGeom prst="rect">
              <a:avLst/>
            </a:prstGeom>
            <a:solidFill>
              <a:srgbClr val="52519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52" name="Rectangle 110"/>
            <p:cNvSpPr>
              <a:spLocks noChangeArrowheads="1"/>
            </p:cNvSpPr>
            <p:nvPr userDrawn="1"/>
          </p:nvSpPr>
          <p:spPr bwMode="gray">
            <a:xfrm>
              <a:off x="-2159000" y="2068513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Indigo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82, 81, 153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3" name="Rectangle 111"/>
            <p:cNvSpPr>
              <a:spLocks noChangeArrowheads="1"/>
            </p:cNvSpPr>
            <p:nvPr userDrawn="1"/>
          </p:nvSpPr>
          <p:spPr bwMode="gray">
            <a:xfrm>
              <a:off x="-2449513" y="2527301"/>
              <a:ext cx="215900" cy="215900"/>
            </a:xfrm>
            <a:prstGeom prst="rect">
              <a:avLst/>
            </a:prstGeom>
            <a:solidFill>
              <a:srgbClr val="60A6DA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54" name="Rectangle 112"/>
            <p:cNvSpPr>
              <a:spLocks noChangeArrowheads="1"/>
            </p:cNvSpPr>
            <p:nvPr userDrawn="1"/>
          </p:nvSpPr>
          <p:spPr bwMode="gray">
            <a:xfrm>
              <a:off x="-2159000" y="25368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Sk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96, 166, 2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5" name="Rectangle 113"/>
            <p:cNvSpPr>
              <a:spLocks noChangeArrowheads="1"/>
            </p:cNvSpPr>
            <p:nvPr userDrawn="1"/>
          </p:nvSpPr>
          <p:spPr bwMode="gray">
            <a:xfrm>
              <a:off x="-2449513" y="762000"/>
              <a:ext cx="1692000" cy="165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90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200" b="1" smtClean="0">
                  <a:solidFill>
                    <a:srgbClr val="333333"/>
                  </a:solidFill>
                </a:rPr>
                <a:t>Colour Guidelines</a:t>
              </a:r>
              <a:endParaRPr lang="en-GB" altLang="en-US" sz="1200" b="1">
                <a:solidFill>
                  <a:srgbClr val="333333"/>
                </a:solidFill>
              </a:endParaRPr>
            </a:p>
          </p:txBody>
        </p:sp>
        <p:sp>
          <p:nvSpPr>
            <p:cNvPr id="56" name="Rectangle 107"/>
            <p:cNvSpPr>
              <a:spLocks noChangeArrowheads="1"/>
            </p:cNvSpPr>
            <p:nvPr/>
          </p:nvSpPr>
          <p:spPr bwMode="gray">
            <a:xfrm>
              <a:off x="-2449513" y="2962277"/>
              <a:ext cx="215900" cy="215900"/>
            </a:xfrm>
            <a:prstGeom prst="rect">
              <a:avLst/>
            </a:prstGeom>
            <a:solidFill>
              <a:srgbClr val="AB006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57" name="Rectangle 108"/>
            <p:cNvSpPr>
              <a:spLocks noChangeArrowheads="1"/>
            </p:cNvSpPr>
            <p:nvPr/>
          </p:nvSpPr>
          <p:spPr bwMode="gray">
            <a:xfrm>
              <a:off x="-2159000" y="29876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Fuchsia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71, 0, 102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8" name="Rectangle 109"/>
            <p:cNvSpPr>
              <a:spLocks noChangeArrowheads="1"/>
            </p:cNvSpPr>
            <p:nvPr/>
          </p:nvSpPr>
          <p:spPr bwMode="gray">
            <a:xfrm>
              <a:off x="-2449513" y="3449639"/>
              <a:ext cx="215900" cy="215900"/>
            </a:xfrm>
            <a:prstGeom prst="rect">
              <a:avLst/>
            </a:prstGeom>
            <a:solidFill>
              <a:srgbClr val="D0D93C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59" name="Rectangle 110"/>
            <p:cNvSpPr>
              <a:spLocks noChangeArrowheads="1"/>
            </p:cNvSpPr>
            <p:nvPr/>
          </p:nvSpPr>
          <p:spPr bwMode="gray">
            <a:xfrm>
              <a:off x="-2159000" y="3459164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m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08, 217, 6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0" name="Rectangle 111"/>
            <p:cNvSpPr>
              <a:spLocks noChangeArrowheads="1"/>
            </p:cNvSpPr>
            <p:nvPr/>
          </p:nvSpPr>
          <p:spPr bwMode="gray">
            <a:xfrm>
              <a:off x="-2449513" y="3917952"/>
              <a:ext cx="215900" cy="215900"/>
            </a:xfrm>
            <a:prstGeom prst="rect">
              <a:avLst/>
            </a:prstGeom>
            <a:solidFill>
              <a:srgbClr val="01964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61" name="Rectangle 112"/>
            <p:cNvSpPr>
              <a:spLocks noChangeArrowheads="1"/>
            </p:cNvSpPr>
            <p:nvPr/>
          </p:nvSpPr>
          <p:spPr bwMode="gray">
            <a:xfrm>
              <a:off x="-2159000" y="39274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eaf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2, 150, 8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2" name="Rectangle 109"/>
            <p:cNvSpPr>
              <a:spLocks noChangeArrowheads="1"/>
            </p:cNvSpPr>
            <p:nvPr/>
          </p:nvSpPr>
          <p:spPr bwMode="gray">
            <a:xfrm>
              <a:off x="-2449513" y="4405314"/>
              <a:ext cx="215900" cy="215900"/>
            </a:xfrm>
            <a:prstGeom prst="rect">
              <a:avLst/>
            </a:prstGeom>
            <a:solidFill>
              <a:srgbClr val="76767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63" name="Rectangle 110"/>
            <p:cNvSpPr>
              <a:spLocks noChangeArrowheads="1"/>
            </p:cNvSpPr>
            <p:nvPr/>
          </p:nvSpPr>
          <p:spPr bwMode="gray">
            <a:xfrm>
              <a:off x="-2159000" y="4414839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Mid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18, 118, 1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4" name="Rectangle 111"/>
            <p:cNvSpPr>
              <a:spLocks noChangeArrowheads="1"/>
            </p:cNvSpPr>
            <p:nvPr/>
          </p:nvSpPr>
          <p:spPr bwMode="gray">
            <a:xfrm>
              <a:off x="-2449513" y="4873627"/>
              <a:ext cx="215900" cy="215900"/>
            </a:xfrm>
            <a:prstGeom prst="rect">
              <a:avLst/>
            </a:prstGeom>
            <a:solidFill>
              <a:srgbClr val="333333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65" name="Rectangle 112"/>
            <p:cNvSpPr>
              <a:spLocks noChangeArrowheads="1"/>
            </p:cNvSpPr>
            <p:nvPr/>
          </p:nvSpPr>
          <p:spPr bwMode="gray">
            <a:xfrm>
              <a:off x="-2159000" y="4883152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Text Colour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1, 51, 5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</p:grpSp>
      <p:pic>
        <p:nvPicPr>
          <p:cNvPr id="34" name="Picture 33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-1466554" y="4402733"/>
            <a:ext cx="125761" cy="138908"/>
          </a:xfrm>
          <a:prstGeom prst="rect">
            <a:avLst/>
          </a:prstGeom>
        </p:spPr>
      </p:pic>
      <p:sp>
        <p:nvSpPr>
          <p:cNvPr id="36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6636209" y="4291504"/>
            <a:ext cx="2427750" cy="275612"/>
          </a:xfrm>
        </p:spPr>
        <p:txBody>
          <a:bodyPr tIns="0" bIns="0"/>
          <a:lstStyle>
            <a:lvl1pPr marL="0" indent="0" algn="r">
              <a:lnSpc>
                <a:spcPct val="100000"/>
              </a:lnSpc>
              <a:buNone/>
              <a:defRPr sz="1500">
                <a:solidFill>
                  <a:srgbClr val="000000"/>
                </a:solidFill>
                <a:latin typeface="+mn-lt"/>
              </a:defRPr>
            </a:lvl1pPr>
            <a:lvl2pPr>
              <a:defRPr sz="2200">
                <a:solidFill>
                  <a:srgbClr val="000000"/>
                </a:solidFill>
              </a:defRPr>
            </a:lvl2pPr>
            <a:lvl3pPr>
              <a:defRPr sz="2200">
                <a:solidFill>
                  <a:srgbClr val="000000"/>
                </a:solidFill>
              </a:defRPr>
            </a:lvl3pPr>
            <a:lvl4pPr>
              <a:defRPr sz="2200">
                <a:solidFill>
                  <a:srgbClr val="000000"/>
                </a:solidFill>
              </a:defRPr>
            </a:lvl4pPr>
            <a:lvl5pPr>
              <a:defRPr sz="2200">
                <a:solidFill>
                  <a:srgbClr val="000000"/>
                </a:solidFill>
              </a:defRPr>
            </a:lvl5pPr>
          </a:lstStyle>
          <a:p>
            <a:pPr lvl="0"/>
            <a:r>
              <a:rPr lang="en-GB" noProof="0" dirty="0" smtClean="0"/>
              <a:t>Click to edit location and date</a:t>
            </a:r>
          </a:p>
        </p:txBody>
      </p:sp>
    </p:spTree>
    <p:extLst>
      <p:ext uri="{BB962C8B-B14F-4D97-AF65-F5344CB8AC3E}">
        <p14:creationId xmlns:p14="http://schemas.microsoft.com/office/powerpoint/2010/main" val="218941820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1" orient="horz" pos="4135">
          <p15:clr>
            <a:srgbClr val="FBAE40"/>
          </p15:clr>
        </p15:guide>
      </p15:sldGuideLst>
    </p:ext>
  </p:extLst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ex Slide Picture Right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Freeform 13"/>
          <p:cNvSpPr>
            <a:spLocks noChangeAspect="1"/>
          </p:cNvSpPr>
          <p:nvPr userDrawn="1"/>
        </p:nvSpPr>
        <p:spPr bwMode="gray">
          <a:xfrm>
            <a:off x="566241" y="1201147"/>
            <a:ext cx="9099675" cy="4999653"/>
          </a:xfrm>
          <a:custGeom>
            <a:avLst/>
            <a:gdLst>
              <a:gd name="connsiteX0" fmla="*/ 95997 w 11199600"/>
              <a:gd name="connsiteY0" fmla="*/ 0 h 4999653"/>
              <a:gd name="connsiteX1" fmla="*/ 11103603 w 11199600"/>
              <a:gd name="connsiteY1" fmla="*/ 0 h 4999653"/>
              <a:gd name="connsiteX2" fmla="*/ 11199600 w 11199600"/>
              <a:gd name="connsiteY2" fmla="*/ 96110 h 4999653"/>
              <a:gd name="connsiteX3" fmla="*/ 11199600 w 11199600"/>
              <a:gd name="connsiteY3" fmla="*/ 335165 h 4999653"/>
              <a:gd name="connsiteX4" fmla="*/ 11199600 w 11199600"/>
              <a:gd name="connsiteY4" fmla="*/ 370350 h 4999653"/>
              <a:gd name="connsiteX5" fmla="*/ 11199600 w 11199600"/>
              <a:gd name="connsiteY5" fmla="*/ 379204 h 4999653"/>
              <a:gd name="connsiteX6" fmla="*/ 11199600 w 11199600"/>
              <a:gd name="connsiteY6" fmla="*/ 400048 h 4999653"/>
              <a:gd name="connsiteX7" fmla="*/ 11199600 w 11199600"/>
              <a:gd name="connsiteY7" fmla="*/ 400232 h 4999653"/>
              <a:gd name="connsiteX8" fmla="*/ 11199600 w 11199600"/>
              <a:gd name="connsiteY8" fmla="*/ 471202 h 4999653"/>
              <a:gd name="connsiteX9" fmla="*/ 11199600 w 11199600"/>
              <a:gd name="connsiteY9" fmla="*/ 475721 h 4999653"/>
              <a:gd name="connsiteX10" fmla="*/ 11199600 w 11199600"/>
              <a:gd name="connsiteY10" fmla="*/ 508692 h 4999653"/>
              <a:gd name="connsiteX11" fmla="*/ 11199600 w 11199600"/>
              <a:gd name="connsiteY11" fmla="*/ 554484 h 4999653"/>
              <a:gd name="connsiteX12" fmla="*/ 11199600 w 11199600"/>
              <a:gd name="connsiteY12" fmla="*/ 563015 h 4999653"/>
              <a:gd name="connsiteX13" fmla="*/ 11199600 w 11199600"/>
              <a:gd name="connsiteY13" fmla="*/ 609405 h 4999653"/>
              <a:gd name="connsiteX14" fmla="*/ 11199600 w 11199600"/>
              <a:gd name="connsiteY14" fmla="*/ 662759 h 4999653"/>
              <a:gd name="connsiteX15" fmla="*/ 11199600 w 11199600"/>
              <a:gd name="connsiteY15" fmla="*/ 674288 h 4999653"/>
              <a:gd name="connsiteX16" fmla="*/ 11199600 w 11199600"/>
              <a:gd name="connsiteY16" fmla="*/ 749961 h 4999653"/>
              <a:gd name="connsiteX17" fmla="*/ 11199600 w 11199600"/>
              <a:gd name="connsiteY17" fmla="*/ 775785 h 4999653"/>
              <a:gd name="connsiteX18" fmla="*/ 11199600 w 11199600"/>
              <a:gd name="connsiteY18" fmla="*/ 837255 h 4999653"/>
              <a:gd name="connsiteX19" fmla="*/ 11199600 w 11199600"/>
              <a:gd name="connsiteY19" fmla="*/ 902921 h 4999653"/>
              <a:gd name="connsiteX20" fmla="*/ 11199600 w 11199600"/>
              <a:gd name="connsiteY20" fmla="*/ 936999 h 4999653"/>
              <a:gd name="connsiteX21" fmla="*/ 11199600 w 11199600"/>
              <a:gd name="connsiteY21" fmla="*/ 1044999 h 4999653"/>
              <a:gd name="connsiteX22" fmla="*/ 11199600 w 11199600"/>
              <a:gd name="connsiteY22" fmla="*/ 1050025 h 4999653"/>
              <a:gd name="connsiteX23" fmla="*/ 11199600 w 11199600"/>
              <a:gd name="connsiteY23" fmla="*/ 1177161 h 4999653"/>
              <a:gd name="connsiteX24" fmla="*/ 11199600 w 11199600"/>
              <a:gd name="connsiteY24" fmla="*/ 1202847 h 4999653"/>
              <a:gd name="connsiteX25" fmla="*/ 11199600 w 11199600"/>
              <a:gd name="connsiteY25" fmla="*/ 1319239 h 4999653"/>
              <a:gd name="connsiteX26" fmla="*/ 11199600 w 11199600"/>
              <a:gd name="connsiteY26" fmla="*/ 1377296 h 4999653"/>
              <a:gd name="connsiteX27" fmla="*/ 11199600 w 11199600"/>
              <a:gd name="connsiteY27" fmla="*/ 1477087 h 4999653"/>
              <a:gd name="connsiteX28" fmla="*/ 11199600 w 11199600"/>
              <a:gd name="connsiteY28" fmla="*/ 1569177 h 4999653"/>
              <a:gd name="connsiteX29" fmla="*/ 11199600 w 11199600"/>
              <a:gd name="connsiteY29" fmla="*/ 1651536 h 4999653"/>
              <a:gd name="connsiteX30" fmla="*/ 11199600 w 11199600"/>
              <a:gd name="connsiteY30" fmla="*/ 1779318 h 4999653"/>
              <a:gd name="connsiteX31" fmla="*/ 11199600 w 11199600"/>
              <a:gd name="connsiteY31" fmla="*/ 1843417 h 4999653"/>
              <a:gd name="connsiteX32" fmla="*/ 11199600 w 11199600"/>
              <a:gd name="connsiteY32" fmla="*/ 2008551 h 4999653"/>
              <a:gd name="connsiteX33" fmla="*/ 11199600 w 11199600"/>
              <a:gd name="connsiteY33" fmla="*/ 2053558 h 4999653"/>
              <a:gd name="connsiteX34" fmla="*/ 11199600 w 11199600"/>
              <a:gd name="connsiteY34" fmla="*/ 2257705 h 4999653"/>
              <a:gd name="connsiteX35" fmla="*/ 11199600 w 11199600"/>
              <a:gd name="connsiteY35" fmla="*/ 2282791 h 4999653"/>
              <a:gd name="connsiteX36" fmla="*/ 11199600 w 11199600"/>
              <a:gd name="connsiteY36" fmla="*/ 2527610 h 4999653"/>
              <a:gd name="connsiteX37" fmla="*/ 11199600 w 11199600"/>
              <a:gd name="connsiteY37" fmla="*/ 2531945 h 4999653"/>
              <a:gd name="connsiteX38" fmla="*/ 11199600 w 11199600"/>
              <a:gd name="connsiteY38" fmla="*/ 2801851 h 4999653"/>
              <a:gd name="connsiteX39" fmla="*/ 11199600 w 11199600"/>
              <a:gd name="connsiteY39" fmla="*/ 2819097 h 4999653"/>
              <a:gd name="connsiteX40" fmla="*/ 11199600 w 11199600"/>
              <a:gd name="connsiteY40" fmla="*/ 3093337 h 4999653"/>
              <a:gd name="connsiteX41" fmla="*/ 11199600 w 11199600"/>
              <a:gd name="connsiteY41" fmla="*/ 3132995 h 4999653"/>
              <a:gd name="connsiteX42" fmla="*/ 11199600 w 11199600"/>
              <a:gd name="connsiteY42" fmla="*/ 3407236 h 4999653"/>
              <a:gd name="connsiteX43" fmla="*/ 11199600 w 11199600"/>
              <a:gd name="connsiteY43" fmla="*/ 3470135 h 4999653"/>
              <a:gd name="connsiteX44" fmla="*/ 11199600 w 11199600"/>
              <a:gd name="connsiteY44" fmla="*/ 3744375 h 4999653"/>
              <a:gd name="connsiteX45" fmla="*/ 11199600 w 11199600"/>
              <a:gd name="connsiteY45" fmla="*/ 3831346 h 4999653"/>
              <a:gd name="connsiteX46" fmla="*/ 11199600 w 11199600"/>
              <a:gd name="connsiteY46" fmla="*/ 4105586 h 4999653"/>
              <a:gd name="connsiteX47" fmla="*/ 11199600 w 11199600"/>
              <a:gd name="connsiteY47" fmla="*/ 4217459 h 4999653"/>
              <a:gd name="connsiteX48" fmla="*/ 11199600 w 11199600"/>
              <a:gd name="connsiteY48" fmla="*/ 4491699 h 4999653"/>
              <a:gd name="connsiteX49" fmla="*/ 11199600 w 11199600"/>
              <a:gd name="connsiteY49" fmla="*/ 4629303 h 4999653"/>
              <a:gd name="connsiteX50" fmla="*/ 11199600 w 11199600"/>
              <a:gd name="connsiteY50" fmla="*/ 4903543 h 4999653"/>
              <a:gd name="connsiteX51" fmla="*/ 11103603 w 11199600"/>
              <a:gd name="connsiteY51" fmla="*/ 4999653 h 4999653"/>
              <a:gd name="connsiteX52" fmla="*/ 95997 w 11199600"/>
              <a:gd name="connsiteY52" fmla="*/ 4999653 h 4999653"/>
              <a:gd name="connsiteX53" fmla="*/ 0 w 11199600"/>
              <a:gd name="connsiteY53" fmla="*/ 4903543 h 4999653"/>
              <a:gd name="connsiteX54" fmla="*/ 0 w 11199600"/>
              <a:gd name="connsiteY54" fmla="*/ 4664488 h 4999653"/>
              <a:gd name="connsiteX55" fmla="*/ 0 w 11199600"/>
              <a:gd name="connsiteY55" fmla="*/ 4629303 h 4999653"/>
              <a:gd name="connsiteX56" fmla="*/ 0 w 11199600"/>
              <a:gd name="connsiteY56" fmla="*/ 4628197 h 4999653"/>
              <a:gd name="connsiteX57" fmla="*/ 0 w 11199600"/>
              <a:gd name="connsiteY57" fmla="*/ 4620449 h 4999653"/>
              <a:gd name="connsiteX58" fmla="*/ 0 w 11199600"/>
              <a:gd name="connsiteY58" fmla="*/ 4599606 h 4999653"/>
              <a:gd name="connsiteX59" fmla="*/ 0 w 11199600"/>
              <a:gd name="connsiteY59" fmla="*/ 4599421 h 4999653"/>
              <a:gd name="connsiteX60" fmla="*/ 0 w 11199600"/>
              <a:gd name="connsiteY60" fmla="*/ 4558472 h 4999653"/>
              <a:gd name="connsiteX61" fmla="*/ 0 w 11199600"/>
              <a:gd name="connsiteY61" fmla="*/ 4528452 h 4999653"/>
              <a:gd name="connsiteX62" fmla="*/ 0 w 11199600"/>
              <a:gd name="connsiteY62" fmla="*/ 4523933 h 4999653"/>
              <a:gd name="connsiteX63" fmla="*/ 0 w 11199600"/>
              <a:gd name="connsiteY63" fmla="*/ 4490961 h 4999653"/>
              <a:gd name="connsiteX64" fmla="*/ 0 w 11199600"/>
              <a:gd name="connsiteY64" fmla="*/ 4445170 h 4999653"/>
              <a:gd name="connsiteX65" fmla="*/ 0 w 11199600"/>
              <a:gd name="connsiteY65" fmla="*/ 4436639 h 4999653"/>
              <a:gd name="connsiteX66" fmla="*/ 0 w 11199600"/>
              <a:gd name="connsiteY66" fmla="*/ 4390248 h 4999653"/>
              <a:gd name="connsiteX67" fmla="*/ 0 w 11199600"/>
              <a:gd name="connsiteY67" fmla="*/ 4336894 h 4999653"/>
              <a:gd name="connsiteX68" fmla="*/ 0 w 11199600"/>
              <a:gd name="connsiteY68" fmla="*/ 4325366 h 4999653"/>
              <a:gd name="connsiteX69" fmla="*/ 0 w 11199600"/>
              <a:gd name="connsiteY69" fmla="*/ 4249693 h 4999653"/>
              <a:gd name="connsiteX70" fmla="*/ 0 w 11199600"/>
              <a:gd name="connsiteY70" fmla="*/ 4223869 h 4999653"/>
              <a:gd name="connsiteX71" fmla="*/ 0 w 11199600"/>
              <a:gd name="connsiteY71" fmla="*/ 4162399 h 4999653"/>
              <a:gd name="connsiteX72" fmla="*/ 0 w 11199600"/>
              <a:gd name="connsiteY72" fmla="*/ 4096732 h 4999653"/>
              <a:gd name="connsiteX73" fmla="*/ 0 w 11199600"/>
              <a:gd name="connsiteY73" fmla="*/ 4062654 h 4999653"/>
              <a:gd name="connsiteX74" fmla="*/ 0 w 11199600"/>
              <a:gd name="connsiteY74" fmla="*/ 3954655 h 4999653"/>
              <a:gd name="connsiteX75" fmla="*/ 0 w 11199600"/>
              <a:gd name="connsiteY75" fmla="*/ 3949629 h 4999653"/>
              <a:gd name="connsiteX76" fmla="*/ 0 w 11199600"/>
              <a:gd name="connsiteY76" fmla="*/ 3822492 h 4999653"/>
              <a:gd name="connsiteX77" fmla="*/ 0 w 11199600"/>
              <a:gd name="connsiteY77" fmla="*/ 3796807 h 4999653"/>
              <a:gd name="connsiteX78" fmla="*/ 0 w 11199600"/>
              <a:gd name="connsiteY78" fmla="*/ 3680415 h 4999653"/>
              <a:gd name="connsiteX79" fmla="*/ 0 w 11199600"/>
              <a:gd name="connsiteY79" fmla="*/ 3622357 h 4999653"/>
              <a:gd name="connsiteX80" fmla="*/ 0 w 11199600"/>
              <a:gd name="connsiteY80" fmla="*/ 3522567 h 4999653"/>
              <a:gd name="connsiteX81" fmla="*/ 0 w 11199600"/>
              <a:gd name="connsiteY81" fmla="*/ 3430477 h 4999653"/>
              <a:gd name="connsiteX82" fmla="*/ 0 w 11199600"/>
              <a:gd name="connsiteY82" fmla="*/ 3348117 h 4999653"/>
              <a:gd name="connsiteX83" fmla="*/ 0 w 11199600"/>
              <a:gd name="connsiteY83" fmla="*/ 3220335 h 4999653"/>
              <a:gd name="connsiteX84" fmla="*/ 0 w 11199600"/>
              <a:gd name="connsiteY84" fmla="*/ 3156237 h 4999653"/>
              <a:gd name="connsiteX85" fmla="*/ 0 w 11199600"/>
              <a:gd name="connsiteY85" fmla="*/ 2991102 h 4999653"/>
              <a:gd name="connsiteX86" fmla="*/ 0 w 11199600"/>
              <a:gd name="connsiteY86" fmla="*/ 2946095 h 4999653"/>
              <a:gd name="connsiteX87" fmla="*/ 0 w 11199600"/>
              <a:gd name="connsiteY87" fmla="*/ 2741948 h 4999653"/>
              <a:gd name="connsiteX88" fmla="*/ 0 w 11199600"/>
              <a:gd name="connsiteY88" fmla="*/ 2716862 h 4999653"/>
              <a:gd name="connsiteX89" fmla="*/ 0 w 11199600"/>
              <a:gd name="connsiteY89" fmla="*/ 2472043 h 4999653"/>
              <a:gd name="connsiteX90" fmla="*/ 0 w 11199600"/>
              <a:gd name="connsiteY90" fmla="*/ 2467708 h 4999653"/>
              <a:gd name="connsiteX91" fmla="*/ 0 w 11199600"/>
              <a:gd name="connsiteY91" fmla="*/ 2197803 h 4999653"/>
              <a:gd name="connsiteX92" fmla="*/ 0 w 11199600"/>
              <a:gd name="connsiteY92" fmla="*/ 2180556 h 4999653"/>
              <a:gd name="connsiteX93" fmla="*/ 0 w 11199600"/>
              <a:gd name="connsiteY93" fmla="*/ 1906316 h 4999653"/>
              <a:gd name="connsiteX94" fmla="*/ 0 w 11199600"/>
              <a:gd name="connsiteY94" fmla="*/ 1866658 h 4999653"/>
              <a:gd name="connsiteX95" fmla="*/ 0 w 11199600"/>
              <a:gd name="connsiteY95" fmla="*/ 1592418 h 4999653"/>
              <a:gd name="connsiteX96" fmla="*/ 0 w 11199600"/>
              <a:gd name="connsiteY96" fmla="*/ 1529519 h 4999653"/>
              <a:gd name="connsiteX97" fmla="*/ 0 w 11199600"/>
              <a:gd name="connsiteY97" fmla="*/ 1255278 h 4999653"/>
              <a:gd name="connsiteX98" fmla="*/ 0 w 11199600"/>
              <a:gd name="connsiteY98" fmla="*/ 1168307 h 4999653"/>
              <a:gd name="connsiteX99" fmla="*/ 0 w 11199600"/>
              <a:gd name="connsiteY99" fmla="*/ 894067 h 4999653"/>
              <a:gd name="connsiteX100" fmla="*/ 0 w 11199600"/>
              <a:gd name="connsiteY100" fmla="*/ 782195 h 4999653"/>
              <a:gd name="connsiteX101" fmla="*/ 0 w 11199600"/>
              <a:gd name="connsiteY101" fmla="*/ 507955 h 4999653"/>
              <a:gd name="connsiteX102" fmla="*/ 0 w 11199600"/>
              <a:gd name="connsiteY102" fmla="*/ 370350 h 4999653"/>
              <a:gd name="connsiteX103" fmla="*/ 0 w 11199600"/>
              <a:gd name="connsiteY103" fmla="*/ 96110 h 4999653"/>
              <a:gd name="connsiteX104" fmla="*/ 95997 w 11199600"/>
              <a:gd name="connsiteY104" fmla="*/ 0 h 49996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</a:cxnLst>
            <a:rect l="l" t="t" r="r" b="b"/>
            <a:pathLst>
              <a:path w="11199600" h="4999653">
                <a:moveTo>
                  <a:pt x="95997" y="0"/>
                </a:moveTo>
                <a:lnTo>
                  <a:pt x="11103603" y="0"/>
                </a:lnTo>
                <a:cubicBezTo>
                  <a:pt x="11199600" y="0"/>
                  <a:pt x="11199600" y="96110"/>
                  <a:pt x="11199600" y="96110"/>
                </a:cubicBezTo>
                <a:cubicBezTo>
                  <a:pt x="11199600" y="96110"/>
                  <a:pt x="11199600" y="96110"/>
                  <a:pt x="11199600" y="335165"/>
                </a:cubicBezTo>
                <a:lnTo>
                  <a:pt x="11199600" y="370350"/>
                </a:lnTo>
                <a:cubicBezTo>
                  <a:pt x="11199600" y="370350"/>
                  <a:pt x="11199600" y="370350"/>
                  <a:pt x="11199600" y="379204"/>
                </a:cubicBezTo>
                <a:lnTo>
                  <a:pt x="11199600" y="400048"/>
                </a:lnTo>
                <a:lnTo>
                  <a:pt x="11199600" y="400232"/>
                </a:lnTo>
                <a:cubicBezTo>
                  <a:pt x="11199600" y="415173"/>
                  <a:pt x="11199600" y="437585"/>
                  <a:pt x="11199600" y="471202"/>
                </a:cubicBezTo>
                <a:lnTo>
                  <a:pt x="11199600" y="475721"/>
                </a:lnTo>
                <a:lnTo>
                  <a:pt x="11199600" y="508692"/>
                </a:lnTo>
                <a:cubicBezTo>
                  <a:pt x="11199600" y="522527"/>
                  <a:pt x="11199600" y="537744"/>
                  <a:pt x="11199600" y="554484"/>
                </a:cubicBezTo>
                <a:lnTo>
                  <a:pt x="11199600" y="563015"/>
                </a:lnTo>
                <a:lnTo>
                  <a:pt x="11199600" y="609405"/>
                </a:lnTo>
                <a:lnTo>
                  <a:pt x="11199600" y="662759"/>
                </a:lnTo>
                <a:lnTo>
                  <a:pt x="11199600" y="674288"/>
                </a:lnTo>
                <a:cubicBezTo>
                  <a:pt x="11199600" y="697668"/>
                  <a:pt x="11199600" y="722846"/>
                  <a:pt x="11199600" y="749961"/>
                </a:cubicBezTo>
                <a:lnTo>
                  <a:pt x="11199600" y="775785"/>
                </a:lnTo>
                <a:lnTo>
                  <a:pt x="11199600" y="837255"/>
                </a:lnTo>
                <a:lnTo>
                  <a:pt x="11199600" y="902921"/>
                </a:lnTo>
                <a:lnTo>
                  <a:pt x="11199600" y="936999"/>
                </a:lnTo>
                <a:lnTo>
                  <a:pt x="11199600" y="1044999"/>
                </a:lnTo>
                <a:lnTo>
                  <a:pt x="11199600" y="1050025"/>
                </a:lnTo>
                <a:cubicBezTo>
                  <a:pt x="11199600" y="1090006"/>
                  <a:pt x="11199600" y="1132338"/>
                  <a:pt x="11199600" y="1177161"/>
                </a:cubicBezTo>
                <a:lnTo>
                  <a:pt x="11199600" y="1202847"/>
                </a:lnTo>
                <a:lnTo>
                  <a:pt x="11199600" y="1319239"/>
                </a:lnTo>
                <a:lnTo>
                  <a:pt x="11199600" y="1377296"/>
                </a:lnTo>
                <a:lnTo>
                  <a:pt x="11199600" y="1477087"/>
                </a:lnTo>
                <a:lnTo>
                  <a:pt x="11199600" y="1569177"/>
                </a:lnTo>
                <a:lnTo>
                  <a:pt x="11199600" y="1651536"/>
                </a:lnTo>
                <a:lnTo>
                  <a:pt x="11199600" y="1779318"/>
                </a:lnTo>
                <a:lnTo>
                  <a:pt x="11199600" y="1843417"/>
                </a:lnTo>
                <a:lnTo>
                  <a:pt x="11199600" y="2008551"/>
                </a:lnTo>
                <a:lnTo>
                  <a:pt x="11199600" y="2053558"/>
                </a:lnTo>
                <a:lnTo>
                  <a:pt x="11199600" y="2257705"/>
                </a:lnTo>
                <a:lnTo>
                  <a:pt x="11199600" y="2282791"/>
                </a:lnTo>
                <a:lnTo>
                  <a:pt x="11199600" y="2527610"/>
                </a:lnTo>
                <a:lnTo>
                  <a:pt x="11199600" y="2531945"/>
                </a:lnTo>
                <a:cubicBezTo>
                  <a:pt x="11199600" y="2618409"/>
                  <a:pt x="11199600" y="2708331"/>
                  <a:pt x="11199600" y="2801851"/>
                </a:cubicBezTo>
                <a:lnTo>
                  <a:pt x="11199600" y="2819097"/>
                </a:lnTo>
                <a:lnTo>
                  <a:pt x="11199600" y="3093337"/>
                </a:lnTo>
                <a:lnTo>
                  <a:pt x="11199600" y="3132995"/>
                </a:lnTo>
                <a:lnTo>
                  <a:pt x="11199600" y="3407236"/>
                </a:lnTo>
                <a:lnTo>
                  <a:pt x="11199600" y="3470135"/>
                </a:lnTo>
                <a:lnTo>
                  <a:pt x="11199600" y="3744375"/>
                </a:lnTo>
                <a:lnTo>
                  <a:pt x="11199600" y="3831346"/>
                </a:lnTo>
                <a:lnTo>
                  <a:pt x="11199600" y="4105586"/>
                </a:lnTo>
                <a:lnTo>
                  <a:pt x="11199600" y="4217459"/>
                </a:lnTo>
                <a:lnTo>
                  <a:pt x="11199600" y="4491699"/>
                </a:lnTo>
                <a:lnTo>
                  <a:pt x="11199600" y="4629303"/>
                </a:lnTo>
                <a:lnTo>
                  <a:pt x="11199600" y="4903543"/>
                </a:lnTo>
                <a:cubicBezTo>
                  <a:pt x="11199600" y="4999653"/>
                  <a:pt x="11103603" y="4999653"/>
                  <a:pt x="11103603" y="4999653"/>
                </a:cubicBezTo>
                <a:cubicBezTo>
                  <a:pt x="11103603" y="4999653"/>
                  <a:pt x="11103603" y="4999653"/>
                  <a:pt x="95997" y="4999653"/>
                </a:cubicBezTo>
                <a:cubicBezTo>
                  <a:pt x="0" y="4999653"/>
                  <a:pt x="0" y="4903543"/>
                  <a:pt x="0" y="4903543"/>
                </a:cubicBezTo>
                <a:cubicBezTo>
                  <a:pt x="0" y="4903543"/>
                  <a:pt x="0" y="4903543"/>
                  <a:pt x="0" y="4664488"/>
                </a:cubicBezTo>
                <a:lnTo>
                  <a:pt x="0" y="4629303"/>
                </a:lnTo>
                <a:lnTo>
                  <a:pt x="0" y="4628197"/>
                </a:lnTo>
                <a:lnTo>
                  <a:pt x="0" y="4620449"/>
                </a:lnTo>
                <a:lnTo>
                  <a:pt x="0" y="4599606"/>
                </a:lnTo>
                <a:lnTo>
                  <a:pt x="0" y="4599421"/>
                </a:lnTo>
                <a:lnTo>
                  <a:pt x="0" y="4558472"/>
                </a:lnTo>
                <a:lnTo>
                  <a:pt x="0" y="4528452"/>
                </a:lnTo>
                <a:lnTo>
                  <a:pt x="0" y="4523933"/>
                </a:lnTo>
                <a:lnTo>
                  <a:pt x="0" y="4490961"/>
                </a:lnTo>
                <a:lnTo>
                  <a:pt x="0" y="4445170"/>
                </a:lnTo>
                <a:lnTo>
                  <a:pt x="0" y="4436639"/>
                </a:lnTo>
                <a:lnTo>
                  <a:pt x="0" y="4390248"/>
                </a:lnTo>
                <a:lnTo>
                  <a:pt x="0" y="4336894"/>
                </a:lnTo>
                <a:lnTo>
                  <a:pt x="0" y="4325366"/>
                </a:lnTo>
                <a:lnTo>
                  <a:pt x="0" y="4249693"/>
                </a:lnTo>
                <a:lnTo>
                  <a:pt x="0" y="4223869"/>
                </a:lnTo>
                <a:lnTo>
                  <a:pt x="0" y="4162399"/>
                </a:lnTo>
                <a:lnTo>
                  <a:pt x="0" y="4096732"/>
                </a:lnTo>
                <a:lnTo>
                  <a:pt x="0" y="4062654"/>
                </a:lnTo>
                <a:lnTo>
                  <a:pt x="0" y="3954655"/>
                </a:lnTo>
                <a:lnTo>
                  <a:pt x="0" y="3949629"/>
                </a:lnTo>
                <a:lnTo>
                  <a:pt x="0" y="3822492"/>
                </a:lnTo>
                <a:lnTo>
                  <a:pt x="0" y="3796807"/>
                </a:lnTo>
                <a:lnTo>
                  <a:pt x="0" y="3680415"/>
                </a:lnTo>
                <a:lnTo>
                  <a:pt x="0" y="3622357"/>
                </a:lnTo>
                <a:lnTo>
                  <a:pt x="0" y="3522567"/>
                </a:lnTo>
                <a:lnTo>
                  <a:pt x="0" y="3430477"/>
                </a:lnTo>
                <a:lnTo>
                  <a:pt x="0" y="3348117"/>
                </a:lnTo>
                <a:lnTo>
                  <a:pt x="0" y="3220335"/>
                </a:lnTo>
                <a:lnTo>
                  <a:pt x="0" y="3156237"/>
                </a:lnTo>
                <a:lnTo>
                  <a:pt x="0" y="2991102"/>
                </a:lnTo>
                <a:lnTo>
                  <a:pt x="0" y="2946095"/>
                </a:lnTo>
                <a:lnTo>
                  <a:pt x="0" y="2741948"/>
                </a:lnTo>
                <a:lnTo>
                  <a:pt x="0" y="2716862"/>
                </a:lnTo>
                <a:lnTo>
                  <a:pt x="0" y="2472043"/>
                </a:lnTo>
                <a:lnTo>
                  <a:pt x="0" y="2467708"/>
                </a:lnTo>
                <a:lnTo>
                  <a:pt x="0" y="2197803"/>
                </a:lnTo>
                <a:lnTo>
                  <a:pt x="0" y="2180556"/>
                </a:lnTo>
                <a:lnTo>
                  <a:pt x="0" y="1906316"/>
                </a:lnTo>
                <a:lnTo>
                  <a:pt x="0" y="1866658"/>
                </a:lnTo>
                <a:lnTo>
                  <a:pt x="0" y="1592418"/>
                </a:lnTo>
                <a:lnTo>
                  <a:pt x="0" y="1529519"/>
                </a:lnTo>
                <a:lnTo>
                  <a:pt x="0" y="1255278"/>
                </a:lnTo>
                <a:lnTo>
                  <a:pt x="0" y="1168307"/>
                </a:lnTo>
                <a:lnTo>
                  <a:pt x="0" y="894067"/>
                </a:lnTo>
                <a:lnTo>
                  <a:pt x="0" y="782195"/>
                </a:lnTo>
                <a:lnTo>
                  <a:pt x="0" y="507955"/>
                </a:lnTo>
                <a:lnTo>
                  <a:pt x="0" y="370350"/>
                </a:lnTo>
                <a:lnTo>
                  <a:pt x="0" y="96110"/>
                </a:lnTo>
                <a:cubicBezTo>
                  <a:pt x="0" y="0"/>
                  <a:pt x="95997" y="0"/>
                  <a:pt x="95997" y="0"/>
                </a:cubicBezTo>
                <a:close/>
              </a:path>
            </a:pathLst>
          </a:custGeom>
          <a:solidFill>
            <a:srgbClr val="EAEAEA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GB">
              <a:solidFill>
                <a:srgbClr val="333333"/>
              </a:solidFill>
            </a:endParaRPr>
          </a:p>
        </p:txBody>
      </p:sp>
      <p:sp>
        <p:nvSpPr>
          <p:cNvPr id="13" name="Content Placeholder 2"/>
          <p:cNvSpPr>
            <a:spLocks noGrp="1"/>
          </p:cNvSpPr>
          <p:nvPr>
            <p:ph idx="1"/>
          </p:nvPr>
        </p:nvSpPr>
        <p:spPr bwMode="gray">
          <a:xfrm>
            <a:off x="687030" y="1327149"/>
            <a:ext cx="4864458" cy="4752000"/>
          </a:xfrm>
        </p:spPr>
        <p:txBody>
          <a:bodyPr>
            <a:noAutofit/>
          </a:bodyPr>
          <a:lstStyle>
            <a:lvl1pPr marL="432000" marR="0" indent="-432000" algn="l" defTabSz="914377" rtl="0" eaLnBrk="1" fontAlgn="auto" latinLnBrk="0" hangingPunct="1">
              <a:lnSpc>
                <a:spcPts val="2200"/>
              </a:lnSpc>
              <a:spcBef>
                <a:spcPts val="200"/>
              </a:spcBef>
              <a:spcAft>
                <a:spcPts val="800"/>
              </a:spcAft>
              <a:buClrTx/>
              <a:buSzTx/>
              <a:buFont typeface="+mj-lt"/>
              <a:buAutoNum type="arabicPeriod"/>
              <a:tabLst>
                <a:tab pos="355591" algn="l"/>
              </a:tabLst>
              <a:defRPr sz="2000" b="0"/>
            </a:lvl1pPr>
            <a:lvl2pPr>
              <a:defRPr sz="2000"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  <p:sp>
        <p:nvSpPr>
          <p:cNvPr id="17" name="Picture Placeholder 16"/>
          <p:cNvSpPr>
            <a:spLocks noGrp="1"/>
          </p:cNvSpPr>
          <p:nvPr>
            <p:ph type="pic" sz="quarter" idx="14"/>
          </p:nvPr>
        </p:nvSpPr>
        <p:spPr bwMode="gray">
          <a:xfrm>
            <a:off x="5928122" y="1201147"/>
            <a:ext cx="3737794" cy="4999652"/>
          </a:xfrm>
          <a:custGeom>
            <a:avLst/>
            <a:gdLst>
              <a:gd name="connsiteX0" fmla="*/ 0 w 4600362"/>
              <a:gd name="connsiteY0" fmla="*/ 0 h 4999652"/>
              <a:gd name="connsiteX1" fmla="*/ 4504373 w 4600362"/>
              <a:gd name="connsiteY1" fmla="*/ 0 h 4999652"/>
              <a:gd name="connsiteX2" fmla="*/ 4536051 w 4600362"/>
              <a:gd name="connsiteY2" fmla="*/ 4129 h 4999652"/>
              <a:gd name="connsiteX3" fmla="*/ 4600362 w 4600362"/>
              <a:gd name="connsiteY3" fmla="*/ 96109 h 4999652"/>
              <a:gd name="connsiteX4" fmla="*/ 4600362 w 4600362"/>
              <a:gd name="connsiteY4" fmla="*/ 335164 h 4999652"/>
              <a:gd name="connsiteX5" fmla="*/ 4600362 w 4600362"/>
              <a:gd name="connsiteY5" fmla="*/ 370349 h 4999652"/>
              <a:gd name="connsiteX6" fmla="*/ 4600362 w 4600362"/>
              <a:gd name="connsiteY6" fmla="*/ 379203 h 4999652"/>
              <a:gd name="connsiteX7" fmla="*/ 4600362 w 4600362"/>
              <a:gd name="connsiteY7" fmla="*/ 400047 h 4999652"/>
              <a:gd name="connsiteX8" fmla="*/ 4600362 w 4600362"/>
              <a:gd name="connsiteY8" fmla="*/ 400231 h 4999652"/>
              <a:gd name="connsiteX9" fmla="*/ 4600362 w 4600362"/>
              <a:gd name="connsiteY9" fmla="*/ 471201 h 4999652"/>
              <a:gd name="connsiteX10" fmla="*/ 4600362 w 4600362"/>
              <a:gd name="connsiteY10" fmla="*/ 475720 h 4999652"/>
              <a:gd name="connsiteX11" fmla="*/ 4600362 w 4600362"/>
              <a:gd name="connsiteY11" fmla="*/ 508691 h 4999652"/>
              <a:gd name="connsiteX12" fmla="*/ 4600362 w 4600362"/>
              <a:gd name="connsiteY12" fmla="*/ 554483 h 4999652"/>
              <a:gd name="connsiteX13" fmla="*/ 4600362 w 4600362"/>
              <a:gd name="connsiteY13" fmla="*/ 563014 h 4999652"/>
              <a:gd name="connsiteX14" fmla="*/ 4600362 w 4600362"/>
              <a:gd name="connsiteY14" fmla="*/ 609404 h 4999652"/>
              <a:gd name="connsiteX15" fmla="*/ 4600362 w 4600362"/>
              <a:gd name="connsiteY15" fmla="*/ 662758 h 4999652"/>
              <a:gd name="connsiteX16" fmla="*/ 4600362 w 4600362"/>
              <a:gd name="connsiteY16" fmla="*/ 674287 h 4999652"/>
              <a:gd name="connsiteX17" fmla="*/ 4600362 w 4600362"/>
              <a:gd name="connsiteY17" fmla="*/ 749960 h 4999652"/>
              <a:gd name="connsiteX18" fmla="*/ 4600362 w 4600362"/>
              <a:gd name="connsiteY18" fmla="*/ 775784 h 4999652"/>
              <a:gd name="connsiteX19" fmla="*/ 4600362 w 4600362"/>
              <a:gd name="connsiteY19" fmla="*/ 837254 h 4999652"/>
              <a:gd name="connsiteX20" fmla="*/ 4600362 w 4600362"/>
              <a:gd name="connsiteY20" fmla="*/ 902920 h 4999652"/>
              <a:gd name="connsiteX21" fmla="*/ 4600362 w 4600362"/>
              <a:gd name="connsiteY21" fmla="*/ 936998 h 4999652"/>
              <a:gd name="connsiteX22" fmla="*/ 4600362 w 4600362"/>
              <a:gd name="connsiteY22" fmla="*/ 1044998 h 4999652"/>
              <a:gd name="connsiteX23" fmla="*/ 4600362 w 4600362"/>
              <a:gd name="connsiteY23" fmla="*/ 1050024 h 4999652"/>
              <a:gd name="connsiteX24" fmla="*/ 4600362 w 4600362"/>
              <a:gd name="connsiteY24" fmla="*/ 1177160 h 4999652"/>
              <a:gd name="connsiteX25" fmla="*/ 4600362 w 4600362"/>
              <a:gd name="connsiteY25" fmla="*/ 1202846 h 4999652"/>
              <a:gd name="connsiteX26" fmla="*/ 4600362 w 4600362"/>
              <a:gd name="connsiteY26" fmla="*/ 1319238 h 4999652"/>
              <a:gd name="connsiteX27" fmla="*/ 4600362 w 4600362"/>
              <a:gd name="connsiteY27" fmla="*/ 1377295 h 4999652"/>
              <a:gd name="connsiteX28" fmla="*/ 4600362 w 4600362"/>
              <a:gd name="connsiteY28" fmla="*/ 1477086 h 4999652"/>
              <a:gd name="connsiteX29" fmla="*/ 4600362 w 4600362"/>
              <a:gd name="connsiteY29" fmla="*/ 1569176 h 4999652"/>
              <a:gd name="connsiteX30" fmla="*/ 4600362 w 4600362"/>
              <a:gd name="connsiteY30" fmla="*/ 1651535 h 4999652"/>
              <a:gd name="connsiteX31" fmla="*/ 4600362 w 4600362"/>
              <a:gd name="connsiteY31" fmla="*/ 1779317 h 4999652"/>
              <a:gd name="connsiteX32" fmla="*/ 4600362 w 4600362"/>
              <a:gd name="connsiteY32" fmla="*/ 1843416 h 4999652"/>
              <a:gd name="connsiteX33" fmla="*/ 4600362 w 4600362"/>
              <a:gd name="connsiteY33" fmla="*/ 2008550 h 4999652"/>
              <a:gd name="connsiteX34" fmla="*/ 4600362 w 4600362"/>
              <a:gd name="connsiteY34" fmla="*/ 2053557 h 4999652"/>
              <a:gd name="connsiteX35" fmla="*/ 4600362 w 4600362"/>
              <a:gd name="connsiteY35" fmla="*/ 2257704 h 4999652"/>
              <a:gd name="connsiteX36" fmla="*/ 4600362 w 4600362"/>
              <a:gd name="connsiteY36" fmla="*/ 2282790 h 4999652"/>
              <a:gd name="connsiteX37" fmla="*/ 4600362 w 4600362"/>
              <a:gd name="connsiteY37" fmla="*/ 2527609 h 4999652"/>
              <a:gd name="connsiteX38" fmla="*/ 4600362 w 4600362"/>
              <a:gd name="connsiteY38" fmla="*/ 2531944 h 4999652"/>
              <a:gd name="connsiteX39" fmla="*/ 4600362 w 4600362"/>
              <a:gd name="connsiteY39" fmla="*/ 2801850 h 4999652"/>
              <a:gd name="connsiteX40" fmla="*/ 4600362 w 4600362"/>
              <a:gd name="connsiteY40" fmla="*/ 2819096 h 4999652"/>
              <a:gd name="connsiteX41" fmla="*/ 4600362 w 4600362"/>
              <a:gd name="connsiteY41" fmla="*/ 3093336 h 4999652"/>
              <a:gd name="connsiteX42" fmla="*/ 4600362 w 4600362"/>
              <a:gd name="connsiteY42" fmla="*/ 3132994 h 4999652"/>
              <a:gd name="connsiteX43" fmla="*/ 4600362 w 4600362"/>
              <a:gd name="connsiteY43" fmla="*/ 3407235 h 4999652"/>
              <a:gd name="connsiteX44" fmla="*/ 4600362 w 4600362"/>
              <a:gd name="connsiteY44" fmla="*/ 3470134 h 4999652"/>
              <a:gd name="connsiteX45" fmla="*/ 4600362 w 4600362"/>
              <a:gd name="connsiteY45" fmla="*/ 3744374 h 4999652"/>
              <a:gd name="connsiteX46" fmla="*/ 4600362 w 4600362"/>
              <a:gd name="connsiteY46" fmla="*/ 3831345 h 4999652"/>
              <a:gd name="connsiteX47" fmla="*/ 4600362 w 4600362"/>
              <a:gd name="connsiteY47" fmla="*/ 4105585 h 4999652"/>
              <a:gd name="connsiteX48" fmla="*/ 4600362 w 4600362"/>
              <a:gd name="connsiteY48" fmla="*/ 4217458 h 4999652"/>
              <a:gd name="connsiteX49" fmla="*/ 4600362 w 4600362"/>
              <a:gd name="connsiteY49" fmla="*/ 4491698 h 4999652"/>
              <a:gd name="connsiteX50" fmla="*/ 4600362 w 4600362"/>
              <a:gd name="connsiteY50" fmla="*/ 4629302 h 4999652"/>
              <a:gd name="connsiteX51" fmla="*/ 4600362 w 4600362"/>
              <a:gd name="connsiteY51" fmla="*/ 4903542 h 4999652"/>
              <a:gd name="connsiteX52" fmla="*/ 4504365 w 4600362"/>
              <a:gd name="connsiteY52" fmla="*/ 4999652 h 4999652"/>
              <a:gd name="connsiteX53" fmla="*/ 144766 w 4600362"/>
              <a:gd name="connsiteY53" fmla="*/ 4999652 h 4999652"/>
              <a:gd name="connsiteX54" fmla="*/ 0 w 4600362"/>
              <a:gd name="connsiteY54" fmla="*/ 4999652 h 49996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</a:cxnLst>
            <a:rect l="l" t="t" r="r" b="b"/>
            <a:pathLst>
              <a:path w="4600362" h="4999652">
                <a:moveTo>
                  <a:pt x="0" y="0"/>
                </a:moveTo>
                <a:lnTo>
                  <a:pt x="4504373" y="0"/>
                </a:lnTo>
                <a:lnTo>
                  <a:pt x="4536051" y="4129"/>
                </a:lnTo>
                <a:cubicBezTo>
                  <a:pt x="4600362" y="22525"/>
                  <a:pt x="4600362" y="96109"/>
                  <a:pt x="4600362" y="96109"/>
                </a:cubicBezTo>
                <a:cubicBezTo>
                  <a:pt x="4600362" y="96109"/>
                  <a:pt x="4600362" y="96109"/>
                  <a:pt x="4600362" y="335164"/>
                </a:cubicBezTo>
                <a:lnTo>
                  <a:pt x="4600362" y="370349"/>
                </a:lnTo>
                <a:cubicBezTo>
                  <a:pt x="4600362" y="370349"/>
                  <a:pt x="4600362" y="370349"/>
                  <a:pt x="4600362" y="379203"/>
                </a:cubicBezTo>
                <a:lnTo>
                  <a:pt x="4600362" y="400047"/>
                </a:lnTo>
                <a:lnTo>
                  <a:pt x="4600362" y="400231"/>
                </a:lnTo>
                <a:cubicBezTo>
                  <a:pt x="4600362" y="415172"/>
                  <a:pt x="4600362" y="437584"/>
                  <a:pt x="4600362" y="471201"/>
                </a:cubicBezTo>
                <a:lnTo>
                  <a:pt x="4600362" y="475720"/>
                </a:lnTo>
                <a:lnTo>
                  <a:pt x="4600362" y="508691"/>
                </a:lnTo>
                <a:cubicBezTo>
                  <a:pt x="4600362" y="522526"/>
                  <a:pt x="4600362" y="537743"/>
                  <a:pt x="4600362" y="554483"/>
                </a:cubicBezTo>
                <a:lnTo>
                  <a:pt x="4600362" y="563014"/>
                </a:lnTo>
                <a:lnTo>
                  <a:pt x="4600362" y="609404"/>
                </a:lnTo>
                <a:lnTo>
                  <a:pt x="4600362" y="662758"/>
                </a:lnTo>
                <a:lnTo>
                  <a:pt x="4600362" y="674287"/>
                </a:lnTo>
                <a:cubicBezTo>
                  <a:pt x="4600362" y="697667"/>
                  <a:pt x="4600362" y="722845"/>
                  <a:pt x="4600362" y="749960"/>
                </a:cubicBezTo>
                <a:lnTo>
                  <a:pt x="4600362" y="775784"/>
                </a:lnTo>
                <a:lnTo>
                  <a:pt x="4600362" y="837254"/>
                </a:lnTo>
                <a:lnTo>
                  <a:pt x="4600362" y="902920"/>
                </a:lnTo>
                <a:lnTo>
                  <a:pt x="4600362" y="936998"/>
                </a:lnTo>
                <a:lnTo>
                  <a:pt x="4600362" y="1044998"/>
                </a:lnTo>
                <a:lnTo>
                  <a:pt x="4600362" y="1050024"/>
                </a:lnTo>
                <a:cubicBezTo>
                  <a:pt x="4600362" y="1090005"/>
                  <a:pt x="4600362" y="1132337"/>
                  <a:pt x="4600362" y="1177160"/>
                </a:cubicBezTo>
                <a:lnTo>
                  <a:pt x="4600362" y="1202846"/>
                </a:lnTo>
                <a:lnTo>
                  <a:pt x="4600362" y="1319238"/>
                </a:lnTo>
                <a:lnTo>
                  <a:pt x="4600362" y="1377295"/>
                </a:lnTo>
                <a:lnTo>
                  <a:pt x="4600362" y="1477086"/>
                </a:lnTo>
                <a:lnTo>
                  <a:pt x="4600362" y="1569176"/>
                </a:lnTo>
                <a:lnTo>
                  <a:pt x="4600362" y="1651535"/>
                </a:lnTo>
                <a:lnTo>
                  <a:pt x="4600362" y="1779317"/>
                </a:lnTo>
                <a:lnTo>
                  <a:pt x="4600362" y="1843416"/>
                </a:lnTo>
                <a:lnTo>
                  <a:pt x="4600362" y="2008550"/>
                </a:lnTo>
                <a:lnTo>
                  <a:pt x="4600362" y="2053557"/>
                </a:lnTo>
                <a:lnTo>
                  <a:pt x="4600362" y="2257704"/>
                </a:lnTo>
                <a:lnTo>
                  <a:pt x="4600362" y="2282790"/>
                </a:lnTo>
                <a:lnTo>
                  <a:pt x="4600362" y="2527609"/>
                </a:lnTo>
                <a:lnTo>
                  <a:pt x="4600362" y="2531944"/>
                </a:lnTo>
                <a:cubicBezTo>
                  <a:pt x="4600362" y="2618408"/>
                  <a:pt x="4600362" y="2708330"/>
                  <a:pt x="4600362" y="2801850"/>
                </a:cubicBezTo>
                <a:lnTo>
                  <a:pt x="4600362" y="2819096"/>
                </a:lnTo>
                <a:lnTo>
                  <a:pt x="4600362" y="3093336"/>
                </a:lnTo>
                <a:lnTo>
                  <a:pt x="4600362" y="3132994"/>
                </a:lnTo>
                <a:lnTo>
                  <a:pt x="4600362" y="3407235"/>
                </a:lnTo>
                <a:lnTo>
                  <a:pt x="4600362" y="3470134"/>
                </a:lnTo>
                <a:lnTo>
                  <a:pt x="4600362" y="3744374"/>
                </a:lnTo>
                <a:lnTo>
                  <a:pt x="4600362" y="3831345"/>
                </a:lnTo>
                <a:lnTo>
                  <a:pt x="4600362" y="4105585"/>
                </a:lnTo>
                <a:lnTo>
                  <a:pt x="4600362" y="4217458"/>
                </a:lnTo>
                <a:lnTo>
                  <a:pt x="4600362" y="4491698"/>
                </a:lnTo>
                <a:lnTo>
                  <a:pt x="4600362" y="4629302"/>
                </a:lnTo>
                <a:lnTo>
                  <a:pt x="4600362" y="4903542"/>
                </a:lnTo>
                <a:cubicBezTo>
                  <a:pt x="4600362" y="4999652"/>
                  <a:pt x="4504365" y="4999652"/>
                  <a:pt x="4504365" y="4999652"/>
                </a:cubicBezTo>
                <a:cubicBezTo>
                  <a:pt x="4504365" y="4999652"/>
                  <a:pt x="4504365" y="4999652"/>
                  <a:pt x="144766" y="4999652"/>
                </a:cubicBezTo>
                <a:lnTo>
                  <a:pt x="0" y="4999652"/>
                </a:lnTo>
                <a:close/>
              </a:path>
            </a:pathLst>
          </a:custGeom>
          <a:noFill/>
        </p:spPr>
        <p:txBody>
          <a:bodyPr wrap="square" tIns="108000">
            <a:noAutofit/>
          </a:bodyPr>
          <a:lstStyle/>
          <a:p>
            <a:r>
              <a:rPr lang="nl-NL" noProof="0" smtClean="0"/>
              <a:t>Klik op het pictogram als u een afbeelding wilt toevoegen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454525992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="" xmlns:p15="http://schemas.microsoft.com/office/powerpoint/2012/main">
        <p15:guide id="1" pos="4308" userDrawn="1">
          <p15:clr>
            <a:srgbClr val="FBAE40"/>
          </p15:clr>
        </p15:guide>
        <p15:guide id="2" pos="4596" userDrawn="1">
          <p15:clr>
            <a:srgbClr val="FBAE40"/>
          </p15:clr>
        </p15:guide>
      </p15:sldGuideLst>
    </p:ext>
  </p:extLs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Header Oran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Freeform 9"/>
          <p:cNvSpPr>
            <a:spLocks noChangeAspect="1"/>
          </p:cNvSpPr>
          <p:nvPr userDrawn="1"/>
        </p:nvSpPr>
        <p:spPr bwMode="gray">
          <a:xfrm>
            <a:off x="0" y="1695450"/>
            <a:ext cx="9222525" cy="2382290"/>
          </a:xfrm>
          <a:custGeom>
            <a:avLst/>
            <a:gdLst>
              <a:gd name="T0" fmla="*/ 0 w 2680"/>
              <a:gd name="T1" fmla="*/ 560 h 560"/>
              <a:gd name="T2" fmla="*/ 2648 w 2680"/>
              <a:gd name="T3" fmla="*/ 560 h 560"/>
              <a:gd name="T4" fmla="*/ 2680 w 2680"/>
              <a:gd name="T5" fmla="*/ 528 h 560"/>
              <a:gd name="T6" fmla="*/ 2680 w 2680"/>
              <a:gd name="T7" fmla="*/ 32 h 560"/>
              <a:gd name="T8" fmla="*/ 2648 w 2680"/>
              <a:gd name="T9" fmla="*/ 0 h 560"/>
              <a:gd name="T10" fmla="*/ 0 w 2680"/>
              <a:gd name="T11" fmla="*/ 0 h 5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2680" h="560">
                <a:moveTo>
                  <a:pt x="0" y="560"/>
                </a:moveTo>
                <a:cubicBezTo>
                  <a:pt x="2648" y="560"/>
                  <a:pt x="2648" y="560"/>
                  <a:pt x="2648" y="560"/>
                </a:cubicBezTo>
                <a:cubicBezTo>
                  <a:pt x="2648" y="560"/>
                  <a:pt x="2680" y="560"/>
                  <a:pt x="2680" y="528"/>
                </a:cubicBezTo>
                <a:cubicBezTo>
                  <a:pt x="2680" y="32"/>
                  <a:pt x="2680" y="32"/>
                  <a:pt x="2680" y="32"/>
                </a:cubicBezTo>
                <a:cubicBezTo>
                  <a:pt x="2680" y="32"/>
                  <a:pt x="2680" y="0"/>
                  <a:pt x="2648" y="0"/>
                </a:cubicBezTo>
                <a:cubicBezTo>
                  <a:pt x="0" y="0"/>
                  <a:pt x="0" y="0"/>
                  <a:pt x="0" y="0"/>
                </a:cubicBezTo>
              </a:path>
            </a:pathLst>
          </a:custGeom>
          <a:solidFill>
            <a:srgbClr val="FF62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>
              <a:solidFill>
                <a:srgbClr val="333333"/>
              </a:solidFill>
            </a:endParaRPr>
          </a:p>
        </p:txBody>
      </p:sp>
      <p:sp>
        <p:nvSpPr>
          <p:cNvPr id="5" name="Title 1"/>
          <p:cNvSpPr>
            <a:spLocks noGrp="1"/>
          </p:cNvSpPr>
          <p:nvPr userDrawn="1">
            <p:ph type="ctrTitle"/>
          </p:nvPr>
        </p:nvSpPr>
        <p:spPr bwMode="gray">
          <a:xfrm>
            <a:off x="684477" y="1695452"/>
            <a:ext cx="8379482" cy="2368549"/>
          </a:xfrm>
        </p:spPr>
        <p:txBody>
          <a:bodyPr anchor="ctr" anchorCtr="0">
            <a:noAutofit/>
          </a:bodyPr>
          <a:lstStyle>
            <a:lvl1pPr algn="l">
              <a:lnSpc>
                <a:spcPts val="4600"/>
              </a:lnSpc>
              <a:defRPr sz="4600">
                <a:solidFill>
                  <a:schemeClr val="bg1"/>
                </a:solidFill>
              </a:defRPr>
            </a:lvl1pPr>
          </a:lstStyle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  <p:grpSp>
        <p:nvGrpSpPr>
          <p:cNvPr id="8" name="Group 7"/>
          <p:cNvGrpSpPr/>
          <p:nvPr userDrawn="1"/>
        </p:nvGrpSpPr>
        <p:grpSpPr bwMode="gray">
          <a:xfrm>
            <a:off x="-1653580" y="0"/>
            <a:ext cx="1521000" cy="4689612"/>
            <a:chOff x="-2581275" y="595116"/>
            <a:chExt cx="1872000" cy="4689612"/>
          </a:xfrm>
        </p:grpSpPr>
        <p:sp>
          <p:nvSpPr>
            <p:cNvPr id="9" name="Rectangle 104"/>
            <p:cNvSpPr>
              <a:spLocks noChangeArrowheads="1"/>
            </p:cNvSpPr>
            <p:nvPr/>
          </p:nvSpPr>
          <p:spPr bwMode="gray">
            <a:xfrm>
              <a:off x="-2581275" y="4276728"/>
              <a:ext cx="1872000" cy="100800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10" name="Rectangle 104"/>
            <p:cNvSpPr>
              <a:spLocks noChangeArrowheads="1"/>
            </p:cNvSpPr>
            <p:nvPr userDrawn="1"/>
          </p:nvSpPr>
          <p:spPr bwMode="gray">
            <a:xfrm>
              <a:off x="-2581275" y="595116"/>
              <a:ext cx="1872000" cy="3672087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11" name="Rectangle 105"/>
            <p:cNvSpPr>
              <a:spLocks noChangeArrowheads="1"/>
            </p:cNvSpPr>
            <p:nvPr userDrawn="1"/>
          </p:nvSpPr>
          <p:spPr bwMode="gray">
            <a:xfrm>
              <a:off x="-2449513" y="1136650"/>
              <a:ext cx="215900" cy="215900"/>
            </a:xfrm>
            <a:prstGeom prst="rect">
              <a:avLst/>
            </a:prstGeom>
            <a:solidFill>
              <a:srgbClr val="FF6200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12" name="Rectangle 106"/>
            <p:cNvSpPr>
              <a:spLocks noChangeArrowheads="1"/>
            </p:cNvSpPr>
            <p:nvPr userDrawn="1"/>
          </p:nvSpPr>
          <p:spPr bwMode="gray">
            <a:xfrm>
              <a:off x="-2159000" y="1146175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Orang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55, 98, 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13" name="Rectangle 107"/>
            <p:cNvSpPr>
              <a:spLocks noChangeArrowheads="1"/>
            </p:cNvSpPr>
            <p:nvPr userDrawn="1"/>
          </p:nvSpPr>
          <p:spPr bwMode="gray">
            <a:xfrm>
              <a:off x="-2449513" y="1571626"/>
              <a:ext cx="215900" cy="215900"/>
            </a:xfrm>
            <a:prstGeom prst="rect">
              <a:avLst/>
            </a:prstGeom>
            <a:solidFill>
              <a:srgbClr val="A8A8A8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15" name="Rectangle 108"/>
            <p:cNvSpPr>
              <a:spLocks noChangeArrowheads="1"/>
            </p:cNvSpPr>
            <p:nvPr userDrawn="1"/>
          </p:nvSpPr>
          <p:spPr bwMode="gray">
            <a:xfrm>
              <a:off x="-2159000" y="15970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ght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68, 168, 16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16" name="Rectangle 109"/>
            <p:cNvSpPr>
              <a:spLocks noChangeArrowheads="1"/>
            </p:cNvSpPr>
            <p:nvPr userDrawn="1"/>
          </p:nvSpPr>
          <p:spPr bwMode="gray">
            <a:xfrm>
              <a:off x="-2449513" y="2058988"/>
              <a:ext cx="215900" cy="215900"/>
            </a:xfrm>
            <a:prstGeom prst="rect">
              <a:avLst/>
            </a:prstGeom>
            <a:solidFill>
              <a:srgbClr val="52519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17" name="Rectangle 110"/>
            <p:cNvSpPr>
              <a:spLocks noChangeArrowheads="1"/>
            </p:cNvSpPr>
            <p:nvPr userDrawn="1"/>
          </p:nvSpPr>
          <p:spPr bwMode="gray">
            <a:xfrm>
              <a:off x="-2159000" y="2068513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Indigo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82, 81, 153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18" name="Rectangle 111"/>
            <p:cNvSpPr>
              <a:spLocks noChangeArrowheads="1"/>
            </p:cNvSpPr>
            <p:nvPr userDrawn="1"/>
          </p:nvSpPr>
          <p:spPr bwMode="gray">
            <a:xfrm>
              <a:off x="-2449513" y="2527301"/>
              <a:ext cx="215900" cy="215900"/>
            </a:xfrm>
            <a:prstGeom prst="rect">
              <a:avLst/>
            </a:prstGeom>
            <a:solidFill>
              <a:srgbClr val="60A6DA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19" name="Rectangle 112"/>
            <p:cNvSpPr>
              <a:spLocks noChangeArrowheads="1"/>
            </p:cNvSpPr>
            <p:nvPr userDrawn="1"/>
          </p:nvSpPr>
          <p:spPr bwMode="gray">
            <a:xfrm>
              <a:off x="-2159000" y="25368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Sk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96, 166, 2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20" name="Rectangle 113"/>
            <p:cNvSpPr>
              <a:spLocks noChangeArrowheads="1"/>
            </p:cNvSpPr>
            <p:nvPr userDrawn="1"/>
          </p:nvSpPr>
          <p:spPr bwMode="gray">
            <a:xfrm>
              <a:off x="-2449513" y="762000"/>
              <a:ext cx="1692000" cy="165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90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200" b="1" smtClean="0">
                  <a:solidFill>
                    <a:srgbClr val="333333"/>
                  </a:solidFill>
                </a:rPr>
                <a:t>Colour Guidelines</a:t>
              </a:r>
              <a:endParaRPr lang="en-GB" altLang="en-US" sz="1200" b="1">
                <a:solidFill>
                  <a:srgbClr val="333333"/>
                </a:solidFill>
              </a:endParaRPr>
            </a:p>
          </p:txBody>
        </p:sp>
        <p:sp>
          <p:nvSpPr>
            <p:cNvPr id="21" name="Rectangle 107"/>
            <p:cNvSpPr>
              <a:spLocks noChangeArrowheads="1"/>
            </p:cNvSpPr>
            <p:nvPr/>
          </p:nvSpPr>
          <p:spPr bwMode="gray">
            <a:xfrm>
              <a:off x="-2449513" y="2962277"/>
              <a:ext cx="215900" cy="215900"/>
            </a:xfrm>
            <a:prstGeom prst="rect">
              <a:avLst/>
            </a:prstGeom>
            <a:solidFill>
              <a:srgbClr val="AB006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22" name="Rectangle 108"/>
            <p:cNvSpPr>
              <a:spLocks noChangeArrowheads="1"/>
            </p:cNvSpPr>
            <p:nvPr/>
          </p:nvSpPr>
          <p:spPr bwMode="gray">
            <a:xfrm>
              <a:off x="-2159000" y="29876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Fuchsia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71, 0, 102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23" name="Rectangle 109"/>
            <p:cNvSpPr>
              <a:spLocks noChangeArrowheads="1"/>
            </p:cNvSpPr>
            <p:nvPr/>
          </p:nvSpPr>
          <p:spPr bwMode="gray">
            <a:xfrm>
              <a:off x="-2449513" y="3449639"/>
              <a:ext cx="215900" cy="215900"/>
            </a:xfrm>
            <a:prstGeom prst="rect">
              <a:avLst/>
            </a:prstGeom>
            <a:solidFill>
              <a:srgbClr val="D0D93C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24" name="Rectangle 110"/>
            <p:cNvSpPr>
              <a:spLocks noChangeArrowheads="1"/>
            </p:cNvSpPr>
            <p:nvPr/>
          </p:nvSpPr>
          <p:spPr bwMode="gray">
            <a:xfrm>
              <a:off x="-2159000" y="3459164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m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08, 217, 6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25" name="Rectangle 111"/>
            <p:cNvSpPr>
              <a:spLocks noChangeArrowheads="1"/>
            </p:cNvSpPr>
            <p:nvPr/>
          </p:nvSpPr>
          <p:spPr bwMode="gray">
            <a:xfrm>
              <a:off x="-2449513" y="3917952"/>
              <a:ext cx="215900" cy="215900"/>
            </a:xfrm>
            <a:prstGeom prst="rect">
              <a:avLst/>
            </a:prstGeom>
            <a:solidFill>
              <a:srgbClr val="01964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26" name="Rectangle 112"/>
            <p:cNvSpPr>
              <a:spLocks noChangeArrowheads="1"/>
            </p:cNvSpPr>
            <p:nvPr/>
          </p:nvSpPr>
          <p:spPr bwMode="gray">
            <a:xfrm>
              <a:off x="-2159000" y="39274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eaf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2, 150, 8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27" name="Rectangle 109"/>
            <p:cNvSpPr>
              <a:spLocks noChangeArrowheads="1"/>
            </p:cNvSpPr>
            <p:nvPr/>
          </p:nvSpPr>
          <p:spPr bwMode="gray">
            <a:xfrm>
              <a:off x="-2449513" y="4405314"/>
              <a:ext cx="215900" cy="215900"/>
            </a:xfrm>
            <a:prstGeom prst="rect">
              <a:avLst/>
            </a:prstGeom>
            <a:solidFill>
              <a:srgbClr val="76767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28" name="Rectangle 110"/>
            <p:cNvSpPr>
              <a:spLocks noChangeArrowheads="1"/>
            </p:cNvSpPr>
            <p:nvPr/>
          </p:nvSpPr>
          <p:spPr bwMode="gray">
            <a:xfrm>
              <a:off x="-2159000" y="4414839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Mid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18, 118, 1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29" name="Rectangle 111"/>
            <p:cNvSpPr>
              <a:spLocks noChangeArrowheads="1"/>
            </p:cNvSpPr>
            <p:nvPr/>
          </p:nvSpPr>
          <p:spPr bwMode="gray">
            <a:xfrm>
              <a:off x="-2449513" y="4873627"/>
              <a:ext cx="215900" cy="215900"/>
            </a:xfrm>
            <a:prstGeom prst="rect">
              <a:avLst/>
            </a:prstGeom>
            <a:solidFill>
              <a:srgbClr val="333333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30" name="Rectangle 112"/>
            <p:cNvSpPr>
              <a:spLocks noChangeArrowheads="1"/>
            </p:cNvSpPr>
            <p:nvPr/>
          </p:nvSpPr>
          <p:spPr bwMode="gray">
            <a:xfrm>
              <a:off x="-2159000" y="4883152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Text Colour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1, 51, 5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</p:grpSp>
      <p:pic>
        <p:nvPicPr>
          <p:cNvPr id="31" name="Picture 30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466554" y="4402733"/>
            <a:ext cx="125761" cy="138908"/>
          </a:xfrm>
          <a:prstGeom prst="rect">
            <a:avLst/>
          </a:prstGeom>
        </p:spPr>
      </p:pic>
      <p:pic>
        <p:nvPicPr>
          <p:cNvPr id="40" name="Picture 39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12789" y="6358070"/>
            <a:ext cx="961391" cy="2946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619484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Header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Picture Placeholder 37"/>
          <p:cNvSpPr>
            <a:spLocks noGrp="1"/>
          </p:cNvSpPr>
          <p:nvPr>
            <p:ph type="pic" sz="quarter" idx="16"/>
          </p:nvPr>
        </p:nvSpPr>
        <p:spPr bwMode="gray">
          <a:xfrm>
            <a:off x="566241" y="1696718"/>
            <a:ext cx="9099675" cy="4504080"/>
          </a:xfrm>
          <a:custGeom>
            <a:avLst/>
            <a:gdLst>
              <a:gd name="connsiteX0" fmla="*/ 95997 w 11199600"/>
              <a:gd name="connsiteY0" fmla="*/ 0 h 4504080"/>
              <a:gd name="connsiteX1" fmla="*/ 11103603 w 11199600"/>
              <a:gd name="connsiteY1" fmla="*/ 0 h 4504080"/>
              <a:gd name="connsiteX2" fmla="*/ 11199600 w 11199600"/>
              <a:gd name="connsiteY2" fmla="*/ 96110 h 4504080"/>
              <a:gd name="connsiteX3" fmla="*/ 11199600 w 11199600"/>
              <a:gd name="connsiteY3" fmla="*/ 335165 h 4504080"/>
              <a:gd name="connsiteX4" fmla="*/ 11199600 w 11199600"/>
              <a:gd name="connsiteY4" fmla="*/ 370350 h 4504080"/>
              <a:gd name="connsiteX5" fmla="*/ 11199600 w 11199600"/>
              <a:gd name="connsiteY5" fmla="*/ 379204 h 4504080"/>
              <a:gd name="connsiteX6" fmla="*/ 11199600 w 11199600"/>
              <a:gd name="connsiteY6" fmla="*/ 400048 h 4504080"/>
              <a:gd name="connsiteX7" fmla="*/ 11199600 w 11199600"/>
              <a:gd name="connsiteY7" fmla="*/ 400232 h 4504080"/>
              <a:gd name="connsiteX8" fmla="*/ 11199600 w 11199600"/>
              <a:gd name="connsiteY8" fmla="*/ 471202 h 4504080"/>
              <a:gd name="connsiteX9" fmla="*/ 11199600 w 11199600"/>
              <a:gd name="connsiteY9" fmla="*/ 475721 h 4504080"/>
              <a:gd name="connsiteX10" fmla="*/ 11199600 w 11199600"/>
              <a:gd name="connsiteY10" fmla="*/ 508692 h 4504080"/>
              <a:gd name="connsiteX11" fmla="*/ 11199600 w 11199600"/>
              <a:gd name="connsiteY11" fmla="*/ 554484 h 4504080"/>
              <a:gd name="connsiteX12" fmla="*/ 11199600 w 11199600"/>
              <a:gd name="connsiteY12" fmla="*/ 563015 h 4504080"/>
              <a:gd name="connsiteX13" fmla="*/ 11199600 w 11199600"/>
              <a:gd name="connsiteY13" fmla="*/ 609405 h 4504080"/>
              <a:gd name="connsiteX14" fmla="*/ 11199600 w 11199600"/>
              <a:gd name="connsiteY14" fmla="*/ 662759 h 4504080"/>
              <a:gd name="connsiteX15" fmla="*/ 11199600 w 11199600"/>
              <a:gd name="connsiteY15" fmla="*/ 674288 h 4504080"/>
              <a:gd name="connsiteX16" fmla="*/ 11199600 w 11199600"/>
              <a:gd name="connsiteY16" fmla="*/ 749961 h 4504080"/>
              <a:gd name="connsiteX17" fmla="*/ 11199600 w 11199600"/>
              <a:gd name="connsiteY17" fmla="*/ 775785 h 4504080"/>
              <a:gd name="connsiteX18" fmla="*/ 11199600 w 11199600"/>
              <a:gd name="connsiteY18" fmla="*/ 837255 h 4504080"/>
              <a:gd name="connsiteX19" fmla="*/ 11199600 w 11199600"/>
              <a:gd name="connsiteY19" fmla="*/ 902921 h 4504080"/>
              <a:gd name="connsiteX20" fmla="*/ 11199600 w 11199600"/>
              <a:gd name="connsiteY20" fmla="*/ 936999 h 4504080"/>
              <a:gd name="connsiteX21" fmla="*/ 11199600 w 11199600"/>
              <a:gd name="connsiteY21" fmla="*/ 1044999 h 4504080"/>
              <a:gd name="connsiteX22" fmla="*/ 11199600 w 11199600"/>
              <a:gd name="connsiteY22" fmla="*/ 1050025 h 4504080"/>
              <a:gd name="connsiteX23" fmla="*/ 11199600 w 11199600"/>
              <a:gd name="connsiteY23" fmla="*/ 1177161 h 4504080"/>
              <a:gd name="connsiteX24" fmla="*/ 11199600 w 11199600"/>
              <a:gd name="connsiteY24" fmla="*/ 1202847 h 4504080"/>
              <a:gd name="connsiteX25" fmla="*/ 11199600 w 11199600"/>
              <a:gd name="connsiteY25" fmla="*/ 1319239 h 4504080"/>
              <a:gd name="connsiteX26" fmla="*/ 11199600 w 11199600"/>
              <a:gd name="connsiteY26" fmla="*/ 1377296 h 4504080"/>
              <a:gd name="connsiteX27" fmla="*/ 11199600 w 11199600"/>
              <a:gd name="connsiteY27" fmla="*/ 1477087 h 4504080"/>
              <a:gd name="connsiteX28" fmla="*/ 11199600 w 11199600"/>
              <a:gd name="connsiteY28" fmla="*/ 1569177 h 4504080"/>
              <a:gd name="connsiteX29" fmla="*/ 11199600 w 11199600"/>
              <a:gd name="connsiteY29" fmla="*/ 1626118 h 4504080"/>
              <a:gd name="connsiteX30" fmla="*/ 11199600 w 11199600"/>
              <a:gd name="connsiteY30" fmla="*/ 1651536 h 4504080"/>
              <a:gd name="connsiteX31" fmla="*/ 11199600 w 11199600"/>
              <a:gd name="connsiteY31" fmla="*/ 1762133 h 4504080"/>
              <a:gd name="connsiteX32" fmla="*/ 11199600 w 11199600"/>
              <a:gd name="connsiteY32" fmla="*/ 1779318 h 4504080"/>
              <a:gd name="connsiteX33" fmla="*/ 11199600 w 11199600"/>
              <a:gd name="connsiteY33" fmla="*/ 1787219 h 4504080"/>
              <a:gd name="connsiteX34" fmla="*/ 11199600 w 11199600"/>
              <a:gd name="connsiteY34" fmla="*/ 1843417 h 4504080"/>
              <a:gd name="connsiteX35" fmla="*/ 11199600 w 11199600"/>
              <a:gd name="connsiteY35" fmla="*/ 1984894 h 4504080"/>
              <a:gd name="connsiteX36" fmla="*/ 11199600 w 11199600"/>
              <a:gd name="connsiteY36" fmla="*/ 2032038 h 4504080"/>
              <a:gd name="connsiteX37" fmla="*/ 11199600 w 11199600"/>
              <a:gd name="connsiteY37" fmla="*/ 2036373 h 4504080"/>
              <a:gd name="connsiteX38" fmla="*/ 11199600 w 11199600"/>
              <a:gd name="connsiteY38" fmla="*/ 2306279 h 4504080"/>
              <a:gd name="connsiteX39" fmla="*/ 11199600 w 11199600"/>
              <a:gd name="connsiteY39" fmla="*/ 2323525 h 4504080"/>
              <a:gd name="connsiteX40" fmla="*/ 11199600 w 11199600"/>
              <a:gd name="connsiteY40" fmla="*/ 2597765 h 4504080"/>
              <a:gd name="connsiteX41" fmla="*/ 11199600 w 11199600"/>
              <a:gd name="connsiteY41" fmla="*/ 2637423 h 4504080"/>
              <a:gd name="connsiteX42" fmla="*/ 11199600 w 11199600"/>
              <a:gd name="connsiteY42" fmla="*/ 2911664 h 4504080"/>
              <a:gd name="connsiteX43" fmla="*/ 11199600 w 11199600"/>
              <a:gd name="connsiteY43" fmla="*/ 2974563 h 4504080"/>
              <a:gd name="connsiteX44" fmla="*/ 11199600 w 11199600"/>
              <a:gd name="connsiteY44" fmla="*/ 3248803 h 4504080"/>
              <a:gd name="connsiteX45" fmla="*/ 11199600 w 11199600"/>
              <a:gd name="connsiteY45" fmla="*/ 3335774 h 4504080"/>
              <a:gd name="connsiteX46" fmla="*/ 11199600 w 11199600"/>
              <a:gd name="connsiteY46" fmla="*/ 3610014 h 4504080"/>
              <a:gd name="connsiteX47" fmla="*/ 11199600 w 11199600"/>
              <a:gd name="connsiteY47" fmla="*/ 3721887 h 4504080"/>
              <a:gd name="connsiteX48" fmla="*/ 11199600 w 11199600"/>
              <a:gd name="connsiteY48" fmla="*/ 3996127 h 4504080"/>
              <a:gd name="connsiteX49" fmla="*/ 11199600 w 11199600"/>
              <a:gd name="connsiteY49" fmla="*/ 4133731 h 4504080"/>
              <a:gd name="connsiteX50" fmla="*/ 11199600 w 11199600"/>
              <a:gd name="connsiteY50" fmla="*/ 4407971 h 4504080"/>
              <a:gd name="connsiteX51" fmla="*/ 11118603 w 11199600"/>
              <a:gd name="connsiteY51" fmla="*/ 4502580 h 4504080"/>
              <a:gd name="connsiteX52" fmla="*/ 11103613 w 11199600"/>
              <a:gd name="connsiteY52" fmla="*/ 4504080 h 4504080"/>
              <a:gd name="connsiteX53" fmla="*/ 95989 w 11199600"/>
              <a:gd name="connsiteY53" fmla="*/ 4504080 h 4504080"/>
              <a:gd name="connsiteX54" fmla="*/ 64311 w 11199600"/>
              <a:gd name="connsiteY54" fmla="*/ 4499952 h 4504080"/>
              <a:gd name="connsiteX55" fmla="*/ 0 w 11199600"/>
              <a:gd name="connsiteY55" fmla="*/ 4407971 h 4504080"/>
              <a:gd name="connsiteX56" fmla="*/ 0 w 11199600"/>
              <a:gd name="connsiteY56" fmla="*/ 4404236 h 4504080"/>
              <a:gd name="connsiteX57" fmla="*/ 0 w 11199600"/>
              <a:gd name="connsiteY57" fmla="*/ 4395365 h 4504080"/>
              <a:gd name="connsiteX58" fmla="*/ 0 w 11199600"/>
              <a:gd name="connsiteY58" fmla="*/ 4378089 h 4504080"/>
              <a:gd name="connsiteX59" fmla="*/ 0 w 11199600"/>
              <a:gd name="connsiteY59" fmla="*/ 4349608 h 4504080"/>
              <a:gd name="connsiteX60" fmla="*/ 0 w 11199600"/>
              <a:gd name="connsiteY60" fmla="*/ 4307120 h 4504080"/>
              <a:gd name="connsiteX61" fmla="*/ 0 w 11199600"/>
              <a:gd name="connsiteY61" fmla="*/ 4247823 h 4504080"/>
              <a:gd name="connsiteX62" fmla="*/ 0 w 11199600"/>
              <a:gd name="connsiteY62" fmla="*/ 4168916 h 4504080"/>
              <a:gd name="connsiteX63" fmla="*/ 0 w 11199600"/>
              <a:gd name="connsiteY63" fmla="*/ 4133731 h 4504080"/>
              <a:gd name="connsiteX64" fmla="*/ 0 w 11199600"/>
              <a:gd name="connsiteY64" fmla="*/ 4132625 h 4504080"/>
              <a:gd name="connsiteX65" fmla="*/ 0 w 11199600"/>
              <a:gd name="connsiteY65" fmla="*/ 4124877 h 4504080"/>
              <a:gd name="connsiteX66" fmla="*/ 0 w 11199600"/>
              <a:gd name="connsiteY66" fmla="*/ 4104034 h 4504080"/>
              <a:gd name="connsiteX67" fmla="*/ 0 w 11199600"/>
              <a:gd name="connsiteY67" fmla="*/ 4103849 h 4504080"/>
              <a:gd name="connsiteX68" fmla="*/ 0 w 11199600"/>
              <a:gd name="connsiteY68" fmla="*/ 4062900 h 4504080"/>
              <a:gd name="connsiteX69" fmla="*/ 0 w 11199600"/>
              <a:gd name="connsiteY69" fmla="*/ 4032880 h 4504080"/>
              <a:gd name="connsiteX70" fmla="*/ 0 w 11199600"/>
              <a:gd name="connsiteY70" fmla="*/ 4028361 h 4504080"/>
              <a:gd name="connsiteX71" fmla="*/ 0 w 11199600"/>
              <a:gd name="connsiteY71" fmla="*/ 3995389 h 4504080"/>
              <a:gd name="connsiteX72" fmla="*/ 0 w 11199600"/>
              <a:gd name="connsiteY72" fmla="*/ 3949598 h 4504080"/>
              <a:gd name="connsiteX73" fmla="*/ 0 w 11199600"/>
              <a:gd name="connsiteY73" fmla="*/ 3941067 h 4504080"/>
              <a:gd name="connsiteX74" fmla="*/ 0 w 11199600"/>
              <a:gd name="connsiteY74" fmla="*/ 3894676 h 4504080"/>
              <a:gd name="connsiteX75" fmla="*/ 0 w 11199600"/>
              <a:gd name="connsiteY75" fmla="*/ 3841322 h 4504080"/>
              <a:gd name="connsiteX76" fmla="*/ 0 w 11199600"/>
              <a:gd name="connsiteY76" fmla="*/ 3829794 h 4504080"/>
              <a:gd name="connsiteX77" fmla="*/ 0 w 11199600"/>
              <a:gd name="connsiteY77" fmla="*/ 3754121 h 4504080"/>
              <a:gd name="connsiteX78" fmla="*/ 0 w 11199600"/>
              <a:gd name="connsiteY78" fmla="*/ 3728297 h 4504080"/>
              <a:gd name="connsiteX79" fmla="*/ 0 w 11199600"/>
              <a:gd name="connsiteY79" fmla="*/ 3666827 h 4504080"/>
              <a:gd name="connsiteX80" fmla="*/ 0 w 11199600"/>
              <a:gd name="connsiteY80" fmla="*/ 3601160 h 4504080"/>
              <a:gd name="connsiteX81" fmla="*/ 0 w 11199600"/>
              <a:gd name="connsiteY81" fmla="*/ 3567082 h 4504080"/>
              <a:gd name="connsiteX82" fmla="*/ 0 w 11199600"/>
              <a:gd name="connsiteY82" fmla="*/ 3459083 h 4504080"/>
              <a:gd name="connsiteX83" fmla="*/ 0 w 11199600"/>
              <a:gd name="connsiteY83" fmla="*/ 3454057 h 4504080"/>
              <a:gd name="connsiteX84" fmla="*/ 0 w 11199600"/>
              <a:gd name="connsiteY84" fmla="*/ 3326920 h 4504080"/>
              <a:gd name="connsiteX85" fmla="*/ 0 w 11199600"/>
              <a:gd name="connsiteY85" fmla="*/ 3301235 h 4504080"/>
              <a:gd name="connsiteX86" fmla="*/ 0 w 11199600"/>
              <a:gd name="connsiteY86" fmla="*/ 3184843 h 4504080"/>
              <a:gd name="connsiteX87" fmla="*/ 0 w 11199600"/>
              <a:gd name="connsiteY87" fmla="*/ 3126785 h 4504080"/>
              <a:gd name="connsiteX88" fmla="*/ 0 w 11199600"/>
              <a:gd name="connsiteY88" fmla="*/ 3026995 h 4504080"/>
              <a:gd name="connsiteX89" fmla="*/ 0 w 11199600"/>
              <a:gd name="connsiteY89" fmla="*/ 2934905 h 4504080"/>
              <a:gd name="connsiteX90" fmla="*/ 0 w 11199600"/>
              <a:gd name="connsiteY90" fmla="*/ 2852545 h 4504080"/>
              <a:gd name="connsiteX91" fmla="*/ 0 w 11199600"/>
              <a:gd name="connsiteY91" fmla="*/ 2724763 h 4504080"/>
              <a:gd name="connsiteX92" fmla="*/ 0 w 11199600"/>
              <a:gd name="connsiteY92" fmla="*/ 2660665 h 4504080"/>
              <a:gd name="connsiteX93" fmla="*/ 0 w 11199600"/>
              <a:gd name="connsiteY93" fmla="*/ 2495530 h 4504080"/>
              <a:gd name="connsiteX94" fmla="*/ 0 w 11199600"/>
              <a:gd name="connsiteY94" fmla="*/ 2450523 h 4504080"/>
              <a:gd name="connsiteX95" fmla="*/ 0 w 11199600"/>
              <a:gd name="connsiteY95" fmla="*/ 2246376 h 4504080"/>
              <a:gd name="connsiteX96" fmla="*/ 0 w 11199600"/>
              <a:gd name="connsiteY96" fmla="*/ 2221290 h 4504080"/>
              <a:gd name="connsiteX97" fmla="*/ 0 w 11199600"/>
              <a:gd name="connsiteY97" fmla="*/ 1984894 h 4504080"/>
              <a:gd name="connsiteX98" fmla="*/ 0 w 11199600"/>
              <a:gd name="connsiteY98" fmla="*/ 1976471 h 4504080"/>
              <a:gd name="connsiteX99" fmla="*/ 0 w 11199600"/>
              <a:gd name="connsiteY99" fmla="*/ 1972136 h 4504080"/>
              <a:gd name="connsiteX100" fmla="*/ 0 w 11199600"/>
              <a:gd name="connsiteY100" fmla="*/ 1906316 h 4504080"/>
              <a:gd name="connsiteX101" fmla="*/ 0 w 11199600"/>
              <a:gd name="connsiteY101" fmla="*/ 1866658 h 4504080"/>
              <a:gd name="connsiteX102" fmla="*/ 0 w 11199600"/>
              <a:gd name="connsiteY102" fmla="*/ 1702231 h 4504080"/>
              <a:gd name="connsiteX103" fmla="*/ 0 w 11199600"/>
              <a:gd name="connsiteY103" fmla="*/ 1684984 h 4504080"/>
              <a:gd name="connsiteX104" fmla="*/ 0 w 11199600"/>
              <a:gd name="connsiteY104" fmla="*/ 1626118 h 4504080"/>
              <a:gd name="connsiteX105" fmla="*/ 0 w 11199600"/>
              <a:gd name="connsiteY105" fmla="*/ 1592418 h 4504080"/>
              <a:gd name="connsiteX106" fmla="*/ 0 w 11199600"/>
              <a:gd name="connsiteY106" fmla="*/ 1529519 h 4504080"/>
              <a:gd name="connsiteX107" fmla="*/ 0 w 11199600"/>
              <a:gd name="connsiteY107" fmla="*/ 1255278 h 4504080"/>
              <a:gd name="connsiteX108" fmla="*/ 0 w 11199600"/>
              <a:gd name="connsiteY108" fmla="*/ 1168307 h 4504080"/>
              <a:gd name="connsiteX109" fmla="*/ 0 w 11199600"/>
              <a:gd name="connsiteY109" fmla="*/ 894067 h 4504080"/>
              <a:gd name="connsiteX110" fmla="*/ 0 w 11199600"/>
              <a:gd name="connsiteY110" fmla="*/ 782195 h 4504080"/>
              <a:gd name="connsiteX111" fmla="*/ 0 w 11199600"/>
              <a:gd name="connsiteY111" fmla="*/ 507955 h 4504080"/>
              <a:gd name="connsiteX112" fmla="*/ 0 w 11199600"/>
              <a:gd name="connsiteY112" fmla="*/ 370350 h 4504080"/>
              <a:gd name="connsiteX113" fmla="*/ 0 w 11199600"/>
              <a:gd name="connsiteY113" fmla="*/ 96110 h 4504080"/>
              <a:gd name="connsiteX114" fmla="*/ 95997 w 11199600"/>
              <a:gd name="connsiteY114" fmla="*/ 0 h 45040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</a:cxnLst>
            <a:rect l="l" t="t" r="r" b="b"/>
            <a:pathLst>
              <a:path w="11199600" h="4504080">
                <a:moveTo>
                  <a:pt x="95997" y="0"/>
                </a:moveTo>
                <a:lnTo>
                  <a:pt x="11103603" y="0"/>
                </a:lnTo>
                <a:cubicBezTo>
                  <a:pt x="11199600" y="0"/>
                  <a:pt x="11199600" y="96110"/>
                  <a:pt x="11199600" y="96110"/>
                </a:cubicBezTo>
                <a:cubicBezTo>
                  <a:pt x="11199600" y="96110"/>
                  <a:pt x="11199600" y="96110"/>
                  <a:pt x="11199600" y="335165"/>
                </a:cubicBezTo>
                <a:lnTo>
                  <a:pt x="11199600" y="370350"/>
                </a:lnTo>
                <a:cubicBezTo>
                  <a:pt x="11199600" y="370350"/>
                  <a:pt x="11199600" y="370350"/>
                  <a:pt x="11199600" y="379204"/>
                </a:cubicBezTo>
                <a:lnTo>
                  <a:pt x="11199600" y="400048"/>
                </a:lnTo>
                <a:lnTo>
                  <a:pt x="11199600" y="400232"/>
                </a:lnTo>
                <a:cubicBezTo>
                  <a:pt x="11199600" y="415173"/>
                  <a:pt x="11199600" y="437585"/>
                  <a:pt x="11199600" y="471202"/>
                </a:cubicBezTo>
                <a:lnTo>
                  <a:pt x="11199600" y="475721"/>
                </a:lnTo>
                <a:lnTo>
                  <a:pt x="11199600" y="508692"/>
                </a:lnTo>
                <a:cubicBezTo>
                  <a:pt x="11199600" y="522527"/>
                  <a:pt x="11199600" y="537744"/>
                  <a:pt x="11199600" y="554484"/>
                </a:cubicBezTo>
                <a:lnTo>
                  <a:pt x="11199600" y="563015"/>
                </a:lnTo>
                <a:lnTo>
                  <a:pt x="11199600" y="609405"/>
                </a:lnTo>
                <a:lnTo>
                  <a:pt x="11199600" y="662759"/>
                </a:lnTo>
                <a:lnTo>
                  <a:pt x="11199600" y="674288"/>
                </a:lnTo>
                <a:cubicBezTo>
                  <a:pt x="11199600" y="697668"/>
                  <a:pt x="11199600" y="722846"/>
                  <a:pt x="11199600" y="749961"/>
                </a:cubicBezTo>
                <a:lnTo>
                  <a:pt x="11199600" y="775785"/>
                </a:lnTo>
                <a:lnTo>
                  <a:pt x="11199600" y="837255"/>
                </a:lnTo>
                <a:lnTo>
                  <a:pt x="11199600" y="902921"/>
                </a:lnTo>
                <a:lnTo>
                  <a:pt x="11199600" y="936999"/>
                </a:lnTo>
                <a:lnTo>
                  <a:pt x="11199600" y="1044999"/>
                </a:lnTo>
                <a:lnTo>
                  <a:pt x="11199600" y="1050025"/>
                </a:lnTo>
                <a:cubicBezTo>
                  <a:pt x="11199600" y="1090006"/>
                  <a:pt x="11199600" y="1132338"/>
                  <a:pt x="11199600" y="1177161"/>
                </a:cubicBezTo>
                <a:lnTo>
                  <a:pt x="11199600" y="1202847"/>
                </a:lnTo>
                <a:lnTo>
                  <a:pt x="11199600" y="1319239"/>
                </a:lnTo>
                <a:lnTo>
                  <a:pt x="11199600" y="1377296"/>
                </a:lnTo>
                <a:lnTo>
                  <a:pt x="11199600" y="1477087"/>
                </a:lnTo>
                <a:lnTo>
                  <a:pt x="11199600" y="1569177"/>
                </a:lnTo>
                <a:lnTo>
                  <a:pt x="11199600" y="1626118"/>
                </a:lnTo>
                <a:lnTo>
                  <a:pt x="11199600" y="1651536"/>
                </a:lnTo>
                <a:lnTo>
                  <a:pt x="11199600" y="1762133"/>
                </a:lnTo>
                <a:lnTo>
                  <a:pt x="11199600" y="1779318"/>
                </a:lnTo>
                <a:lnTo>
                  <a:pt x="11199600" y="1787219"/>
                </a:lnTo>
                <a:lnTo>
                  <a:pt x="11199600" y="1843417"/>
                </a:lnTo>
                <a:lnTo>
                  <a:pt x="11199600" y="1984894"/>
                </a:lnTo>
                <a:lnTo>
                  <a:pt x="11199600" y="2032038"/>
                </a:lnTo>
                <a:lnTo>
                  <a:pt x="11199600" y="2036373"/>
                </a:lnTo>
                <a:cubicBezTo>
                  <a:pt x="11199600" y="2122837"/>
                  <a:pt x="11199600" y="2212759"/>
                  <a:pt x="11199600" y="2306279"/>
                </a:cubicBezTo>
                <a:lnTo>
                  <a:pt x="11199600" y="2323525"/>
                </a:lnTo>
                <a:lnTo>
                  <a:pt x="11199600" y="2597765"/>
                </a:lnTo>
                <a:lnTo>
                  <a:pt x="11199600" y="2637423"/>
                </a:lnTo>
                <a:lnTo>
                  <a:pt x="11199600" y="2911664"/>
                </a:lnTo>
                <a:lnTo>
                  <a:pt x="11199600" y="2974563"/>
                </a:lnTo>
                <a:lnTo>
                  <a:pt x="11199600" y="3248803"/>
                </a:lnTo>
                <a:lnTo>
                  <a:pt x="11199600" y="3335774"/>
                </a:lnTo>
                <a:lnTo>
                  <a:pt x="11199600" y="3610014"/>
                </a:lnTo>
                <a:lnTo>
                  <a:pt x="11199600" y="3721887"/>
                </a:lnTo>
                <a:lnTo>
                  <a:pt x="11199600" y="3996127"/>
                </a:lnTo>
                <a:lnTo>
                  <a:pt x="11199600" y="4133731"/>
                </a:lnTo>
                <a:lnTo>
                  <a:pt x="11199600" y="4407971"/>
                </a:lnTo>
                <a:cubicBezTo>
                  <a:pt x="11199600" y="4480054"/>
                  <a:pt x="11145602" y="4498074"/>
                  <a:pt x="11118603" y="4502580"/>
                </a:cubicBezTo>
                <a:lnTo>
                  <a:pt x="11103613" y="4504080"/>
                </a:lnTo>
                <a:lnTo>
                  <a:pt x="95989" y="4504080"/>
                </a:lnTo>
                <a:lnTo>
                  <a:pt x="64311" y="4499952"/>
                </a:lnTo>
                <a:cubicBezTo>
                  <a:pt x="0" y="4481555"/>
                  <a:pt x="0" y="4407971"/>
                  <a:pt x="0" y="4407971"/>
                </a:cubicBezTo>
                <a:lnTo>
                  <a:pt x="0" y="4404236"/>
                </a:lnTo>
                <a:lnTo>
                  <a:pt x="0" y="4395365"/>
                </a:lnTo>
                <a:lnTo>
                  <a:pt x="0" y="4378089"/>
                </a:lnTo>
                <a:lnTo>
                  <a:pt x="0" y="4349608"/>
                </a:lnTo>
                <a:lnTo>
                  <a:pt x="0" y="4307120"/>
                </a:lnTo>
                <a:lnTo>
                  <a:pt x="0" y="4247823"/>
                </a:lnTo>
                <a:lnTo>
                  <a:pt x="0" y="4168916"/>
                </a:lnTo>
                <a:lnTo>
                  <a:pt x="0" y="4133731"/>
                </a:lnTo>
                <a:lnTo>
                  <a:pt x="0" y="4132625"/>
                </a:lnTo>
                <a:lnTo>
                  <a:pt x="0" y="4124877"/>
                </a:lnTo>
                <a:lnTo>
                  <a:pt x="0" y="4104034"/>
                </a:lnTo>
                <a:lnTo>
                  <a:pt x="0" y="4103849"/>
                </a:lnTo>
                <a:lnTo>
                  <a:pt x="0" y="4062900"/>
                </a:lnTo>
                <a:lnTo>
                  <a:pt x="0" y="4032880"/>
                </a:lnTo>
                <a:lnTo>
                  <a:pt x="0" y="4028361"/>
                </a:lnTo>
                <a:lnTo>
                  <a:pt x="0" y="3995389"/>
                </a:lnTo>
                <a:lnTo>
                  <a:pt x="0" y="3949598"/>
                </a:lnTo>
                <a:lnTo>
                  <a:pt x="0" y="3941067"/>
                </a:lnTo>
                <a:lnTo>
                  <a:pt x="0" y="3894676"/>
                </a:lnTo>
                <a:lnTo>
                  <a:pt x="0" y="3841322"/>
                </a:lnTo>
                <a:lnTo>
                  <a:pt x="0" y="3829794"/>
                </a:lnTo>
                <a:lnTo>
                  <a:pt x="0" y="3754121"/>
                </a:lnTo>
                <a:lnTo>
                  <a:pt x="0" y="3728297"/>
                </a:lnTo>
                <a:lnTo>
                  <a:pt x="0" y="3666827"/>
                </a:lnTo>
                <a:lnTo>
                  <a:pt x="0" y="3601160"/>
                </a:lnTo>
                <a:lnTo>
                  <a:pt x="0" y="3567082"/>
                </a:lnTo>
                <a:lnTo>
                  <a:pt x="0" y="3459083"/>
                </a:lnTo>
                <a:lnTo>
                  <a:pt x="0" y="3454057"/>
                </a:lnTo>
                <a:lnTo>
                  <a:pt x="0" y="3326920"/>
                </a:lnTo>
                <a:lnTo>
                  <a:pt x="0" y="3301235"/>
                </a:lnTo>
                <a:lnTo>
                  <a:pt x="0" y="3184843"/>
                </a:lnTo>
                <a:lnTo>
                  <a:pt x="0" y="3126785"/>
                </a:lnTo>
                <a:lnTo>
                  <a:pt x="0" y="3026995"/>
                </a:lnTo>
                <a:lnTo>
                  <a:pt x="0" y="2934905"/>
                </a:lnTo>
                <a:lnTo>
                  <a:pt x="0" y="2852545"/>
                </a:lnTo>
                <a:lnTo>
                  <a:pt x="0" y="2724763"/>
                </a:lnTo>
                <a:lnTo>
                  <a:pt x="0" y="2660665"/>
                </a:lnTo>
                <a:lnTo>
                  <a:pt x="0" y="2495530"/>
                </a:lnTo>
                <a:lnTo>
                  <a:pt x="0" y="2450523"/>
                </a:lnTo>
                <a:lnTo>
                  <a:pt x="0" y="2246376"/>
                </a:lnTo>
                <a:lnTo>
                  <a:pt x="0" y="2221290"/>
                </a:lnTo>
                <a:lnTo>
                  <a:pt x="0" y="1984894"/>
                </a:lnTo>
                <a:lnTo>
                  <a:pt x="0" y="1976471"/>
                </a:lnTo>
                <a:lnTo>
                  <a:pt x="0" y="1972136"/>
                </a:lnTo>
                <a:lnTo>
                  <a:pt x="0" y="1906316"/>
                </a:lnTo>
                <a:lnTo>
                  <a:pt x="0" y="1866658"/>
                </a:lnTo>
                <a:lnTo>
                  <a:pt x="0" y="1702231"/>
                </a:lnTo>
                <a:lnTo>
                  <a:pt x="0" y="1684984"/>
                </a:lnTo>
                <a:lnTo>
                  <a:pt x="0" y="1626118"/>
                </a:lnTo>
                <a:lnTo>
                  <a:pt x="0" y="1592418"/>
                </a:lnTo>
                <a:lnTo>
                  <a:pt x="0" y="1529519"/>
                </a:lnTo>
                <a:lnTo>
                  <a:pt x="0" y="1255278"/>
                </a:lnTo>
                <a:lnTo>
                  <a:pt x="0" y="1168307"/>
                </a:lnTo>
                <a:lnTo>
                  <a:pt x="0" y="894067"/>
                </a:lnTo>
                <a:lnTo>
                  <a:pt x="0" y="782195"/>
                </a:lnTo>
                <a:lnTo>
                  <a:pt x="0" y="507955"/>
                </a:lnTo>
                <a:lnTo>
                  <a:pt x="0" y="370350"/>
                </a:lnTo>
                <a:lnTo>
                  <a:pt x="0" y="96110"/>
                </a:lnTo>
                <a:cubicBezTo>
                  <a:pt x="0" y="0"/>
                  <a:pt x="95997" y="0"/>
                  <a:pt x="95997" y="0"/>
                </a:cubicBezTo>
                <a:close/>
              </a:path>
            </a:pathLst>
          </a:custGeom>
          <a:solidFill>
            <a:schemeClr val="bg1">
              <a:lumMod val="95000"/>
              <a:alpha val="10000"/>
            </a:schemeClr>
          </a:solidFill>
        </p:spPr>
        <p:txBody>
          <a:bodyPr wrap="square" lIns="3240000" tIns="36000" rIns="36000" bIns="36000" anchor="ctr" anchorCtr="0">
            <a:noAutofit/>
          </a:bodyPr>
          <a:lstStyle>
            <a:lvl1pPr algn="ctr">
              <a:defRPr sz="1400" b="0"/>
            </a:lvl1pPr>
          </a:lstStyle>
          <a:p>
            <a:r>
              <a:rPr lang="nl-NL" smtClean="0"/>
              <a:t>Klik op het pictogram als u een afbeelding wilt toevoegen</a:t>
            </a:r>
            <a:endParaRPr lang="en-GB" dirty="0"/>
          </a:p>
        </p:txBody>
      </p:sp>
      <p:sp>
        <p:nvSpPr>
          <p:cNvPr id="6" name="Title Placeholder 1"/>
          <p:cNvSpPr>
            <a:spLocks noGrp="1"/>
          </p:cNvSpPr>
          <p:nvPr>
            <p:ph type="title" hasCustomPrompt="1"/>
          </p:nvPr>
        </p:nvSpPr>
        <p:spPr bwMode="gray">
          <a:xfrm>
            <a:off x="681037" y="257725"/>
            <a:ext cx="8985697" cy="117981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lnSpc>
                <a:spcPts val="4600"/>
              </a:lnSpc>
              <a:defRPr sz="4600"/>
            </a:lvl1pPr>
          </a:lstStyle>
          <a:p>
            <a:r>
              <a:rPr lang="en-US" noProof="0" smtClean="0"/>
              <a:t>Click to edit </a:t>
            </a:r>
            <a:br>
              <a:rPr lang="en-US" noProof="0" smtClean="0"/>
            </a:br>
            <a:r>
              <a:rPr lang="en-US" noProof="0" smtClean="0"/>
              <a:t>Master title style</a:t>
            </a:r>
            <a:endParaRPr lang="en-GB" noProof="0" dirty="0"/>
          </a:p>
        </p:txBody>
      </p:sp>
      <p:grpSp>
        <p:nvGrpSpPr>
          <p:cNvPr id="8" name="Group 7"/>
          <p:cNvGrpSpPr/>
          <p:nvPr userDrawn="1"/>
        </p:nvGrpSpPr>
        <p:grpSpPr bwMode="gray">
          <a:xfrm>
            <a:off x="-1653580" y="0"/>
            <a:ext cx="1521000" cy="4689612"/>
            <a:chOff x="-2581275" y="595116"/>
            <a:chExt cx="1872000" cy="4689612"/>
          </a:xfrm>
        </p:grpSpPr>
        <p:sp>
          <p:nvSpPr>
            <p:cNvPr id="9" name="Rectangle 104"/>
            <p:cNvSpPr>
              <a:spLocks noChangeArrowheads="1"/>
            </p:cNvSpPr>
            <p:nvPr/>
          </p:nvSpPr>
          <p:spPr bwMode="gray">
            <a:xfrm>
              <a:off x="-2581275" y="4276728"/>
              <a:ext cx="1872000" cy="100800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10" name="Rectangle 104"/>
            <p:cNvSpPr>
              <a:spLocks noChangeArrowheads="1"/>
            </p:cNvSpPr>
            <p:nvPr userDrawn="1"/>
          </p:nvSpPr>
          <p:spPr bwMode="gray">
            <a:xfrm>
              <a:off x="-2581275" y="595116"/>
              <a:ext cx="1872000" cy="3672087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11" name="Rectangle 105"/>
            <p:cNvSpPr>
              <a:spLocks noChangeArrowheads="1"/>
            </p:cNvSpPr>
            <p:nvPr userDrawn="1"/>
          </p:nvSpPr>
          <p:spPr bwMode="gray">
            <a:xfrm>
              <a:off x="-2449513" y="1136650"/>
              <a:ext cx="215900" cy="215900"/>
            </a:xfrm>
            <a:prstGeom prst="rect">
              <a:avLst/>
            </a:prstGeom>
            <a:solidFill>
              <a:srgbClr val="FF6200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12" name="Rectangle 106"/>
            <p:cNvSpPr>
              <a:spLocks noChangeArrowheads="1"/>
            </p:cNvSpPr>
            <p:nvPr userDrawn="1"/>
          </p:nvSpPr>
          <p:spPr bwMode="gray">
            <a:xfrm>
              <a:off x="-2159000" y="1146175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Orang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55, 98, 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13" name="Rectangle 107"/>
            <p:cNvSpPr>
              <a:spLocks noChangeArrowheads="1"/>
            </p:cNvSpPr>
            <p:nvPr userDrawn="1"/>
          </p:nvSpPr>
          <p:spPr bwMode="gray">
            <a:xfrm>
              <a:off x="-2449513" y="1571626"/>
              <a:ext cx="215900" cy="215900"/>
            </a:xfrm>
            <a:prstGeom prst="rect">
              <a:avLst/>
            </a:prstGeom>
            <a:solidFill>
              <a:srgbClr val="A8A8A8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14" name="Rectangle 108"/>
            <p:cNvSpPr>
              <a:spLocks noChangeArrowheads="1"/>
            </p:cNvSpPr>
            <p:nvPr userDrawn="1"/>
          </p:nvSpPr>
          <p:spPr bwMode="gray">
            <a:xfrm>
              <a:off x="-2159000" y="15970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ght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68, 168, 16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15" name="Rectangle 109"/>
            <p:cNvSpPr>
              <a:spLocks noChangeArrowheads="1"/>
            </p:cNvSpPr>
            <p:nvPr userDrawn="1"/>
          </p:nvSpPr>
          <p:spPr bwMode="gray">
            <a:xfrm>
              <a:off x="-2449513" y="2058988"/>
              <a:ext cx="215900" cy="215900"/>
            </a:xfrm>
            <a:prstGeom prst="rect">
              <a:avLst/>
            </a:prstGeom>
            <a:solidFill>
              <a:srgbClr val="52519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16" name="Rectangle 110"/>
            <p:cNvSpPr>
              <a:spLocks noChangeArrowheads="1"/>
            </p:cNvSpPr>
            <p:nvPr userDrawn="1"/>
          </p:nvSpPr>
          <p:spPr bwMode="gray">
            <a:xfrm>
              <a:off x="-2159000" y="2068513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Indigo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82, 81, 153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17" name="Rectangle 111"/>
            <p:cNvSpPr>
              <a:spLocks noChangeArrowheads="1"/>
            </p:cNvSpPr>
            <p:nvPr userDrawn="1"/>
          </p:nvSpPr>
          <p:spPr bwMode="gray">
            <a:xfrm>
              <a:off x="-2449513" y="2527301"/>
              <a:ext cx="215900" cy="215900"/>
            </a:xfrm>
            <a:prstGeom prst="rect">
              <a:avLst/>
            </a:prstGeom>
            <a:solidFill>
              <a:srgbClr val="60A6DA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18" name="Rectangle 112"/>
            <p:cNvSpPr>
              <a:spLocks noChangeArrowheads="1"/>
            </p:cNvSpPr>
            <p:nvPr userDrawn="1"/>
          </p:nvSpPr>
          <p:spPr bwMode="gray">
            <a:xfrm>
              <a:off x="-2159000" y="25368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Sk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96, 166, 2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19" name="Rectangle 113"/>
            <p:cNvSpPr>
              <a:spLocks noChangeArrowheads="1"/>
            </p:cNvSpPr>
            <p:nvPr userDrawn="1"/>
          </p:nvSpPr>
          <p:spPr bwMode="gray">
            <a:xfrm>
              <a:off x="-2449513" y="762000"/>
              <a:ext cx="1692000" cy="165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90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200" b="1" smtClean="0">
                  <a:solidFill>
                    <a:srgbClr val="333333"/>
                  </a:solidFill>
                </a:rPr>
                <a:t>Colour Guidelines</a:t>
              </a:r>
              <a:endParaRPr lang="en-GB" altLang="en-US" sz="1200" b="1">
                <a:solidFill>
                  <a:srgbClr val="333333"/>
                </a:solidFill>
              </a:endParaRPr>
            </a:p>
          </p:txBody>
        </p:sp>
        <p:sp>
          <p:nvSpPr>
            <p:cNvPr id="20" name="Rectangle 107"/>
            <p:cNvSpPr>
              <a:spLocks noChangeArrowheads="1"/>
            </p:cNvSpPr>
            <p:nvPr/>
          </p:nvSpPr>
          <p:spPr bwMode="gray">
            <a:xfrm>
              <a:off x="-2449513" y="2962277"/>
              <a:ext cx="215900" cy="215900"/>
            </a:xfrm>
            <a:prstGeom prst="rect">
              <a:avLst/>
            </a:prstGeom>
            <a:solidFill>
              <a:srgbClr val="AB006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21" name="Rectangle 108"/>
            <p:cNvSpPr>
              <a:spLocks noChangeArrowheads="1"/>
            </p:cNvSpPr>
            <p:nvPr/>
          </p:nvSpPr>
          <p:spPr bwMode="gray">
            <a:xfrm>
              <a:off x="-2159000" y="29876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Fuchsia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71, 0, 102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22" name="Rectangle 109"/>
            <p:cNvSpPr>
              <a:spLocks noChangeArrowheads="1"/>
            </p:cNvSpPr>
            <p:nvPr/>
          </p:nvSpPr>
          <p:spPr bwMode="gray">
            <a:xfrm>
              <a:off x="-2449513" y="3449639"/>
              <a:ext cx="215900" cy="215900"/>
            </a:xfrm>
            <a:prstGeom prst="rect">
              <a:avLst/>
            </a:prstGeom>
            <a:solidFill>
              <a:srgbClr val="D0D93C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23" name="Rectangle 110"/>
            <p:cNvSpPr>
              <a:spLocks noChangeArrowheads="1"/>
            </p:cNvSpPr>
            <p:nvPr/>
          </p:nvSpPr>
          <p:spPr bwMode="gray">
            <a:xfrm>
              <a:off x="-2159000" y="3459164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m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08, 217, 6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24" name="Rectangle 111"/>
            <p:cNvSpPr>
              <a:spLocks noChangeArrowheads="1"/>
            </p:cNvSpPr>
            <p:nvPr/>
          </p:nvSpPr>
          <p:spPr bwMode="gray">
            <a:xfrm>
              <a:off x="-2449513" y="3917952"/>
              <a:ext cx="215900" cy="215900"/>
            </a:xfrm>
            <a:prstGeom prst="rect">
              <a:avLst/>
            </a:prstGeom>
            <a:solidFill>
              <a:srgbClr val="01964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25" name="Rectangle 112"/>
            <p:cNvSpPr>
              <a:spLocks noChangeArrowheads="1"/>
            </p:cNvSpPr>
            <p:nvPr/>
          </p:nvSpPr>
          <p:spPr bwMode="gray">
            <a:xfrm>
              <a:off x="-2159000" y="39274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eaf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2, 150, 8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26" name="Rectangle 109"/>
            <p:cNvSpPr>
              <a:spLocks noChangeArrowheads="1"/>
            </p:cNvSpPr>
            <p:nvPr/>
          </p:nvSpPr>
          <p:spPr bwMode="gray">
            <a:xfrm>
              <a:off x="-2449513" y="4405314"/>
              <a:ext cx="215900" cy="215900"/>
            </a:xfrm>
            <a:prstGeom prst="rect">
              <a:avLst/>
            </a:prstGeom>
            <a:solidFill>
              <a:srgbClr val="76767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27" name="Rectangle 110"/>
            <p:cNvSpPr>
              <a:spLocks noChangeArrowheads="1"/>
            </p:cNvSpPr>
            <p:nvPr/>
          </p:nvSpPr>
          <p:spPr bwMode="gray">
            <a:xfrm>
              <a:off x="-2159000" y="4414839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Mid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18, 118, 1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28" name="Rectangle 111"/>
            <p:cNvSpPr>
              <a:spLocks noChangeArrowheads="1"/>
            </p:cNvSpPr>
            <p:nvPr/>
          </p:nvSpPr>
          <p:spPr bwMode="gray">
            <a:xfrm>
              <a:off x="-2449513" y="4873627"/>
              <a:ext cx="215900" cy="215900"/>
            </a:xfrm>
            <a:prstGeom prst="rect">
              <a:avLst/>
            </a:prstGeom>
            <a:solidFill>
              <a:srgbClr val="333333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29" name="Rectangle 112"/>
            <p:cNvSpPr>
              <a:spLocks noChangeArrowheads="1"/>
            </p:cNvSpPr>
            <p:nvPr/>
          </p:nvSpPr>
          <p:spPr bwMode="gray">
            <a:xfrm>
              <a:off x="-2159000" y="4883152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Text Colour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1, 51, 5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</p:grpSp>
      <p:pic>
        <p:nvPicPr>
          <p:cNvPr id="30" name="Picture 29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466554" y="4402733"/>
            <a:ext cx="125761" cy="138908"/>
          </a:xfrm>
          <a:prstGeom prst="rect">
            <a:avLst/>
          </a:prstGeom>
        </p:spPr>
      </p:pic>
      <p:pic>
        <p:nvPicPr>
          <p:cNvPr id="33" name="Picture 32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12789" y="6358070"/>
            <a:ext cx="961391" cy="2946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4816152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="" xmlns:p15="http://schemas.microsoft.com/office/powerpoint/2012/main">
        <p15:guide id="1" pos="302" userDrawn="1">
          <p15:clr>
            <a:srgbClr val="FBAE40"/>
          </p15:clr>
        </p15:guide>
      </p15:sldGuideLst>
    </p:ext>
  </p:extLs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oud van twe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 bwMode="gray">
          <a:xfrm>
            <a:off x="5099250" y="1278384"/>
            <a:ext cx="4110234" cy="4921200"/>
          </a:xfrm>
        </p:spPr>
        <p:txBody>
          <a:bodyPr>
            <a:noAutofit/>
          </a:bodyPr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9" name="Text Placeholder 2"/>
          <p:cNvSpPr>
            <a:spLocks noGrp="1"/>
          </p:cNvSpPr>
          <p:nvPr>
            <p:ph idx="1"/>
          </p:nvPr>
        </p:nvSpPr>
        <p:spPr bwMode="gray">
          <a:xfrm>
            <a:off x="687030" y="1278384"/>
            <a:ext cx="4109625" cy="49212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687030" y="280734"/>
            <a:ext cx="8522455" cy="854075"/>
          </a:xfrm>
        </p:spPr>
        <p:txBody>
          <a:bodyPr/>
          <a:lstStyle/>
          <a:p>
            <a:r>
              <a:rPr lang="nl-NL" smtClean="0"/>
              <a:t>Klik om de stijl te bewerke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82008780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="" xmlns:p15="http://schemas.microsoft.com/office/powerpoint/2012/main">
        <p15:guide id="1" pos="3720" userDrawn="1">
          <p15:clr>
            <a:srgbClr val="FBAE40"/>
          </p15:clr>
        </p15:guide>
        <p15:guide id="2" pos="3948" userDrawn="1">
          <p15:clr>
            <a:srgbClr val="FBAE40"/>
          </p15:clr>
        </p15:guide>
      </p15:sldGuideLst>
    </p:ext>
  </p:extLst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with 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 bwMode="gray">
          <a:xfrm>
            <a:off x="5099250" y="1795636"/>
            <a:ext cx="4110234" cy="4403948"/>
          </a:xfrm>
        </p:spPr>
        <p:txBody>
          <a:bodyPr>
            <a:noAutofit/>
          </a:bodyPr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9" name="Text Placeholder 2"/>
          <p:cNvSpPr>
            <a:spLocks noGrp="1"/>
          </p:cNvSpPr>
          <p:nvPr>
            <p:ph idx="1"/>
          </p:nvPr>
        </p:nvSpPr>
        <p:spPr bwMode="gray">
          <a:xfrm>
            <a:off x="687030" y="1795636"/>
            <a:ext cx="4109625" cy="440394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687030" y="280734"/>
            <a:ext cx="8522455" cy="854075"/>
          </a:xfrm>
        </p:spPr>
        <p:txBody>
          <a:bodyPr/>
          <a:lstStyle/>
          <a:p>
            <a:r>
              <a:rPr lang="nl-NL" smtClean="0"/>
              <a:t>Klik om de stijl te bewerken</a:t>
            </a:r>
            <a:endParaRPr lang="en-GB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2" hasCustomPrompt="1"/>
          </p:nvPr>
        </p:nvSpPr>
        <p:spPr>
          <a:xfrm>
            <a:off x="687029" y="1277983"/>
            <a:ext cx="4111189" cy="436017"/>
          </a:xfrm>
        </p:spPr>
        <p:txBody>
          <a:bodyPr>
            <a:noAutofit/>
          </a:bodyPr>
          <a:lstStyle>
            <a:lvl1pPr>
              <a:lnSpc>
                <a:spcPts val="1700"/>
              </a:lnSpc>
              <a:defRPr sz="15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US" smtClean="0"/>
              <a:t>Click to edit title</a:t>
            </a:r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5098296" y="1277983"/>
            <a:ext cx="4111189" cy="436017"/>
          </a:xfrm>
        </p:spPr>
        <p:txBody>
          <a:bodyPr>
            <a:noAutofit/>
          </a:bodyPr>
          <a:lstStyle>
            <a:lvl1pPr>
              <a:lnSpc>
                <a:spcPts val="1700"/>
              </a:lnSpc>
              <a:defRPr sz="15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US" smtClean="0"/>
              <a:t>Click to edit title</a:t>
            </a:r>
          </a:p>
        </p:txBody>
      </p:sp>
    </p:spTree>
    <p:extLst>
      <p:ext uri="{BB962C8B-B14F-4D97-AF65-F5344CB8AC3E}">
        <p14:creationId xmlns:p14="http://schemas.microsoft.com/office/powerpoint/2010/main" val="1103439219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="" xmlns:p15="http://schemas.microsoft.com/office/powerpoint/2012/main">
        <p15:guide id="1" pos="3720">
          <p15:clr>
            <a:srgbClr val="FBAE40"/>
          </p15:clr>
        </p15:guide>
        <p15:guide id="2" pos="3948">
          <p15:clr>
            <a:srgbClr val="FBAE40"/>
          </p15:clr>
        </p15:guide>
      </p15:sldGuideLst>
    </p:ext>
  </p:extLst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with titl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 bwMode="gray">
          <a:xfrm>
            <a:off x="5099250" y="1278000"/>
            <a:ext cx="4110234" cy="4929584"/>
          </a:xfrm>
        </p:spPr>
        <p:txBody>
          <a:bodyPr>
            <a:noAutofit/>
          </a:bodyPr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9" name="Text Placeholder 2"/>
          <p:cNvSpPr>
            <a:spLocks noGrp="1"/>
          </p:cNvSpPr>
          <p:nvPr>
            <p:ph idx="1"/>
          </p:nvPr>
        </p:nvSpPr>
        <p:spPr bwMode="gray">
          <a:xfrm>
            <a:off x="687030" y="1795636"/>
            <a:ext cx="4109625" cy="440394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687030" y="280734"/>
            <a:ext cx="8522455" cy="854075"/>
          </a:xfrm>
        </p:spPr>
        <p:txBody>
          <a:bodyPr/>
          <a:lstStyle/>
          <a:p>
            <a:r>
              <a:rPr lang="nl-NL" smtClean="0"/>
              <a:t>Klik om de stijl te bewerken</a:t>
            </a:r>
            <a:endParaRPr lang="en-GB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2" hasCustomPrompt="1"/>
          </p:nvPr>
        </p:nvSpPr>
        <p:spPr>
          <a:xfrm>
            <a:off x="687029" y="1277983"/>
            <a:ext cx="4111189" cy="436017"/>
          </a:xfrm>
        </p:spPr>
        <p:txBody>
          <a:bodyPr>
            <a:noAutofit/>
          </a:bodyPr>
          <a:lstStyle>
            <a:lvl1pPr>
              <a:lnSpc>
                <a:spcPts val="1700"/>
              </a:lnSpc>
              <a:defRPr sz="15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US" smtClean="0"/>
              <a:t>Click to edit title</a:t>
            </a:r>
          </a:p>
        </p:txBody>
      </p:sp>
    </p:spTree>
    <p:extLst>
      <p:ext uri="{BB962C8B-B14F-4D97-AF65-F5344CB8AC3E}">
        <p14:creationId xmlns:p14="http://schemas.microsoft.com/office/powerpoint/2010/main" val="2966614448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="" xmlns:p15="http://schemas.microsoft.com/office/powerpoint/2012/main">
        <p15:guide id="1" pos="3720">
          <p15:clr>
            <a:srgbClr val="FBAE40"/>
          </p15:clr>
        </p15:guide>
        <p15:guide id="2" pos="3948">
          <p15:clr>
            <a:srgbClr val="FBAE40"/>
          </p15:clr>
        </p15:guide>
      </p15:sldGuideLst>
    </p:ext>
  </p:extLst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with titl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 bwMode="gray">
          <a:xfrm>
            <a:off x="5099250" y="1795636"/>
            <a:ext cx="4110234" cy="4403948"/>
          </a:xfrm>
        </p:spPr>
        <p:txBody>
          <a:bodyPr>
            <a:noAutofit/>
          </a:bodyPr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9" name="Text Placeholder 2"/>
          <p:cNvSpPr>
            <a:spLocks noGrp="1"/>
          </p:cNvSpPr>
          <p:nvPr>
            <p:ph idx="1"/>
          </p:nvPr>
        </p:nvSpPr>
        <p:spPr bwMode="gray">
          <a:xfrm>
            <a:off x="687030" y="1278000"/>
            <a:ext cx="4109625" cy="492958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687030" y="280734"/>
            <a:ext cx="8522455" cy="854075"/>
          </a:xfrm>
        </p:spPr>
        <p:txBody>
          <a:bodyPr/>
          <a:lstStyle/>
          <a:p>
            <a:r>
              <a:rPr lang="nl-NL" smtClean="0"/>
              <a:t>Klik om de stijl te bewerken</a:t>
            </a:r>
            <a:endParaRPr lang="en-GB"/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5098296" y="1277983"/>
            <a:ext cx="4111189" cy="436017"/>
          </a:xfrm>
        </p:spPr>
        <p:txBody>
          <a:bodyPr>
            <a:noAutofit/>
          </a:bodyPr>
          <a:lstStyle>
            <a:lvl1pPr>
              <a:lnSpc>
                <a:spcPts val="1700"/>
              </a:lnSpc>
              <a:defRPr sz="15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US" smtClean="0"/>
              <a:t>Click to edit title</a:t>
            </a:r>
          </a:p>
        </p:txBody>
      </p:sp>
    </p:spTree>
    <p:extLst>
      <p:ext uri="{BB962C8B-B14F-4D97-AF65-F5344CB8AC3E}">
        <p14:creationId xmlns:p14="http://schemas.microsoft.com/office/powerpoint/2010/main" val="2325828711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="" xmlns:p15="http://schemas.microsoft.com/office/powerpoint/2012/main">
        <p15:guide id="1" pos="3720">
          <p15:clr>
            <a:srgbClr val="FBAE40"/>
          </p15:clr>
        </p15:guide>
        <p15:guide id="2" pos="3948">
          <p15:clr>
            <a:srgbClr val="FBAE40"/>
          </p15:clr>
        </p15:guide>
      </p15:sldGuideLst>
    </p:ext>
  </p:extLst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Slide Number Placeholder 11"/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  <p:sp>
        <p:nvSpPr>
          <p:cNvPr id="23" name="Content Placeholder 3"/>
          <p:cNvSpPr>
            <a:spLocks noGrp="1"/>
          </p:cNvSpPr>
          <p:nvPr>
            <p:ph sz="half" idx="2"/>
          </p:nvPr>
        </p:nvSpPr>
        <p:spPr bwMode="gray">
          <a:xfrm>
            <a:off x="5099859" y="1278001"/>
            <a:ext cx="4109625" cy="2330177"/>
          </a:xfrm>
        </p:spPr>
        <p:txBody>
          <a:bodyPr>
            <a:noAutofit/>
          </a:bodyPr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24" name="Text Placeholder 2"/>
          <p:cNvSpPr>
            <a:spLocks noGrp="1"/>
          </p:cNvSpPr>
          <p:nvPr>
            <p:ph idx="28"/>
          </p:nvPr>
        </p:nvSpPr>
        <p:spPr bwMode="gray">
          <a:xfrm>
            <a:off x="687030" y="1278001"/>
            <a:ext cx="4109625" cy="233017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25" name="Content Placeholder 3"/>
          <p:cNvSpPr>
            <a:spLocks noGrp="1"/>
          </p:cNvSpPr>
          <p:nvPr>
            <p:ph sz="half" idx="29"/>
          </p:nvPr>
        </p:nvSpPr>
        <p:spPr bwMode="gray">
          <a:xfrm>
            <a:off x="5099859" y="3877592"/>
            <a:ext cx="4109625" cy="2330177"/>
          </a:xfrm>
        </p:spPr>
        <p:txBody>
          <a:bodyPr>
            <a:noAutofit/>
          </a:bodyPr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26" name="Text Placeholder 2"/>
          <p:cNvSpPr>
            <a:spLocks noGrp="1"/>
          </p:cNvSpPr>
          <p:nvPr>
            <p:ph idx="30"/>
          </p:nvPr>
        </p:nvSpPr>
        <p:spPr bwMode="gray">
          <a:xfrm>
            <a:off x="687030" y="3877592"/>
            <a:ext cx="4109625" cy="233017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687030" y="280734"/>
            <a:ext cx="8522455" cy="854075"/>
          </a:xfrm>
        </p:spPr>
        <p:txBody>
          <a:bodyPr/>
          <a:lstStyle/>
          <a:p>
            <a:r>
              <a:rPr lang="nl-NL" smtClean="0"/>
              <a:t>Klik om de stijl te bewerke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63145472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="" xmlns:p15="http://schemas.microsoft.com/office/powerpoint/2012/main">
        <p15:guide id="1" pos="3720" userDrawn="1">
          <p15:clr>
            <a:srgbClr val="FBAE40"/>
          </p15:clr>
        </p15:guide>
        <p15:guide id="0" pos="3948" userDrawn="1">
          <p15:clr>
            <a:srgbClr val="FBAE40"/>
          </p15:clr>
        </p15:guide>
        <p15:guide id="2" orient="horz" pos="2274" userDrawn="1">
          <p15:clr>
            <a:srgbClr val="FBAE40"/>
          </p15:clr>
        </p15:guide>
        <p15:guide id="3" orient="horz" pos="2442" userDrawn="1">
          <p15:clr>
            <a:srgbClr val="FBAE40"/>
          </p15:clr>
        </p15:guide>
      </p15:sldGuideLst>
    </p:ext>
  </p:extLst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 Split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688112" y="1278384"/>
            <a:ext cx="2652975" cy="2329200"/>
          </a:xfrm>
        </p:spPr>
        <p:txBody>
          <a:bodyPr/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7" name="Content Placeholder 2"/>
          <p:cNvSpPr>
            <a:spLocks noGrp="1"/>
          </p:cNvSpPr>
          <p:nvPr>
            <p:ph idx="13"/>
          </p:nvPr>
        </p:nvSpPr>
        <p:spPr bwMode="gray">
          <a:xfrm>
            <a:off x="3622310" y="1278384"/>
            <a:ext cx="2652975" cy="2329200"/>
          </a:xfrm>
        </p:spPr>
        <p:txBody>
          <a:bodyPr/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8" name="Content Placeholder 2"/>
          <p:cNvSpPr>
            <a:spLocks noGrp="1"/>
          </p:cNvSpPr>
          <p:nvPr>
            <p:ph idx="14"/>
          </p:nvPr>
        </p:nvSpPr>
        <p:spPr bwMode="gray">
          <a:xfrm>
            <a:off x="6556509" y="1278384"/>
            <a:ext cx="2652975" cy="2329200"/>
          </a:xfrm>
        </p:spPr>
        <p:txBody>
          <a:bodyPr/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13" name="Content Placeholder 2"/>
          <p:cNvSpPr>
            <a:spLocks noGrp="1"/>
          </p:cNvSpPr>
          <p:nvPr>
            <p:ph idx="15"/>
          </p:nvPr>
        </p:nvSpPr>
        <p:spPr bwMode="gray">
          <a:xfrm>
            <a:off x="688113" y="3884250"/>
            <a:ext cx="2652975" cy="2329200"/>
          </a:xfrm>
        </p:spPr>
        <p:txBody>
          <a:bodyPr/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</p:txBody>
      </p:sp>
      <p:sp>
        <p:nvSpPr>
          <p:cNvPr id="14" name="Content Placeholder 2"/>
          <p:cNvSpPr>
            <a:spLocks noGrp="1"/>
          </p:cNvSpPr>
          <p:nvPr>
            <p:ph idx="16"/>
          </p:nvPr>
        </p:nvSpPr>
        <p:spPr bwMode="gray">
          <a:xfrm>
            <a:off x="3622311" y="3884250"/>
            <a:ext cx="2652975" cy="2329200"/>
          </a:xfrm>
        </p:spPr>
        <p:txBody>
          <a:bodyPr/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</p:txBody>
      </p:sp>
      <p:sp>
        <p:nvSpPr>
          <p:cNvPr id="15" name="Content Placeholder 2"/>
          <p:cNvSpPr>
            <a:spLocks noGrp="1"/>
          </p:cNvSpPr>
          <p:nvPr>
            <p:ph idx="17"/>
          </p:nvPr>
        </p:nvSpPr>
        <p:spPr bwMode="gray">
          <a:xfrm>
            <a:off x="6556509" y="3884250"/>
            <a:ext cx="2652975" cy="2329200"/>
          </a:xfrm>
        </p:spPr>
        <p:txBody>
          <a:bodyPr/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687030" y="280734"/>
            <a:ext cx="8522455" cy="854075"/>
          </a:xfrm>
        </p:spPr>
        <p:txBody>
          <a:bodyPr/>
          <a:lstStyle/>
          <a:p>
            <a:r>
              <a:rPr lang="nl-NL" smtClean="0"/>
              <a:t>Klik om de stijl te bewerke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01216438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="" xmlns:p15="http://schemas.microsoft.com/office/powerpoint/2012/main">
        <p15:guide id="1" pos="2591" userDrawn="1">
          <p15:clr>
            <a:srgbClr val="FBAE40"/>
          </p15:clr>
        </p15:guide>
        <p15:guide id="2" pos="2808" userDrawn="1">
          <p15:clr>
            <a:srgbClr val="FBAE40"/>
          </p15:clr>
        </p15:guide>
        <p15:guide id="3" pos="4866" userDrawn="1">
          <p15:clr>
            <a:srgbClr val="FBAE40"/>
          </p15:clr>
        </p15:guide>
        <p15:guide id="4" pos="5082" userDrawn="1">
          <p15:clr>
            <a:srgbClr val="FBAE40"/>
          </p15:clr>
        </p15:guide>
        <p15:guide id="5" orient="horz" pos="2274" userDrawn="1">
          <p15:clr>
            <a:srgbClr val="FBAE40"/>
          </p15:clr>
        </p15:guide>
        <p15:guide id="6" orient="horz" pos="2442" userDrawn="1">
          <p15:clr>
            <a:srgbClr val="FBAE40"/>
          </p15:clr>
        </p15:guide>
      </p15:sldGuideLst>
    </p:ext>
  </p:extLst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 Split graph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688112" y="1795637"/>
            <a:ext cx="2652975" cy="2696988"/>
          </a:xfrm>
        </p:spPr>
        <p:txBody>
          <a:bodyPr/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7" name="Content Placeholder 2"/>
          <p:cNvSpPr>
            <a:spLocks noGrp="1"/>
          </p:cNvSpPr>
          <p:nvPr>
            <p:ph idx="13"/>
          </p:nvPr>
        </p:nvSpPr>
        <p:spPr bwMode="gray">
          <a:xfrm>
            <a:off x="3622310" y="1795637"/>
            <a:ext cx="2652975" cy="2696988"/>
          </a:xfrm>
        </p:spPr>
        <p:txBody>
          <a:bodyPr/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8" name="Content Placeholder 2"/>
          <p:cNvSpPr>
            <a:spLocks noGrp="1"/>
          </p:cNvSpPr>
          <p:nvPr>
            <p:ph idx="14"/>
          </p:nvPr>
        </p:nvSpPr>
        <p:spPr bwMode="gray">
          <a:xfrm>
            <a:off x="6556509" y="1795637"/>
            <a:ext cx="2652975" cy="2696988"/>
          </a:xfrm>
        </p:spPr>
        <p:txBody>
          <a:bodyPr/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13" name="Content Placeholder 2"/>
          <p:cNvSpPr>
            <a:spLocks noGrp="1"/>
          </p:cNvSpPr>
          <p:nvPr>
            <p:ph idx="15"/>
          </p:nvPr>
        </p:nvSpPr>
        <p:spPr bwMode="gray">
          <a:xfrm>
            <a:off x="688113" y="4760734"/>
            <a:ext cx="2652975" cy="1440042"/>
          </a:xfrm>
        </p:spPr>
        <p:txBody>
          <a:bodyPr/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</p:txBody>
      </p:sp>
      <p:sp>
        <p:nvSpPr>
          <p:cNvPr id="14" name="Content Placeholder 2"/>
          <p:cNvSpPr>
            <a:spLocks noGrp="1"/>
          </p:cNvSpPr>
          <p:nvPr>
            <p:ph idx="16"/>
          </p:nvPr>
        </p:nvSpPr>
        <p:spPr bwMode="gray">
          <a:xfrm>
            <a:off x="3622311" y="4760734"/>
            <a:ext cx="2652975" cy="1440042"/>
          </a:xfrm>
        </p:spPr>
        <p:txBody>
          <a:bodyPr/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</p:txBody>
      </p:sp>
      <p:sp>
        <p:nvSpPr>
          <p:cNvPr id="15" name="Content Placeholder 2"/>
          <p:cNvSpPr>
            <a:spLocks noGrp="1"/>
          </p:cNvSpPr>
          <p:nvPr>
            <p:ph idx="17"/>
          </p:nvPr>
        </p:nvSpPr>
        <p:spPr bwMode="gray">
          <a:xfrm>
            <a:off x="6556509" y="4760734"/>
            <a:ext cx="2652975" cy="1440042"/>
          </a:xfrm>
        </p:spPr>
        <p:txBody>
          <a:bodyPr/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687030" y="280734"/>
            <a:ext cx="8522455" cy="854075"/>
          </a:xfrm>
        </p:spPr>
        <p:txBody>
          <a:bodyPr/>
          <a:lstStyle/>
          <a:p>
            <a:r>
              <a:rPr lang="nl-NL" smtClean="0"/>
              <a:t>Klik om de stijl te bewerken</a:t>
            </a:r>
            <a:endParaRPr lang="en-GB"/>
          </a:p>
        </p:txBody>
      </p:sp>
      <p:sp>
        <p:nvSpPr>
          <p:cNvPr id="10" name="Text Placeholder 10"/>
          <p:cNvSpPr>
            <a:spLocks noGrp="1"/>
          </p:cNvSpPr>
          <p:nvPr>
            <p:ph type="body" sz="quarter" idx="12" hasCustomPrompt="1"/>
          </p:nvPr>
        </p:nvSpPr>
        <p:spPr>
          <a:xfrm>
            <a:off x="687029" y="1277983"/>
            <a:ext cx="2652975" cy="436017"/>
          </a:xfrm>
        </p:spPr>
        <p:txBody>
          <a:bodyPr>
            <a:noAutofit/>
          </a:bodyPr>
          <a:lstStyle>
            <a:lvl1pPr>
              <a:lnSpc>
                <a:spcPts val="1700"/>
              </a:lnSpc>
              <a:defRPr sz="15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 noProof="0" dirty="0" smtClean="0"/>
              <a:t>Click to edit title</a:t>
            </a:r>
          </a:p>
        </p:txBody>
      </p:sp>
      <p:sp>
        <p:nvSpPr>
          <p:cNvPr id="16" name="Text Placeholder 10"/>
          <p:cNvSpPr>
            <a:spLocks noGrp="1"/>
          </p:cNvSpPr>
          <p:nvPr>
            <p:ph type="body" sz="quarter" idx="20" hasCustomPrompt="1"/>
          </p:nvPr>
        </p:nvSpPr>
        <p:spPr>
          <a:xfrm>
            <a:off x="3622310" y="1277983"/>
            <a:ext cx="2652975" cy="436017"/>
          </a:xfrm>
        </p:spPr>
        <p:txBody>
          <a:bodyPr/>
          <a:lstStyle>
            <a:lvl1pPr>
              <a:lnSpc>
                <a:spcPts val="1700"/>
              </a:lnSpc>
              <a:defRPr sz="15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 noProof="0" dirty="0" smtClean="0"/>
              <a:t>Click to edit title</a:t>
            </a:r>
            <a:endParaRPr lang="en-GB" noProof="0" dirty="0"/>
          </a:p>
        </p:txBody>
      </p:sp>
      <p:sp>
        <p:nvSpPr>
          <p:cNvPr id="17" name="Text Placeholder 10"/>
          <p:cNvSpPr>
            <a:spLocks noGrp="1"/>
          </p:cNvSpPr>
          <p:nvPr>
            <p:ph type="body" sz="quarter" idx="21" hasCustomPrompt="1"/>
          </p:nvPr>
        </p:nvSpPr>
        <p:spPr>
          <a:xfrm>
            <a:off x="6556509" y="1277983"/>
            <a:ext cx="2652975" cy="436017"/>
          </a:xfrm>
        </p:spPr>
        <p:txBody>
          <a:bodyPr/>
          <a:lstStyle>
            <a:lvl1pPr>
              <a:lnSpc>
                <a:spcPts val="1700"/>
              </a:lnSpc>
              <a:defRPr sz="15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 noProof="0" dirty="0" smtClean="0"/>
              <a:t>Click to edit titl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432456535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="" xmlns:p15="http://schemas.microsoft.com/office/powerpoint/2012/main">
        <p15:guide id="2" pos="2808">
          <p15:clr>
            <a:srgbClr val="FBAE40"/>
          </p15:clr>
        </p15:guide>
        <p15:guide id="3" pos="4866">
          <p15:clr>
            <a:srgbClr val="FBAE40"/>
          </p15:clr>
        </p15:guide>
        <p15:guide id="4" pos="5082">
          <p15:clr>
            <a:srgbClr val="FBAE40"/>
          </p15:clr>
        </p15:guide>
        <p15:guide id="5" orient="horz" pos="2830" userDrawn="1">
          <p15:clr>
            <a:srgbClr val="FBAE40"/>
          </p15:clr>
        </p15:guide>
        <p15:guide id="6" orient="horz" pos="2998" userDrawn="1">
          <p15:clr>
            <a:srgbClr val="FBAE40"/>
          </p15:clr>
        </p15:guide>
        <p15:guide id="7" pos="2592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image" Target="../media/image2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ags" Target="../tags/tag3.xml"/><Relationship Id="rId13" Type="http://schemas.openxmlformats.org/officeDocument/2006/relationships/tags" Target="../tags/tag8.xml"/><Relationship Id="rId18" Type="http://schemas.openxmlformats.org/officeDocument/2006/relationships/tags" Target="../tags/tag13.xml"/><Relationship Id="rId26" Type="http://schemas.openxmlformats.org/officeDocument/2006/relationships/image" Target="../media/image6.png"/><Relationship Id="rId3" Type="http://schemas.openxmlformats.org/officeDocument/2006/relationships/slideLayout" Target="../slideLayouts/slideLayout37.xml"/><Relationship Id="rId21" Type="http://schemas.openxmlformats.org/officeDocument/2006/relationships/tags" Target="../tags/tag16.xml"/><Relationship Id="rId7" Type="http://schemas.openxmlformats.org/officeDocument/2006/relationships/tags" Target="../tags/tag2.xml"/><Relationship Id="rId12" Type="http://schemas.openxmlformats.org/officeDocument/2006/relationships/tags" Target="../tags/tag7.xml"/><Relationship Id="rId17" Type="http://schemas.openxmlformats.org/officeDocument/2006/relationships/tags" Target="../tags/tag12.xml"/><Relationship Id="rId25" Type="http://schemas.openxmlformats.org/officeDocument/2006/relationships/image" Target="../media/image5.png"/><Relationship Id="rId2" Type="http://schemas.openxmlformats.org/officeDocument/2006/relationships/slideLayout" Target="../slideLayouts/slideLayout36.xml"/><Relationship Id="rId16" Type="http://schemas.openxmlformats.org/officeDocument/2006/relationships/tags" Target="../tags/tag11.xml"/><Relationship Id="rId20" Type="http://schemas.openxmlformats.org/officeDocument/2006/relationships/tags" Target="../tags/tag15.xml"/><Relationship Id="rId1" Type="http://schemas.openxmlformats.org/officeDocument/2006/relationships/slideLayout" Target="../slideLayouts/slideLayout35.xml"/><Relationship Id="rId6" Type="http://schemas.openxmlformats.org/officeDocument/2006/relationships/vmlDrawing" Target="../drawings/vmlDrawing1.vml"/><Relationship Id="rId11" Type="http://schemas.openxmlformats.org/officeDocument/2006/relationships/tags" Target="../tags/tag6.xml"/><Relationship Id="rId24" Type="http://schemas.openxmlformats.org/officeDocument/2006/relationships/image" Target="../media/image4.emf"/><Relationship Id="rId5" Type="http://schemas.openxmlformats.org/officeDocument/2006/relationships/theme" Target="../theme/theme2.xml"/><Relationship Id="rId15" Type="http://schemas.openxmlformats.org/officeDocument/2006/relationships/tags" Target="../tags/tag10.xml"/><Relationship Id="rId23" Type="http://schemas.openxmlformats.org/officeDocument/2006/relationships/oleObject" Target="../embeddings/oleObject1.bin"/><Relationship Id="rId10" Type="http://schemas.openxmlformats.org/officeDocument/2006/relationships/tags" Target="../tags/tag5.xml"/><Relationship Id="rId19" Type="http://schemas.openxmlformats.org/officeDocument/2006/relationships/tags" Target="../tags/tag14.xml"/><Relationship Id="rId4" Type="http://schemas.openxmlformats.org/officeDocument/2006/relationships/slideLayout" Target="../slideLayouts/slideLayout38.xml"/><Relationship Id="rId9" Type="http://schemas.openxmlformats.org/officeDocument/2006/relationships/tags" Target="../tags/tag4.xml"/><Relationship Id="rId14" Type="http://schemas.openxmlformats.org/officeDocument/2006/relationships/tags" Target="../tags/tag9.xml"/><Relationship Id="rId22" Type="http://schemas.openxmlformats.org/officeDocument/2006/relationships/tags" Target="../tags/tag17.xml"/><Relationship Id="rId27" Type="http://schemas.openxmlformats.org/officeDocument/2006/relationships/image" Target="../media/image7.pn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6.xml"/><Relationship Id="rId13" Type="http://schemas.openxmlformats.org/officeDocument/2006/relationships/slideLayout" Target="../slideLayouts/slideLayout51.xml"/><Relationship Id="rId18" Type="http://schemas.openxmlformats.org/officeDocument/2006/relationships/slideLayout" Target="../slideLayouts/slideLayout56.xml"/><Relationship Id="rId26" Type="http://schemas.openxmlformats.org/officeDocument/2006/relationships/slideLayout" Target="../slideLayouts/slideLayout64.xml"/><Relationship Id="rId3" Type="http://schemas.openxmlformats.org/officeDocument/2006/relationships/slideLayout" Target="../slideLayouts/slideLayout41.xml"/><Relationship Id="rId21" Type="http://schemas.openxmlformats.org/officeDocument/2006/relationships/slideLayout" Target="../slideLayouts/slideLayout59.xml"/><Relationship Id="rId34" Type="http://schemas.openxmlformats.org/officeDocument/2006/relationships/slideLayout" Target="../slideLayouts/slideLayout72.xml"/><Relationship Id="rId7" Type="http://schemas.openxmlformats.org/officeDocument/2006/relationships/slideLayout" Target="../slideLayouts/slideLayout45.xml"/><Relationship Id="rId12" Type="http://schemas.openxmlformats.org/officeDocument/2006/relationships/slideLayout" Target="../slideLayouts/slideLayout50.xml"/><Relationship Id="rId17" Type="http://schemas.openxmlformats.org/officeDocument/2006/relationships/slideLayout" Target="../slideLayouts/slideLayout55.xml"/><Relationship Id="rId25" Type="http://schemas.openxmlformats.org/officeDocument/2006/relationships/slideLayout" Target="../slideLayouts/slideLayout63.xml"/><Relationship Id="rId33" Type="http://schemas.openxmlformats.org/officeDocument/2006/relationships/slideLayout" Target="../slideLayouts/slideLayout71.xml"/><Relationship Id="rId2" Type="http://schemas.openxmlformats.org/officeDocument/2006/relationships/slideLayout" Target="../slideLayouts/slideLayout40.xml"/><Relationship Id="rId16" Type="http://schemas.openxmlformats.org/officeDocument/2006/relationships/slideLayout" Target="../slideLayouts/slideLayout54.xml"/><Relationship Id="rId20" Type="http://schemas.openxmlformats.org/officeDocument/2006/relationships/slideLayout" Target="../slideLayouts/slideLayout58.xml"/><Relationship Id="rId29" Type="http://schemas.openxmlformats.org/officeDocument/2006/relationships/slideLayout" Target="../slideLayouts/slideLayout67.xml"/><Relationship Id="rId1" Type="http://schemas.openxmlformats.org/officeDocument/2006/relationships/slideLayout" Target="../slideLayouts/slideLayout39.xml"/><Relationship Id="rId6" Type="http://schemas.openxmlformats.org/officeDocument/2006/relationships/slideLayout" Target="../slideLayouts/slideLayout44.xml"/><Relationship Id="rId11" Type="http://schemas.openxmlformats.org/officeDocument/2006/relationships/slideLayout" Target="../slideLayouts/slideLayout49.xml"/><Relationship Id="rId24" Type="http://schemas.openxmlformats.org/officeDocument/2006/relationships/slideLayout" Target="../slideLayouts/slideLayout62.xml"/><Relationship Id="rId32" Type="http://schemas.openxmlformats.org/officeDocument/2006/relationships/slideLayout" Target="../slideLayouts/slideLayout70.xml"/><Relationship Id="rId37" Type="http://schemas.openxmlformats.org/officeDocument/2006/relationships/image" Target="../media/image2.emf"/><Relationship Id="rId5" Type="http://schemas.openxmlformats.org/officeDocument/2006/relationships/slideLayout" Target="../slideLayouts/slideLayout43.xml"/><Relationship Id="rId15" Type="http://schemas.openxmlformats.org/officeDocument/2006/relationships/slideLayout" Target="../slideLayouts/slideLayout53.xml"/><Relationship Id="rId23" Type="http://schemas.openxmlformats.org/officeDocument/2006/relationships/slideLayout" Target="../slideLayouts/slideLayout61.xml"/><Relationship Id="rId28" Type="http://schemas.openxmlformats.org/officeDocument/2006/relationships/slideLayout" Target="../slideLayouts/slideLayout66.xml"/><Relationship Id="rId36" Type="http://schemas.openxmlformats.org/officeDocument/2006/relationships/image" Target="../media/image1.emf"/><Relationship Id="rId10" Type="http://schemas.openxmlformats.org/officeDocument/2006/relationships/slideLayout" Target="../slideLayouts/slideLayout48.xml"/><Relationship Id="rId19" Type="http://schemas.openxmlformats.org/officeDocument/2006/relationships/slideLayout" Target="../slideLayouts/slideLayout57.xml"/><Relationship Id="rId31" Type="http://schemas.openxmlformats.org/officeDocument/2006/relationships/slideLayout" Target="../slideLayouts/slideLayout69.xml"/><Relationship Id="rId4" Type="http://schemas.openxmlformats.org/officeDocument/2006/relationships/slideLayout" Target="../slideLayouts/slideLayout42.xml"/><Relationship Id="rId9" Type="http://schemas.openxmlformats.org/officeDocument/2006/relationships/slideLayout" Target="../slideLayouts/slideLayout47.xml"/><Relationship Id="rId14" Type="http://schemas.openxmlformats.org/officeDocument/2006/relationships/slideLayout" Target="../slideLayouts/slideLayout52.xml"/><Relationship Id="rId22" Type="http://schemas.openxmlformats.org/officeDocument/2006/relationships/slideLayout" Target="../slideLayouts/slideLayout60.xml"/><Relationship Id="rId27" Type="http://schemas.openxmlformats.org/officeDocument/2006/relationships/slideLayout" Target="../slideLayouts/slideLayout65.xml"/><Relationship Id="rId30" Type="http://schemas.openxmlformats.org/officeDocument/2006/relationships/slideLayout" Target="../slideLayouts/slideLayout68.xml"/><Relationship Id="rId35" Type="http://schemas.openxmlformats.org/officeDocument/2006/relationships/theme" Target="../theme/theme3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tags" Target="../tags/tag20.xml"/><Relationship Id="rId13" Type="http://schemas.openxmlformats.org/officeDocument/2006/relationships/tags" Target="../tags/tag25.xml"/><Relationship Id="rId18" Type="http://schemas.openxmlformats.org/officeDocument/2006/relationships/tags" Target="../tags/tag30.xml"/><Relationship Id="rId26" Type="http://schemas.openxmlformats.org/officeDocument/2006/relationships/image" Target="../media/image6.png"/><Relationship Id="rId3" Type="http://schemas.openxmlformats.org/officeDocument/2006/relationships/slideLayout" Target="../slideLayouts/slideLayout75.xml"/><Relationship Id="rId21" Type="http://schemas.openxmlformats.org/officeDocument/2006/relationships/tags" Target="../tags/tag33.xml"/><Relationship Id="rId7" Type="http://schemas.openxmlformats.org/officeDocument/2006/relationships/tags" Target="../tags/tag19.xml"/><Relationship Id="rId12" Type="http://schemas.openxmlformats.org/officeDocument/2006/relationships/tags" Target="../tags/tag24.xml"/><Relationship Id="rId17" Type="http://schemas.openxmlformats.org/officeDocument/2006/relationships/tags" Target="../tags/tag29.xml"/><Relationship Id="rId25" Type="http://schemas.openxmlformats.org/officeDocument/2006/relationships/image" Target="../media/image5.png"/><Relationship Id="rId2" Type="http://schemas.openxmlformats.org/officeDocument/2006/relationships/slideLayout" Target="../slideLayouts/slideLayout74.xml"/><Relationship Id="rId16" Type="http://schemas.openxmlformats.org/officeDocument/2006/relationships/tags" Target="../tags/tag28.xml"/><Relationship Id="rId20" Type="http://schemas.openxmlformats.org/officeDocument/2006/relationships/tags" Target="../tags/tag32.xml"/><Relationship Id="rId1" Type="http://schemas.openxmlformats.org/officeDocument/2006/relationships/slideLayout" Target="../slideLayouts/slideLayout73.xml"/><Relationship Id="rId6" Type="http://schemas.openxmlformats.org/officeDocument/2006/relationships/vmlDrawing" Target="../drawings/vmlDrawing3.vml"/><Relationship Id="rId11" Type="http://schemas.openxmlformats.org/officeDocument/2006/relationships/tags" Target="../tags/tag23.xml"/><Relationship Id="rId24" Type="http://schemas.openxmlformats.org/officeDocument/2006/relationships/image" Target="../media/image4.emf"/><Relationship Id="rId5" Type="http://schemas.openxmlformats.org/officeDocument/2006/relationships/theme" Target="../theme/theme4.xml"/><Relationship Id="rId15" Type="http://schemas.openxmlformats.org/officeDocument/2006/relationships/tags" Target="../tags/tag27.xml"/><Relationship Id="rId23" Type="http://schemas.openxmlformats.org/officeDocument/2006/relationships/oleObject" Target="../embeddings/oleObject3.bin"/><Relationship Id="rId10" Type="http://schemas.openxmlformats.org/officeDocument/2006/relationships/tags" Target="../tags/tag22.xml"/><Relationship Id="rId19" Type="http://schemas.openxmlformats.org/officeDocument/2006/relationships/tags" Target="../tags/tag31.xml"/><Relationship Id="rId4" Type="http://schemas.openxmlformats.org/officeDocument/2006/relationships/slideLayout" Target="../slideLayouts/slideLayout76.xml"/><Relationship Id="rId9" Type="http://schemas.openxmlformats.org/officeDocument/2006/relationships/tags" Target="../tags/tag21.xml"/><Relationship Id="rId14" Type="http://schemas.openxmlformats.org/officeDocument/2006/relationships/tags" Target="../tags/tag26.xml"/><Relationship Id="rId22" Type="http://schemas.openxmlformats.org/officeDocument/2006/relationships/tags" Target="../tags/tag34.xml"/><Relationship Id="rId27" Type="http://schemas.openxmlformats.org/officeDocument/2006/relationships/image" Target="../media/image7.png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4.xml"/><Relationship Id="rId13" Type="http://schemas.openxmlformats.org/officeDocument/2006/relationships/slideLayout" Target="../slideLayouts/slideLayout89.xml"/><Relationship Id="rId18" Type="http://schemas.openxmlformats.org/officeDocument/2006/relationships/slideLayout" Target="../slideLayouts/slideLayout94.xml"/><Relationship Id="rId26" Type="http://schemas.openxmlformats.org/officeDocument/2006/relationships/slideLayout" Target="../slideLayouts/slideLayout102.xml"/><Relationship Id="rId3" Type="http://schemas.openxmlformats.org/officeDocument/2006/relationships/slideLayout" Target="../slideLayouts/slideLayout79.xml"/><Relationship Id="rId21" Type="http://schemas.openxmlformats.org/officeDocument/2006/relationships/slideLayout" Target="../slideLayouts/slideLayout97.xml"/><Relationship Id="rId34" Type="http://schemas.openxmlformats.org/officeDocument/2006/relationships/slideLayout" Target="../slideLayouts/slideLayout110.xml"/><Relationship Id="rId7" Type="http://schemas.openxmlformats.org/officeDocument/2006/relationships/slideLayout" Target="../slideLayouts/slideLayout83.xml"/><Relationship Id="rId12" Type="http://schemas.openxmlformats.org/officeDocument/2006/relationships/slideLayout" Target="../slideLayouts/slideLayout88.xml"/><Relationship Id="rId17" Type="http://schemas.openxmlformats.org/officeDocument/2006/relationships/slideLayout" Target="../slideLayouts/slideLayout93.xml"/><Relationship Id="rId25" Type="http://schemas.openxmlformats.org/officeDocument/2006/relationships/slideLayout" Target="../slideLayouts/slideLayout101.xml"/><Relationship Id="rId33" Type="http://schemas.openxmlformats.org/officeDocument/2006/relationships/slideLayout" Target="../slideLayouts/slideLayout109.xml"/><Relationship Id="rId2" Type="http://schemas.openxmlformats.org/officeDocument/2006/relationships/slideLayout" Target="../slideLayouts/slideLayout78.xml"/><Relationship Id="rId16" Type="http://schemas.openxmlformats.org/officeDocument/2006/relationships/slideLayout" Target="../slideLayouts/slideLayout92.xml"/><Relationship Id="rId20" Type="http://schemas.openxmlformats.org/officeDocument/2006/relationships/slideLayout" Target="../slideLayouts/slideLayout96.xml"/><Relationship Id="rId29" Type="http://schemas.openxmlformats.org/officeDocument/2006/relationships/slideLayout" Target="../slideLayouts/slideLayout105.xml"/><Relationship Id="rId1" Type="http://schemas.openxmlformats.org/officeDocument/2006/relationships/slideLayout" Target="../slideLayouts/slideLayout77.xml"/><Relationship Id="rId6" Type="http://schemas.openxmlformats.org/officeDocument/2006/relationships/slideLayout" Target="../slideLayouts/slideLayout82.xml"/><Relationship Id="rId11" Type="http://schemas.openxmlformats.org/officeDocument/2006/relationships/slideLayout" Target="../slideLayouts/slideLayout87.xml"/><Relationship Id="rId24" Type="http://schemas.openxmlformats.org/officeDocument/2006/relationships/slideLayout" Target="../slideLayouts/slideLayout100.xml"/><Relationship Id="rId32" Type="http://schemas.openxmlformats.org/officeDocument/2006/relationships/slideLayout" Target="../slideLayouts/slideLayout108.xml"/><Relationship Id="rId37" Type="http://schemas.openxmlformats.org/officeDocument/2006/relationships/image" Target="../media/image2.emf"/><Relationship Id="rId5" Type="http://schemas.openxmlformats.org/officeDocument/2006/relationships/slideLayout" Target="../slideLayouts/slideLayout81.xml"/><Relationship Id="rId15" Type="http://schemas.openxmlformats.org/officeDocument/2006/relationships/slideLayout" Target="../slideLayouts/slideLayout91.xml"/><Relationship Id="rId23" Type="http://schemas.openxmlformats.org/officeDocument/2006/relationships/slideLayout" Target="../slideLayouts/slideLayout99.xml"/><Relationship Id="rId28" Type="http://schemas.openxmlformats.org/officeDocument/2006/relationships/slideLayout" Target="../slideLayouts/slideLayout104.xml"/><Relationship Id="rId36" Type="http://schemas.openxmlformats.org/officeDocument/2006/relationships/image" Target="../media/image1.emf"/><Relationship Id="rId10" Type="http://schemas.openxmlformats.org/officeDocument/2006/relationships/slideLayout" Target="../slideLayouts/slideLayout86.xml"/><Relationship Id="rId19" Type="http://schemas.openxmlformats.org/officeDocument/2006/relationships/slideLayout" Target="../slideLayouts/slideLayout95.xml"/><Relationship Id="rId31" Type="http://schemas.openxmlformats.org/officeDocument/2006/relationships/slideLayout" Target="../slideLayouts/slideLayout107.xml"/><Relationship Id="rId4" Type="http://schemas.openxmlformats.org/officeDocument/2006/relationships/slideLayout" Target="../slideLayouts/slideLayout80.xml"/><Relationship Id="rId9" Type="http://schemas.openxmlformats.org/officeDocument/2006/relationships/slideLayout" Target="../slideLayouts/slideLayout85.xml"/><Relationship Id="rId14" Type="http://schemas.openxmlformats.org/officeDocument/2006/relationships/slideLayout" Target="../slideLayouts/slideLayout90.xml"/><Relationship Id="rId22" Type="http://schemas.openxmlformats.org/officeDocument/2006/relationships/slideLayout" Target="../slideLayouts/slideLayout98.xml"/><Relationship Id="rId27" Type="http://schemas.openxmlformats.org/officeDocument/2006/relationships/slideLayout" Target="../slideLayouts/slideLayout103.xml"/><Relationship Id="rId30" Type="http://schemas.openxmlformats.org/officeDocument/2006/relationships/slideLayout" Target="../slideLayouts/slideLayout106.xml"/><Relationship Id="rId35" Type="http://schemas.openxmlformats.org/officeDocument/2006/relationships/theme" Target="../theme/theme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6" name="Group 35"/>
          <p:cNvGrpSpPr/>
          <p:nvPr/>
        </p:nvGrpSpPr>
        <p:grpSpPr>
          <a:xfrm>
            <a:off x="563662" y="6230182"/>
            <a:ext cx="9342338" cy="627821"/>
            <a:chOff x="693738" y="6230179"/>
            <a:chExt cx="11498262" cy="627821"/>
          </a:xfrm>
        </p:grpSpPr>
        <p:sp>
          <p:nvSpPr>
            <p:cNvPr id="37" name="Freeform 9"/>
            <p:cNvSpPr>
              <a:spLocks/>
            </p:cNvSpPr>
            <p:nvPr userDrawn="1"/>
          </p:nvSpPr>
          <p:spPr bwMode="auto">
            <a:xfrm>
              <a:off x="693738" y="6432353"/>
              <a:ext cx="10988675" cy="131762"/>
            </a:xfrm>
            <a:custGeom>
              <a:avLst/>
              <a:gdLst>
                <a:gd name="T0" fmla="*/ 2927 w 2927"/>
                <a:gd name="T1" fmla="*/ 0 h 32"/>
                <a:gd name="T2" fmla="*/ 32 w 2927"/>
                <a:gd name="T3" fmla="*/ 0 h 32"/>
                <a:gd name="T4" fmla="*/ 0 w 2927"/>
                <a:gd name="T5" fmla="*/ 32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927" h="32">
                  <a:moveTo>
                    <a:pt x="2927" y="0"/>
                  </a:moveTo>
                  <a:cubicBezTo>
                    <a:pt x="32" y="0"/>
                    <a:pt x="32" y="0"/>
                    <a:pt x="32" y="0"/>
                  </a:cubicBezTo>
                  <a:cubicBezTo>
                    <a:pt x="0" y="0"/>
                    <a:pt x="0" y="32"/>
                    <a:pt x="0" y="32"/>
                  </a:cubicBezTo>
                </a:path>
              </a:pathLst>
            </a:custGeom>
            <a:noFill/>
            <a:ln w="3175" cap="flat">
              <a:solidFill>
                <a:srgbClr val="333333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8" name="Rectangle 37"/>
            <p:cNvSpPr/>
            <p:nvPr userDrawn="1"/>
          </p:nvSpPr>
          <p:spPr bwMode="white">
            <a:xfrm>
              <a:off x="10419789" y="6230179"/>
              <a:ext cx="1772211" cy="627821"/>
            </a:xfrm>
            <a:prstGeom prst="rect">
              <a:avLst/>
            </a:prstGeom>
            <a:solidFill>
              <a:srgbClr val="FFFFFF"/>
            </a:solidFill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</a:pPr>
              <a:endParaRPr lang="en-GB" sz="1600" smtClean="0"/>
            </a:p>
          </p:txBody>
        </p:sp>
      </p:grp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auto">
          <a:xfrm>
            <a:off x="687031" y="280736"/>
            <a:ext cx="8522455" cy="854075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687031" y="1278003"/>
            <a:ext cx="8522455" cy="492279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21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681038" y="6498812"/>
            <a:ext cx="402431" cy="188119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0" b="1">
                <a:solidFill>
                  <a:schemeClr val="tx1"/>
                </a:solidFill>
              </a:defRPr>
            </a:lvl1pPr>
          </a:lstStyle>
          <a:p>
            <a:fld id="{DDD2A080-DA64-4F5C-9131-47EB793B4410}" type="slidenum">
              <a:rPr lang="en-GB" smtClean="0"/>
              <a:pPr/>
              <a:t>‹#›</a:t>
            </a:fld>
            <a:endParaRPr lang="en-GB" dirty="0"/>
          </a:p>
        </p:txBody>
      </p:sp>
      <p:grpSp>
        <p:nvGrpSpPr>
          <p:cNvPr id="102" name="Group 101"/>
          <p:cNvGrpSpPr/>
          <p:nvPr/>
        </p:nvGrpSpPr>
        <p:grpSpPr bwMode="gray">
          <a:xfrm>
            <a:off x="-1653580" y="0"/>
            <a:ext cx="1521000" cy="4689612"/>
            <a:chOff x="-2581275" y="595116"/>
            <a:chExt cx="1872000" cy="4689612"/>
          </a:xfrm>
        </p:grpSpPr>
        <p:sp>
          <p:nvSpPr>
            <p:cNvPr id="103" name="Rectangle 104"/>
            <p:cNvSpPr>
              <a:spLocks noChangeArrowheads="1"/>
            </p:cNvSpPr>
            <p:nvPr/>
          </p:nvSpPr>
          <p:spPr bwMode="gray">
            <a:xfrm>
              <a:off x="-2581275" y="4276728"/>
              <a:ext cx="1872000" cy="100800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104" name="Rectangle 104"/>
            <p:cNvSpPr>
              <a:spLocks noChangeArrowheads="1"/>
            </p:cNvSpPr>
            <p:nvPr userDrawn="1"/>
          </p:nvSpPr>
          <p:spPr bwMode="gray">
            <a:xfrm>
              <a:off x="-2581275" y="595116"/>
              <a:ext cx="1872000" cy="3672087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105" name="Rectangle 105"/>
            <p:cNvSpPr>
              <a:spLocks noChangeArrowheads="1"/>
            </p:cNvSpPr>
            <p:nvPr userDrawn="1"/>
          </p:nvSpPr>
          <p:spPr bwMode="gray">
            <a:xfrm>
              <a:off x="-2449513" y="1136650"/>
              <a:ext cx="215900" cy="215900"/>
            </a:xfrm>
            <a:prstGeom prst="rect">
              <a:avLst/>
            </a:prstGeom>
            <a:solidFill>
              <a:srgbClr val="FF6200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106" name="Rectangle 106"/>
            <p:cNvSpPr>
              <a:spLocks noChangeArrowheads="1"/>
            </p:cNvSpPr>
            <p:nvPr userDrawn="1"/>
          </p:nvSpPr>
          <p:spPr bwMode="gray">
            <a:xfrm>
              <a:off x="-2159000" y="1146175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Orang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55, 98, 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107" name="Rectangle 107"/>
            <p:cNvSpPr>
              <a:spLocks noChangeArrowheads="1"/>
            </p:cNvSpPr>
            <p:nvPr userDrawn="1"/>
          </p:nvSpPr>
          <p:spPr bwMode="gray">
            <a:xfrm>
              <a:off x="-2449513" y="1571626"/>
              <a:ext cx="215900" cy="215900"/>
            </a:xfrm>
            <a:prstGeom prst="rect">
              <a:avLst/>
            </a:prstGeom>
            <a:solidFill>
              <a:srgbClr val="A8A8A8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108" name="Rectangle 108"/>
            <p:cNvSpPr>
              <a:spLocks noChangeArrowheads="1"/>
            </p:cNvSpPr>
            <p:nvPr userDrawn="1"/>
          </p:nvSpPr>
          <p:spPr bwMode="gray">
            <a:xfrm>
              <a:off x="-2159000" y="15970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ght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68, 168, 16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109" name="Rectangle 109"/>
            <p:cNvSpPr>
              <a:spLocks noChangeArrowheads="1"/>
            </p:cNvSpPr>
            <p:nvPr userDrawn="1"/>
          </p:nvSpPr>
          <p:spPr bwMode="gray">
            <a:xfrm>
              <a:off x="-2449513" y="2058988"/>
              <a:ext cx="215900" cy="215900"/>
            </a:xfrm>
            <a:prstGeom prst="rect">
              <a:avLst/>
            </a:prstGeom>
            <a:solidFill>
              <a:srgbClr val="52519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110" name="Rectangle 110"/>
            <p:cNvSpPr>
              <a:spLocks noChangeArrowheads="1"/>
            </p:cNvSpPr>
            <p:nvPr userDrawn="1"/>
          </p:nvSpPr>
          <p:spPr bwMode="gray">
            <a:xfrm>
              <a:off x="-2159000" y="2068513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Indigo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82, 81, 153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111" name="Rectangle 111"/>
            <p:cNvSpPr>
              <a:spLocks noChangeArrowheads="1"/>
            </p:cNvSpPr>
            <p:nvPr userDrawn="1"/>
          </p:nvSpPr>
          <p:spPr bwMode="gray">
            <a:xfrm>
              <a:off x="-2449513" y="2527301"/>
              <a:ext cx="215900" cy="215900"/>
            </a:xfrm>
            <a:prstGeom prst="rect">
              <a:avLst/>
            </a:prstGeom>
            <a:solidFill>
              <a:srgbClr val="60A6DA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112" name="Rectangle 112"/>
            <p:cNvSpPr>
              <a:spLocks noChangeArrowheads="1"/>
            </p:cNvSpPr>
            <p:nvPr userDrawn="1"/>
          </p:nvSpPr>
          <p:spPr bwMode="gray">
            <a:xfrm>
              <a:off x="-2159000" y="25368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Sk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96, 166, 2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113" name="Rectangle 113"/>
            <p:cNvSpPr>
              <a:spLocks noChangeArrowheads="1"/>
            </p:cNvSpPr>
            <p:nvPr userDrawn="1"/>
          </p:nvSpPr>
          <p:spPr bwMode="gray">
            <a:xfrm>
              <a:off x="-2449513" y="762000"/>
              <a:ext cx="1692000" cy="165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90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200" b="1" smtClean="0">
                  <a:solidFill>
                    <a:srgbClr val="333333"/>
                  </a:solidFill>
                </a:rPr>
                <a:t>Colour Guidelines</a:t>
              </a:r>
              <a:endParaRPr lang="en-GB" altLang="en-US" sz="1200" b="1">
                <a:solidFill>
                  <a:srgbClr val="333333"/>
                </a:solidFill>
              </a:endParaRPr>
            </a:p>
          </p:txBody>
        </p:sp>
        <p:sp>
          <p:nvSpPr>
            <p:cNvPr id="114" name="Rectangle 107"/>
            <p:cNvSpPr>
              <a:spLocks noChangeArrowheads="1"/>
            </p:cNvSpPr>
            <p:nvPr/>
          </p:nvSpPr>
          <p:spPr bwMode="gray">
            <a:xfrm>
              <a:off x="-2449513" y="2962277"/>
              <a:ext cx="215900" cy="215900"/>
            </a:xfrm>
            <a:prstGeom prst="rect">
              <a:avLst/>
            </a:prstGeom>
            <a:solidFill>
              <a:srgbClr val="AB006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115" name="Rectangle 108"/>
            <p:cNvSpPr>
              <a:spLocks noChangeArrowheads="1"/>
            </p:cNvSpPr>
            <p:nvPr/>
          </p:nvSpPr>
          <p:spPr bwMode="gray">
            <a:xfrm>
              <a:off x="-2159000" y="29876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Fuchsia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71, 0, 102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116" name="Rectangle 109"/>
            <p:cNvSpPr>
              <a:spLocks noChangeArrowheads="1"/>
            </p:cNvSpPr>
            <p:nvPr/>
          </p:nvSpPr>
          <p:spPr bwMode="gray">
            <a:xfrm>
              <a:off x="-2449513" y="3449639"/>
              <a:ext cx="215900" cy="215900"/>
            </a:xfrm>
            <a:prstGeom prst="rect">
              <a:avLst/>
            </a:prstGeom>
            <a:solidFill>
              <a:srgbClr val="D0D93C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117" name="Rectangle 110"/>
            <p:cNvSpPr>
              <a:spLocks noChangeArrowheads="1"/>
            </p:cNvSpPr>
            <p:nvPr/>
          </p:nvSpPr>
          <p:spPr bwMode="gray">
            <a:xfrm>
              <a:off x="-2159000" y="3459164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m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08, 217, 6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118" name="Rectangle 111"/>
            <p:cNvSpPr>
              <a:spLocks noChangeArrowheads="1"/>
            </p:cNvSpPr>
            <p:nvPr/>
          </p:nvSpPr>
          <p:spPr bwMode="gray">
            <a:xfrm>
              <a:off x="-2449513" y="3917952"/>
              <a:ext cx="215900" cy="215900"/>
            </a:xfrm>
            <a:prstGeom prst="rect">
              <a:avLst/>
            </a:prstGeom>
            <a:solidFill>
              <a:srgbClr val="01964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119" name="Rectangle 112"/>
            <p:cNvSpPr>
              <a:spLocks noChangeArrowheads="1"/>
            </p:cNvSpPr>
            <p:nvPr/>
          </p:nvSpPr>
          <p:spPr bwMode="gray">
            <a:xfrm>
              <a:off x="-2159000" y="39274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eaf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2, 150, 8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120" name="Rectangle 109"/>
            <p:cNvSpPr>
              <a:spLocks noChangeArrowheads="1"/>
            </p:cNvSpPr>
            <p:nvPr/>
          </p:nvSpPr>
          <p:spPr bwMode="gray">
            <a:xfrm>
              <a:off x="-2449513" y="4405314"/>
              <a:ext cx="215900" cy="215900"/>
            </a:xfrm>
            <a:prstGeom prst="rect">
              <a:avLst/>
            </a:prstGeom>
            <a:solidFill>
              <a:srgbClr val="76767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121" name="Rectangle 110"/>
            <p:cNvSpPr>
              <a:spLocks noChangeArrowheads="1"/>
            </p:cNvSpPr>
            <p:nvPr/>
          </p:nvSpPr>
          <p:spPr bwMode="gray">
            <a:xfrm>
              <a:off x="-2159000" y="4414839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Mid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18, 118, 1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122" name="Rectangle 111"/>
            <p:cNvSpPr>
              <a:spLocks noChangeArrowheads="1"/>
            </p:cNvSpPr>
            <p:nvPr/>
          </p:nvSpPr>
          <p:spPr bwMode="gray">
            <a:xfrm>
              <a:off x="-2449513" y="4873627"/>
              <a:ext cx="215900" cy="215900"/>
            </a:xfrm>
            <a:prstGeom prst="rect">
              <a:avLst/>
            </a:prstGeom>
            <a:solidFill>
              <a:srgbClr val="333333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123" name="Rectangle 112"/>
            <p:cNvSpPr>
              <a:spLocks noChangeArrowheads="1"/>
            </p:cNvSpPr>
            <p:nvPr/>
          </p:nvSpPr>
          <p:spPr bwMode="gray">
            <a:xfrm>
              <a:off x="-2159000" y="4883152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Text Colour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1, 51, 5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</p:grpSp>
      <p:grpSp>
        <p:nvGrpSpPr>
          <p:cNvPr id="46" name="Group 45"/>
          <p:cNvGrpSpPr/>
          <p:nvPr/>
        </p:nvGrpSpPr>
        <p:grpSpPr>
          <a:xfrm>
            <a:off x="-1657860" y="6362703"/>
            <a:ext cx="1521000" cy="500063"/>
            <a:chOff x="-2040443" y="6445247"/>
            <a:chExt cx="1872000" cy="417516"/>
          </a:xfrm>
        </p:grpSpPr>
        <p:sp>
          <p:nvSpPr>
            <p:cNvPr id="47" name="Rectangle 104"/>
            <p:cNvSpPr>
              <a:spLocks noChangeArrowheads="1"/>
            </p:cNvSpPr>
            <p:nvPr userDrawn="1"/>
          </p:nvSpPr>
          <p:spPr bwMode="gray">
            <a:xfrm>
              <a:off x="-2040443" y="6445247"/>
              <a:ext cx="1462593" cy="417516"/>
            </a:xfrm>
            <a:prstGeom prst="rect">
              <a:avLst/>
            </a:prstGeom>
            <a:solidFill>
              <a:srgbClr val="60A6DA"/>
            </a:solidFill>
            <a:ln>
              <a:noFill/>
            </a:ln>
            <a:effectLst/>
          </p:spPr>
          <p:txBody>
            <a:bodyPr wrap="square" lIns="72000" tIns="180000" rIns="72000" bIns="180000" anchor="ctr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ct val="20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altLang="en-US" sz="1200" b="1" i="0" u="none" strike="noStrike" kern="0" cap="none" spc="0" normalizeH="0" baseline="0" dirty="0" smtClean="0">
                  <a:ln>
                    <a:noFill/>
                  </a:ln>
                  <a:solidFill>
                    <a:srgbClr val="FDFDFD"/>
                  </a:solidFill>
                  <a:effectLst/>
                  <a:uLnTx/>
                  <a:uFillTx/>
                  <a:latin typeface="+mn-lt"/>
                </a:rPr>
                <a:t>No content below </a:t>
              </a:r>
              <a:br>
                <a:rPr kumimoji="0" lang="en-GB" altLang="en-US" sz="1200" b="1" i="0" u="none" strike="noStrike" kern="0" cap="none" spc="0" normalizeH="0" baseline="0" dirty="0" smtClean="0">
                  <a:ln>
                    <a:noFill/>
                  </a:ln>
                  <a:solidFill>
                    <a:srgbClr val="FDFDFD"/>
                  </a:solidFill>
                  <a:effectLst/>
                  <a:uLnTx/>
                  <a:uFillTx/>
                  <a:latin typeface="+mn-lt"/>
                </a:rPr>
              </a:br>
              <a:r>
                <a:rPr kumimoji="0" lang="en-GB" altLang="en-US" sz="1200" b="1" i="0" u="none" strike="noStrike" kern="0" cap="none" spc="0" normalizeH="0" baseline="0" dirty="0" smtClean="0">
                  <a:ln>
                    <a:noFill/>
                  </a:ln>
                  <a:solidFill>
                    <a:srgbClr val="FDFDFD"/>
                  </a:solidFill>
                  <a:effectLst/>
                  <a:uLnTx/>
                  <a:uFillTx/>
                  <a:latin typeface="+mn-lt"/>
                </a:rPr>
                <a:t>the grey line</a:t>
              </a:r>
              <a:endParaRPr kumimoji="0" lang="en-GB" altLang="en-US" sz="1200" b="1" i="0" u="none" strike="noStrike" kern="0" cap="none" spc="0" normalizeH="0" baseline="0" dirty="0">
                <a:ln>
                  <a:noFill/>
                </a:ln>
                <a:solidFill>
                  <a:srgbClr val="FDFDFD"/>
                </a:solidFill>
                <a:effectLst/>
                <a:uLnTx/>
                <a:uFillTx/>
                <a:latin typeface="+mn-lt"/>
              </a:endParaRPr>
            </a:p>
          </p:txBody>
        </p:sp>
        <p:grpSp>
          <p:nvGrpSpPr>
            <p:cNvPr id="48" name="Group 47"/>
            <p:cNvGrpSpPr/>
            <p:nvPr userDrawn="1"/>
          </p:nvGrpSpPr>
          <p:grpSpPr bwMode="gray">
            <a:xfrm>
              <a:off x="-546100" y="6452392"/>
              <a:ext cx="377657" cy="403227"/>
              <a:chOff x="-2035174" y="6454773"/>
              <a:chExt cx="1872000" cy="403227"/>
            </a:xfrm>
          </p:grpSpPr>
          <p:cxnSp>
            <p:nvCxnSpPr>
              <p:cNvPr id="49" name="Straight Connector 48"/>
              <p:cNvCxnSpPr/>
              <p:nvPr userDrawn="1"/>
            </p:nvCxnSpPr>
            <p:spPr bwMode="gray">
              <a:xfrm>
                <a:off x="-2035174" y="6858000"/>
                <a:ext cx="1872000" cy="0"/>
              </a:xfrm>
              <a:prstGeom prst="line">
                <a:avLst/>
              </a:prstGeom>
              <a:noFill/>
              <a:ln w="6350" cap="flat" cmpd="sng" algn="ctr">
                <a:solidFill>
                  <a:srgbClr val="C90068"/>
                </a:solidFill>
                <a:prstDash val="dash"/>
                <a:miter lim="800000"/>
              </a:ln>
              <a:effectLst/>
            </p:spPr>
          </p:cxnSp>
          <p:cxnSp>
            <p:nvCxnSpPr>
              <p:cNvPr id="50" name="Straight Connector 49"/>
              <p:cNvCxnSpPr/>
              <p:nvPr userDrawn="1"/>
            </p:nvCxnSpPr>
            <p:spPr bwMode="gray">
              <a:xfrm>
                <a:off x="-2035174" y="6454773"/>
                <a:ext cx="1872000" cy="0"/>
              </a:xfrm>
              <a:prstGeom prst="line">
                <a:avLst/>
              </a:prstGeom>
              <a:noFill/>
              <a:ln w="6350" cap="flat" cmpd="sng" algn="ctr">
                <a:solidFill>
                  <a:srgbClr val="C90068"/>
                </a:solidFill>
                <a:prstDash val="dash"/>
                <a:miter lim="800000"/>
              </a:ln>
              <a:effectLst/>
            </p:spPr>
          </p:cxnSp>
        </p:grpSp>
      </p:grpSp>
      <p:pic>
        <p:nvPicPr>
          <p:cNvPr id="35" name="Picture 34"/>
          <p:cNvPicPr>
            <a:picLocks noChangeAspect="1"/>
          </p:cNvPicPr>
          <p:nvPr/>
        </p:nvPicPr>
        <p:blipFill>
          <a:blip r:embed="rId36"/>
          <a:stretch>
            <a:fillRect/>
          </a:stretch>
        </p:blipFill>
        <p:spPr>
          <a:xfrm>
            <a:off x="-1466554" y="4402733"/>
            <a:ext cx="125761" cy="138908"/>
          </a:xfrm>
          <a:prstGeom prst="rect">
            <a:avLst/>
          </a:prstGeom>
        </p:spPr>
      </p:pic>
      <p:pic>
        <p:nvPicPr>
          <p:cNvPr id="42" name="Picture 41"/>
          <p:cNvPicPr>
            <a:picLocks noChangeAspect="1"/>
          </p:cNvPicPr>
          <p:nvPr/>
        </p:nvPicPr>
        <p:blipFill>
          <a:blip r:embed="rId37"/>
          <a:stretch>
            <a:fillRect/>
          </a:stretch>
        </p:blipFill>
        <p:spPr>
          <a:xfrm>
            <a:off x="8712789" y="6358072"/>
            <a:ext cx="961391" cy="2946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3996761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7" r:id="rId1"/>
    <p:sldLayoutId id="2147483685" r:id="rId2"/>
    <p:sldLayoutId id="2147483737" r:id="rId3"/>
    <p:sldLayoutId id="2147483729" r:id="rId4"/>
    <p:sldLayoutId id="2147483730" r:id="rId5"/>
    <p:sldLayoutId id="2147483725" r:id="rId6"/>
    <p:sldLayoutId id="2147483727" r:id="rId7"/>
    <p:sldLayoutId id="2147483728" r:id="rId8"/>
    <p:sldLayoutId id="2147483732" r:id="rId9"/>
    <p:sldLayoutId id="2147483733" r:id="rId10"/>
    <p:sldLayoutId id="2147483734" r:id="rId11"/>
    <p:sldLayoutId id="2147483735" r:id="rId12"/>
    <p:sldLayoutId id="2147483692" r:id="rId13"/>
    <p:sldLayoutId id="2147483711" r:id="rId14"/>
    <p:sldLayoutId id="2147483694" r:id="rId15"/>
    <p:sldLayoutId id="2147483695" r:id="rId16"/>
    <p:sldLayoutId id="2147483696" r:id="rId17"/>
    <p:sldLayoutId id="2147483736" r:id="rId18"/>
    <p:sldLayoutId id="2147483738" r:id="rId19"/>
    <p:sldLayoutId id="2147483739" r:id="rId20"/>
    <p:sldLayoutId id="2147483731" r:id="rId21"/>
    <p:sldLayoutId id="2147483697" r:id="rId22"/>
    <p:sldLayoutId id="2147483740" r:id="rId23"/>
    <p:sldLayoutId id="2147483716" r:id="rId24"/>
    <p:sldLayoutId id="2147483718" r:id="rId25"/>
    <p:sldLayoutId id="2147483719" r:id="rId26"/>
    <p:sldLayoutId id="2147483700" r:id="rId27"/>
    <p:sldLayoutId id="2147483743" r:id="rId28"/>
    <p:sldLayoutId id="2147483742" r:id="rId29"/>
    <p:sldLayoutId id="2147483741" r:id="rId30"/>
    <p:sldLayoutId id="2147483702" r:id="rId31"/>
    <p:sldLayoutId id="2147483721" r:id="rId32"/>
    <p:sldLayoutId id="2147483706" r:id="rId33"/>
    <p:sldLayoutId id="2147483726" r:id="rId34"/>
  </p:sldLayoutIdLst>
  <p:timing>
    <p:tnLst>
      <p:par>
        <p:cTn id="1" dur="indefinite" restart="never" nodeType="tmRoot"/>
      </p:par>
    </p:tnLst>
  </p:timing>
  <p:hf hdr="0" ftr="0"/>
  <p:txStyles>
    <p:titleStyle>
      <a:lvl1pPr algn="l" defTabSz="914400" rtl="0" eaLnBrk="1" latinLnBrk="0" hangingPunct="1">
        <a:lnSpc>
          <a:spcPts val="2800"/>
        </a:lnSpc>
        <a:spcBef>
          <a:spcPct val="0"/>
        </a:spcBef>
        <a:buNone/>
        <a:defRPr sz="2800" b="1" kern="1200" baseline="0">
          <a:solidFill>
            <a:schemeClr val="tx2"/>
          </a:solidFill>
          <a:latin typeface="+mj-lt"/>
          <a:ea typeface="+mj-ea"/>
          <a:cs typeface="ING Me" pitchFamily="2" charset="0"/>
        </a:defRPr>
      </a:lvl1pPr>
    </p:titleStyle>
    <p:bodyStyle>
      <a:lvl1pPr marL="0" indent="0" algn="l" defTabSz="914400" rtl="0" eaLnBrk="1" latinLnBrk="0" hangingPunct="1">
        <a:lnSpc>
          <a:spcPts val="2400"/>
        </a:lnSpc>
        <a:spcBef>
          <a:spcPts val="0"/>
        </a:spcBef>
        <a:spcAft>
          <a:spcPts val="0"/>
        </a:spcAft>
        <a:buFont typeface="Arial" panose="020B0604020202020204" pitchFamily="34" charset="0"/>
        <a:buNone/>
        <a:defRPr sz="2000" b="0" kern="1200" baseline="0">
          <a:solidFill>
            <a:schemeClr val="tx1"/>
          </a:solidFill>
          <a:latin typeface="+mn-lt"/>
          <a:ea typeface="+mn-ea"/>
          <a:cs typeface="ING Me" pitchFamily="2" charset="0"/>
        </a:defRPr>
      </a:lvl1pPr>
      <a:lvl2pPr marL="0" indent="0" algn="l" defTabSz="914400" rtl="0" eaLnBrk="1" latinLnBrk="0" hangingPunct="1">
        <a:lnSpc>
          <a:spcPts val="2400"/>
        </a:lnSpc>
        <a:spcBef>
          <a:spcPts val="0"/>
        </a:spcBef>
        <a:spcAft>
          <a:spcPts val="0"/>
        </a:spcAft>
        <a:buFont typeface="Arial" panose="020B0604020202020204" pitchFamily="34" charset="0"/>
        <a:buNone/>
        <a:defRPr sz="2000" kern="1200" baseline="0">
          <a:solidFill>
            <a:schemeClr val="tx1"/>
          </a:solidFill>
          <a:latin typeface="+mn-lt"/>
          <a:ea typeface="+mn-ea"/>
          <a:cs typeface="ING Me" pitchFamily="2" charset="0"/>
        </a:defRPr>
      </a:lvl2pPr>
      <a:lvl3pPr marL="266700" indent="-266700" algn="l" defTabSz="914400" rtl="0" eaLnBrk="1" latinLnBrk="0" hangingPunct="1">
        <a:lnSpc>
          <a:spcPts val="2400"/>
        </a:lnSpc>
        <a:spcBef>
          <a:spcPts val="0"/>
        </a:spcBef>
        <a:spcAft>
          <a:spcPts val="0"/>
        </a:spcAft>
        <a:buClr>
          <a:schemeClr val="tx2"/>
        </a:buClr>
        <a:buFont typeface="ING Me" pitchFamily="2" charset="0"/>
        <a:buChar char="•"/>
        <a:defRPr sz="2000" kern="1200" baseline="0">
          <a:solidFill>
            <a:schemeClr val="tx1"/>
          </a:solidFill>
          <a:latin typeface="+mn-lt"/>
          <a:ea typeface="+mn-ea"/>
          <a:cs typeface="ING Me" pitchFamily="2" charset="0"/>
        </a:defRPr>
      </a:lvl3pPr>
      <a:lvl4pPr marL="512763" indent="-260350" algn="l" defTabSz="914400" rtl="0" eaLnBrk="1" latinLnBrk="0" hangingPunct="1">
        <a:lnSpc>
          <a:spcPts val="2400"/>
        </a:lnSpc>
        <a:spcBef>
          <a:spcPts val="0"/>
        </a:spcBef>
        <a:spcAft>
          <a:spcPts val="0"/>
        </a:spcAft>
        <a:buClr>
          <a:schemeClr val="bg2"/>
        </a:buClr>
        <a:buFont typeface="ING Me" pitchFamily="2" charset="0"/>
        <a:buChar char="•"/>
        <a:defRPr sz="2000" kern="1200" baseline="0">
          <a:solidFill>
            <a:schemeClr val="tx1"/>
          </a:solidFill>
          <a:latin typeface="+mn-lt"/>
          <a:ea typeface="+mn-ea"/>
          <a:cs typeface="ING Me" pitchFamily="2" charset="0"/>
        </a:defRPr>
      </a:lvl4pPr>
      <a:lvl5pPr marL="762000" indent="-252413" algn="l" defTabSz="914400" rtl="0" eaLnBrk="1" latinLnBrk="0" hangingPunct="1">
        <a:lnSpc>
          <a:spcPts val="2400"/>
        </a:lnSpc>
        <a:spcBef>
          <a:spcPts val="0"/>
        </a:spcBef>
        <a:spcAft>
          <a:spcPts val="0"/>
        </a:spcAft>
        <a:buClr>
          <a:schemeClr val="accent3"/>
        </a:buClr>
        <a:buFont typeface="ING Me" pitchFamily="2" charset="0"/>
        <a:buChar char="•"/>
        <a:defRPr sz="2000" kern="1200" baseline="0">
          <a:solidFill>
            <a:schemeClr val="tx1"/>
          </a:solidFill>
          <a:latin typeface="+mn-lt"/>
          <a:ea typeface="+mn-ea"/>
          <a:cs typeface="ING Me" pitchFamily="2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 xmlns="">
        <p15:guide id="3" orient="horz" pos="721" userDrawn="1">
          <p15:clr>
            <a:srgbClr val="F26B43"/>
          </p15:clr>
        </p15:guide>
        <p15:guide id="6" pos="7140" userDrawn="1">
          <p15:clr>
            <a:srgbClr val="F26B43"/>
          </p15:clr>
        </p15:guide>
        <p15:guide id="8" pos="528" userDrawn="1">
          <p15:clr>
            <a:srgbClr val="F26B43"/>
          </p15:clr>
        </p15:guide>
        <p15:guide id="9" orient="horz" pos="173" userDrawn="1">
          <p15:clr>
            <a:srgbClr val="F26B43"/>
          </p15:clr>
        </p15:guide>
        <p15:guide id="10" orient="horz" pos="4008" userDrawn="1">
          <p15:clr>
            <a:srgbClr val="F26B43"/>
          </p15:clr>
        </p15:guide>
        <p15:guide id="11" orient="horz" pos="3906" userDrawn="1">
          <p15:clr>
            <a:srgbClr val="F26B43"/>
          </p15:clr>
        </p15:guide>
        <p15:guide id="12" orient="horz" pos="800" userDrawn="1">
          <p15:clr>
            <a:srgbClr val="F26B43"/>
          </p15:clr>
        </p15:guide>
        <p15:guide id="13" pos="7491" userDrawn="1">
          <p15:clr>
            <a:srgbClr val="F26B43"/>
          </p15:clr>
        </p15:guide>
        <p15:guide id="14" pos="437" userDrawn="1">
          <p15:clr>
            <a:srgbClr val="F26B43"/>
          </p15:clr>
        </p15:guide>
        <p15:guide id="15" pos="3834" userDrawn="1">
          <p15:clr>
            <a:srgbClr val="F26B43"/>
          </p15:clr>
        </p15:guide>
        <p15:guide id="16" orient="horz" pos="2358" userDrawn="1">
          <p15:clr>
            <a:srgbClr val="F26B43"/>
          </p15:clr>
        </p15:guide>
        <p15:guide id="17" pos="7398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3148123461"/>
              </p:ext>
            </p:extLst>
          </p:nvPr>
        </p:nvGraphicFramePr>
        <p:xfrm>
          <a:off x="1" y="0"/>
          <a:ext cx="175483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96" name="think-cell Slide" r:id="rId23" imgW="270" imgH="270" progId="TCLayout.ActiveDocument.1">
                  <p:embed/>
                </p:oleObj>
              </mc:Choice>
              <mc:Fallback>
                <p:oleObj name="think-cell Slide" r:id="rId2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1" y="0"/>
                        <a:ext cx="175483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8612108" y="2443422"/>
            <a:ext cx="2433358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700" smtClean="0">
                <a:solidFill>
                  <a:srgbClr val="000000"/>
                </a:solidFill>
                <a:latin typeface="Arial"/>
              </a:rPr>
              <a:t>Last Modified 11/20/2015 3:14 PM W. Europe Standard Time</a:t>
            </a:r>
            <a:endParaRPr lang="en-US" dirty="0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8712296" y="4661402"/>
            <a:ext cx="2232984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700" smtClean="0">
                <a:solidFill>
                  <a:srgbClr val="000000"/>
                </a:solidFill>
                <a:latin typeface="Arial"/>
              </a:rPr>
              <a:t>Printed 11/20/2015 11:18 AM W. Europe Standard Time</a:t>
            </a:r>
            <a:endParaRPr lang="en-US" dirty="0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2478694" y="2649305"/>
            <a:ext cx="4755582" cy="146193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 smtClean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31614" y="413283"/>
            <a:ext cx="9236802" cy="430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31612" y="16385"/>
            <a:ext cx="8592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400" dirty="0">
                <a:solidFill>
                  <a:srgbClr val="808080"/>
                </a:solidFill>
              </a:rPr>
              <a:t>TRACKER</a:t>
            </a:r>
          </a:p>
        </p:txBody>
      </p:sp>
      <p:grpSp>
        <p:nvGrpSpPr>
          <p:cNvPr id="12" name="McK Slide Elements" hidden="1"/>
          <p:cNvGrpSpPr>
            <a:grpSpLocks/>
          </p:cNvGrpSpPr>
          <p:nvPr/>
        </p:nvGrpSpPr>
        <p:grpSpPr bwMode="auto">
          <a:xfrm>
            <a:off x="131614" y="5638350"/>
            <a:ext cx="9236802" cy="464862"/>
            <a:chOff x="75" y="3872"/>
            <a:chExt cx="5385" cy="287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872"/>
              <a:ext cx="5385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 anchorCtr="0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127000" indent="-127000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200" dirty="0" smtClean="0">
                  <a:solidFill>
                    <a:srgbClr val="000000"/>
                  </a:solidFill>
                  <a:latin typeface="Arial"/>
                </a:rPr>
                <a:t>1 Footnote</a:t>
              </a: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4045"/>
              <a:ext cx="5385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 anchorCtr="0">
              <a:spAutoFit/>
            </a:bodyPr>
            <a:lstStyle/>
            <a:p>
              <a:pPr marL="740725" indent="-740725" defTabSz="1087940" fontAlgn="base">
                <a:spcBef>
                  <a:spcPct val="0"/>
                </a:spcBef>
                <a:spcAft>
                  <a:spcPct val="0"/>
                </a:spcAft>
                <a:tabLst>
                  <a:tab pos="744583" algn="l"/>
                </a:tabLst>
              </a:pPr>
              <a:r>
                <a:rPr lang="en-US" sz="1200" dirty="0">
                  <a:solidFill>
                    <a:srgbClr val="000000"/>
                  </a:solidFill>
                </a:rPr>
                <a:t>SOURCE: </a:t>
              </a:r>
              <a:r>
                <a:rPr lang="en-US" sz="1200" dirty="0" smtClean="0">
                  <a:solidFill>
                    <a:srgbClr val="000000"/>
                  </a:solidFill>
                </a:rPr>
                <a:t>Source</a:t>
              </a: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2478695" y="1914002"/>
            <a:ext cx="4713466" cy="602545"/>
            <a:chOff x="915" y="658"/>
            <a:chExt cx="2686" cy="372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658"/>
              <a:ext cx="2686" cy="37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900" b="1" dirty="0">
                  <a:solidFill>
                    <a:srgbClr val="000000"/>
                  </a:solidFill>
                </a:rPr>
                <a:t>Title</a:t>
              </a:r>
            </a:p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900" dirty="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pic>
        <p:nvPicPr>
          <p:cNvPr id="22" name="Picture 38" descr="GradientShadow.png"/>
          <p:cNvPicPr>
            <a:picLocks noChangeAspect="1"/>
          </p:cNvPicPr>
          <p:nvPr/>
        </p:nvPicPr>
        <p:blipFill>
          <a:blip r:embed="rId2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874713"/>
            <a:ext cx="9900843" cy="101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3" name="Picture 36" descr="GradientShadow.png"/>
          <p:cNvPicPr>
            <a:picLocks noChangeAspect="1"/>
          </p:cNvPicPr>
          <p:nvPr/>
        </p:nvPicPr>
        <p:blipFill>
          <a:blip r:embed="rId2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138863"/>
            <a:ext cx="9900843" cy="101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31613" y="893222"/>
            <a:ext cx="9526957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900" dirty="0" smtClean="0">
                <a:solidFill>
                  <a:srgbClr val="808080"/>
                </a:solidFill>
                <a:latin typeface="Arial"/>
              </a:rPr>
              <a:t>Unit of measure</a:t>
            </a:r>
          </a:p>
        </p:txBody>
      </p:sp>
      <p:grpSp>
        <p:nvGrpSpPr>
          <p:cNvPr id="34" name="LegendBoxes" hidden="1"/>
          <p:cNvGrpSpPr>
            <a:grpSpLocks/>
          </p:cNvGrpSpPr>
          <p:nvPr/>
        </p:nvGrpSpPr>
        <p:grpSpPr bwMode="auto">
          <a:xfrm>
            <a:off x="8541192" y="953735"/>
            <a:ext cx="957925" cy="1329268"/>
            <a:chOff x="4936" y="176"/>
            <a:chExt cx="557" cy="628"/>
          </a:xfrm>
        </p:grpSpPr>
        <p:sp>
          <p:nvSpPr>
            <p:cNvPr id="35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397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194128" fontAlgn="base">
                <a:spcBef>
                  <a:spcPct val="0"/>
                </a:spcBef>
                <a:spcAft>
                  <a:spcPct val="0"/>
                </a:spcAft>
                <a:buClr>
                  <a:srgbClr val="FF6600"/>
                </a:buClr>
              </a:pPr>
              <a:r>
                <a:rPr lang="en-US" sz="16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6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900">
                <a:solidFill>
                  <a:srgbClr val="000000"/>
                </a:solidFill>
              </a:endParaRP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397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194128" fontAlgn="base">
                <a:spcBef>
                  <a:spcPct val="0"/>
                </a:spcBef>
                <a:spcAft>
                  <a:spcPct val="0"/>
                </a:spcAft>
                <a:buClr>
                  <a:srgbClr val="FF6600"/>
                </a:buClr>
              </a:pPr>
              <a:r>
                <a:rPr lang="en-US" sz="16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8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900">
                <a:solidFill>
                  <a:srgbClr val="000000"/>
                </a:solidFill>
              </a:endParaRPr>
            </a:p>
          </p:txBody>
        </p:sp>
        <p:sp>
          <p:nvSpPr>
            <p:cNvPr id="39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397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194128" fontAlgn="base">
                <a:spcBef>
                  <a:spcPct val="0"/>
                </a:spcBef>
                <a:spcAft>
                  <a:spcPct val="0"/>
                </a:spcAft>
                <a:buClr>
                  <a:srgbClr val="FF6600"/>
                </a:buClr>
              </a:pPr>
              <a:r>
                <a:rPr lang="en-US" sz="16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0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900">
                <a:solidFill>
                  <a:srgbClr val="000000"/>
                </a:solidFill>
              </a:endParaRPr>
            </a:p>
          </p:txBody>
        </p:sp>
        <p:sp>
          <p:nvSpPr>
            <p:cNvPr id="41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397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194128" fontAlgn="base">
                <a:spcBef>
                  <a:spcPct val="0"/>
                </a:spcBef>
                <a:spcAft>
                  <a:spcPct val="0"/>
                </a:spcAft>
                <a:buClr>
                  <a:srgbClr val="FF6600"/>
                </a:buClr>
              </a:pPr>
              <a:r>
                <a:rPr lang="en-US" sz="16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2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900">
                <a:solidFill>
                  <a:srgbClr val="000000"/>
                </a:solidFill>
              </a:endParaRPr>
            </a:p>
          </p:txBody>
        </p:sp>
      </p:grpSp>
      <p:grpSp>
        <p:nvGrpSpPr>
          <p:cNvPr id="43" name="LegendLines" hidden="1"/>
          <p:cNvGrpSpPr>
            <a:grpSpLocks/>
          </p:cNvGrpSpPr>
          <p:nvPr/>
        </p:nvGrpSpPr>
        <p:grpSpPr bwMode="auto">
          <a:xfrm>
            <a:off x="8207556" y="953735"/>
            <a:ext cx="1291564" cy="973668"/>
            <a:chOff x="4750" y="176"/>
            <a:chExt cx="751" cy="460"/>
          </a:xfrm>
        </p:grpSpPr>
        <p:sp>
          <p:nvSpPr>
            <p:cNvPr id="44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900">
                <a:solidFill>
                  <a:srgbClr val="000000"/>
                </a:solidFill>
              </a:endParaRPr>
            </a:p>
          </p:txBody>
        </p:sp>
        <p:sp>
          <p:nvSpPr>
            <p:cNvPr id="45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900">
                <a:solidFill>
                  <a:srgbClr val="000000"/>
                </a:solidFill>
              </a:endParaRPr>
            </a:p>
          </p:txBody>
        </p:sp>
        <p:sp>
          <p:nvSpPr>
            <p:cNvPr id="46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900">
                <a:solidFill>
                  <a:srgbClr val="000000"/>
                </a:solidFill>
              </a:endParaRPr>
            </a:p>
          </p:txBody>
        </p:sp>
        <p:sp>
          <p:nvSpPr>
            <p:cNvPr id="47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397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194128" fontAlgn="base">
                <a:spcBef>
                  <a:spcPct val="0"/>
                </a:spcBef>
                <a:spcAft>
                  <a:spcPct val="0"/>
                </a:spcAft>
                <a:buClr>
                  <a:srgbClr val="FF6600"/>
                </a:buClr>
              </a:pPr>
              <a:r>
                <a:rPr lang="en-US" sz="16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8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397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194128" fontAlgn="base">
                <a:spcBef>
                  <a:spcPct val="0"/>
                </a:spcBef>
                <a:spcAft>
                  <a:spcPct val="0"/>
                </a:spcAft>
                <a:buClr>
                  <a:srgbClr val="FF6600"/>
                </a:buClr>
              </a:pPr>
              <a:r>
                <a:rPr lang="en-US" sz="16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9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397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194128" fontAlgn="base">
                <a:spcBef>
                  <a:spcPct val="0"/>
                </a:spcBef>
                <a:spcAft>
                  <a:spcPct val="0"/>
                </a:spcAft>
                <a:buClr>
                  <a:srgbClr val="FF6600"/>
                </a:buClr>
              </a:pPr>
              <a:r>
                <a:rPr lang="en-US" sz="1600" dirty="0">
                  <a:solidFill>
                    <a:srgbClr val="000000"/>
                  </a:solidFill>
                </a:rPr>
                <a:t>Legend</a:t>
              </a:r>
            </a:p>
          </p:txBody>
        </p:sp>
      </p:grpSp>
      <p:grpSp>
        <p:nvGrpSpPr>
          <p:cNvPr id="50" name="McKSticker" hidden="1"/>
          <p:cNvGrpSpPr/>
          <p:nvPr/>
        </p:nvGrpSpPr>
        <p:grpSpPr bwMode="auto">
          <a:xfrm>
            <a:off x="7946996" y="953736"/>
            <a:ext cx="1421415" cy="283154"/>
            <a:chOff x="7428698" y="285750"/>
            <a:chExt cx="1312077" cy="212365"/>
          </a:xfrm>
        </p:grpSpPr>
        <p:sp>
          <p:nvSpPr>
            <p:cNvPr id="51" name="StickerRectangle"/>
            <p:cNvSpPr>
              <a:spLocks noChangeArrowheads="1"/>
            </p:cNvSpPr>
            <p:nvPr/>
          </p:nvSpPr>
          <p:spPr bwMode="auto">
            <a:xfrm>
              <a:off x="7428698" y="285750"/>
              <a:ext cx="1312077" cy="212365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36576" tIns="0" rIns="0" bIns="36576">
              <a:spAutoFit/>
            </a:bodyPr>
            <a:lstStyle/>
            <a:p>
              <a:pPr algn="r" defTabSz="1194128" fontAlgn="base">
                <a:spcBef>
                  <a:spcPct val="0"/>
                </a:spcBef>
                <a:spcAft>
                  <a:spcPct val="0"/>
                </a:spcAft>
                <a:buClr>
                  <a:srgbClr val="FF6600"/>
                </a:buClr>
              </a:pPr>
              <a:r>
                <a:rPr lang="en-US" sz="1600" dirty="0">
                  <a:solidFill>
                    <a:srgbClr val="808080"/>
                  </a:solidFill>
                </a:rPr>
                <a:t>PRELIMINARY</a:t>
              </a:r>
            </a:p>
          </p:txBody>
        </p:sp>
        <p:cxnSp>
          <p:nvCxnSpPr>
            <p:cNvPr id="52" name="AutoShape 31"/>
            <p:cNvCxnSpPr>
              <a:cxnSpLocks noChangeShapeType="1"/>
              <a:stCxn id="51" idx="2"/>
              <a:endCxn id="51" idx="4"/>
            </p:cNvCxnSpPr>
            <p:nvPr/>
          </p:nvCxnSpPr>
          <p:spPr bwMode="auto">
            <a:xfrm>
              <a:off x="7428698" y="285750"/>
              <a:ext cx="0" cy="212365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53" name="AutoShape 32"/>
            <p:cNvCxnSpPr>
              <a:cxnSpLocks noChangeShapeType="1"/>
              <a:stCxn id="51" idx="4"/>
              <a:endCxn id="51" idx="6"/>
            </p:cNvCxnSpPr>
            <p:nvPr/>
          </p:nvCxnSpPr>
          <p:spPr bwMode="auto">
            <a:xfrm>
              <a:off x="7428698" y="498115"/>
              <a:ext cx="1312077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54" name="LegendMoons" hidden="1"/>
          <p:cNvGrpSpPr/>
          <p:nvPr/>
        </p:nvGrpSpPr>
        <p:grpSpPr bwMode="auto">
          <a:xfrm>
            <a:off x="8468787" y="953737"/>
            <a:ext cx="1030277" cy="1742021"/>
            <a:chOff x="7769225" y="2105025"/>
            <a:chExt cx="951024" cy="1306516"/>
          </a:xfrm>
        </p:grpSpPr>
        <p:grpSp>
          <p:nvGrpSpPr>
            <p:cNvPr id="55" name="MoonLegend1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auto">
            <a:xfrm>
              <a:off x="7769225" y="2105025"/>
              <a:ext cx="209550" cy="209551"/>
              <a:chOff x="4533" y="183"/>
              <a:chExt cx="144" cy="144"/>
            </a:xfrm>
          </p:grpSpPr>
          <p:sp>
            <p:nvSpPr>
              <p:cNvPr id="73" name="Oval 38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900">
                  <a:solidFill>
                    <a:srgbClr val="000000"/>
                  </a:solidFill>
                </a:endParaRPr>
              </a:p>
            </p:txBody>
          </p:sp>
          <p:sp>
            <p:nvSpPr>
              <p:cNvPr id="74" name="Arc 39" hidden="1"/>
              <p:cNvSpPr>
                <a:spLocks noChangeAspect="1"/>
              </p:cNvSpPr>
              <p:nvPr>
                <p:custDataLst>
                  <p:tags r:id="rId22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90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56" name="MoonLegend2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auto">
            <a:xfrm>
              <a:off x="7769225" y="2379266"/>
              <a:ext cx="209550" cy="209551"/>
              <a:chOff x="1694" y="2044"/>
              <a:chExt cx="160" cy="160"/>
            </a:xfrm>
          </p:grpSpPr>
          <p:sp>
            <p:nvSpPr>
              <p:cNvPr id="71" name="Oval 41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900">
                  <a:solidFill>
                    <a:srgbClr val="000000"/>
                  </a:solidFill>
                </a:endParaRPr>
              </a:p>
            </p:txBody>
          </p:sp>
          <p:sp>
            <p:nvSpPr>
              <p:cNvPr id="72" name="Arc 42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90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57" name="MoonLegend4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auto">
            <a:xfrm>
              <a:off x="7769225" y="2927748"/>
              <a:ext cx="209550" cy="209551"/>
              <a:chOff x="4495" y="1198"/>
              <a:chExt cx="160" cy="160"/>
            </a:xfrm>
          </p:grpSpPr>
          <p:sp>
            <p:nvSpPr>
              <p:cNvPr id="69" name="Oval 47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900">
                  <a:solidFill>
                    <a:srgbClr val="000000"/>
                  </a:solidFill>
                </a:endParaRPr>
              </a:p>
            </p:txBody>
          </p:sp>
          <p:sp>
            <p:nvSpPr>
              <p:cNvPr id="70" name="Arc 48"/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90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58" name="MoonLegend5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auto">
            <a:xfrm>
              <a:off x="7769225" y="3201990"/>
              <a:ext cx="209550" cy="209551"/>
              <a:chOff x="4495" y="1440"/>
              <a:chExt cx="160" cy="160"/>
            </a:xfrm>
          </p:grpSpPr>
          <p:sp>
            <p:nvSpPr>
              <p:cNvPr id="67" name="Oval 50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900">
                  <a:solidFill>
                    <a:srgbClr val="000000"/>
                  </a:solidFill>
                </a:endParaRPr>
              </a:p>
            </p:txBody>
          </p:sp>
          <p:sp>
            <p:nvSpPr>
              <p:cNvPr id="68" name="Oval 51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900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59" name="Legend1"/>
            <p:cNvSpPr>
              <a:spLocks noChangeArrowheads="1"/>
            </p:cNvSpPr>
            <p:nvPr/>
          </p:nvSpPr>
          <p:spPr bwMode="auto">
            <a:xfrm>
              <a:off x="8089900" y="2117725"/>
              <a:ext cx="630349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194128" fontAlgn="base">
                <a:spcBef>
                  <a:spcPct val="0"/>
                </a:spcBef>
                <a:spcAft>
                  <a:spcPct val="0"/>
                </a:spcAft>
                <a:buClr>
                  <a:srgbClr val="FF6600"/>
                </a:buClr>
              </a:pPr>
              <a:r>
                <a:rPr lang="en-US" sz="16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60" name="Legend2"/>
            <p:cNvSpPr>
              <a:spLocks noChangeArrowheads="1"/>
            </p:cNvSpPr>
            <p:nvPr/>
          </p:nvSpPr>
          <p:spPr bwMode="auto">
            <a:xfrm>
              <a:off x="8089900" y="2392363"/>
              <a:ext cx="630349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194128" fontAlgn="base">
                <a:spcBef>
                  <a:spcPct val="0"/>
                </a:spcBef>
                <a:spcAft>
                  <a:spcPct val="0"/>
                </a:spcAft>
                <a:buClr>
                  <a:srgbClr val="FF6600"/>
                </a:buClr>
              </a:pPr>
              <a:r>
                <a:rPr lang="en-US" sz="16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61" name="Legend3"/>
            <p:cNvSpPr>
              <a:spLocks noChangeArrowheads="1"/>
            </p:cNvSpPr>
            <p:nvPr/>
          </p:nvSpPr>
          <p:spPr bwMode="auto">
            <a:xfrm>
              <a:off x="8089900" y="2667002"/>
              <a:ext cx="630349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194128" fontAlgn="base">
                <a:spcBef>
                  <a:spcPct val="0"/>
                </a:spcBef>
                <a:spcAft>
                  <a:spcPct val="0"/>
                </a:spcAft>
                <a:buClr>
                  <a:srgbClr val="FF6600"/>
                </a:buClr>
              </a:pPr>
              <a:r>
                <a:rPr lang="en-US" sz="16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62" name="Legend4"/>
            <p:cNvSpPr>
              <a:spLocks noChangeArrowheads="1"/>
            </p:cNvSpPr>
            <p:nvPr/>
          </p:nvSpPr>
          <p:spPr bwMode="auto">
            <a:xfrm>
              <a:off x="8089900" y="2938465"/>
              <a:ext cx="630349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194128" fontAlgn="base">
                <a:spcBef>
                  <a:spcPct val="0"/>
                </a:spcBef>
                <a:spcAft>
                  <a:spcPct val="0"/>
                </a:spcAft>
                <a:buClr>
                  <a:srgbClr val="FF6600"/>
                </a:buClr>
              </a:pPr>
              <a:r>
                <a:rPr lang="en-US" sz="16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63" name="Legend5"/>
            <p:cNvSpPr>
              <a:spLocks noChangeArrowheads="1"/>
            </p:cNvSpPr>
            <p:nvPr/>
          </p:nvSpPr>
          <p:spPr bwMode="auto">
            <a:xfrm>
              <a:off x="8089900" y="3214690"/>
              <a:ext cx="630349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194128" fontAlgn="base">
                <a:spcBef>
                  <a:spcPct val="0"/>
                </a:spcBef>
                <a:spcAft>
                  <a:spcPct val="0"/>
                </a:spcAft>
                <a:buClr>
                  <a:srgbClr val="FF6600"/>
                </a:buClr>
              </a:pPr>
              <a:r>
                <a:rPr lang="en-US" sz="1600" dirty="0">
                  <a:solidFill>
                    <a:srgbClr val="000000"/>
                  </a:solidFill>
                </a:rPr>
                <a:t>Legend</a:t>
              </a:r>
            </a:p>
          </p:txBody>
        </p:sp>
        <p:grpSp>
          <p:nvGrpSpPr>
            <p:cNvPr id="64" name="MoonLegend3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auto">
            <a:xfrm>
              <a:off x="7769225" y="2653507"/>
              <a:ext cx="209550" cy="209551"/>
              <a:chOff x="4495" y="1198"/>
              <a:chExt cx="160" cy="160"/>
            </a:xfrm>
          </p:grpSpPr>
          <p:sp>
            <p:nvSpPr>
              <p:cNvPr id="65" name="Oval 47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900">
                  <a:solidFill>
                    <a:srgbClr val="000000"/>
                  </a:solidFill>
                </a:endParaRPr>
              </a:p>
            </p:txBody>
          </p:sp>
          <p:sp>
            <p:nvSpPr>
              <p:cNvPr id="66" name="Arc 48"/>
              <p:cNvSpPr>
                <a:spLocks noChangeAspect="1"/>
              </p:cNvSpPr>
              <p:nvPr>
                <p:custDataLst>
                  <p:tags r:id="rId14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900">
                  <a:solidFill>
                    <a:srgbClr val="000000"/>
                  </a:solidFill>
                </a:endParaRPr>
              </a:p>
            </p:txBody>
          </p:sp>
        </p:grpSp>
      </p:grpSp>
      <p:sp>
        <p:nvSpPr>
          <p:cNvPr id="75" name="Slide Number"/>
          <p:cNvSpPr txBox="1">
            <a:spLocks/>
          </p:cNvSpPr>
          <p:nvPr/>
        </p:nvSpPr>
        <p:spPr bwMode="auto">
          <a:xfrm>
            <a:off x="131613" y="6493947"/>
            <a:ext cx="187552" cy="184666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en-US" sz="1200" b="1" smtClean="0">
                <a:solidFill>
                  <a:srgbClr val="FF6600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1200" b="1" dirty="0">
              <a:solidFill>
                <a:srgbClr val="FF6600"/>
              </a:solidFill>
            </a:endParaRPr>
          </a:p>
        </p:txBody>
      </p:sp>
      <p:grpSp>
        <p:nvGrpSpPr>
          <p:cNvPr id="76" name="Group 75"/>
          <p:cNvGrpSpPr>
            <a:grpSpLocks/>
          </p:cNvGrpSpPr>
          <p:nvPr/>
        </p:nvGrpSpPr>
        <p:grpSpPr bwMode="auto">
          <a:xfrm>
            <a:off x="537587" y="6321425"/>
            <a:ext cx="8830830" cy="357188"/>
            <a:chOff x="930275" y="6321425"/>
            <a:chExt cx="10874375" cy="357188"/>
          </a:xfrm>
        </p:grpSpPr>
        <p:pic>
          <p:nvPicPr>
            <p:cNvPr id="77" name="Picture 32" descr="thinkforward.png"/>
            <p:cNvPicPr>
              <a:picLocks noChangeAspect="1"/>
            </p:cNvPicPr>
            <p:nvPr userDrawn="1"/>
          </p:nvPicPr>
          <p:blipFill>
            <a:blip r:embed="rId2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30275" y="6421438"/>
              <a:ext cx="1955800" cy="254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78" name="Picture 33"/>
            <p:cNvPicPr>
              <a:picLocks noChangeAspect="1"/>
            </p:cNvPicPr>
            <p:nvPr userDrawn="1"/>
          </p:nvPicPr>
          <p:blipFill>
            <a:blip r:embed="rId2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366375" y="6321425"/>
              <a:ext cx="1438275" cy="3571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20278371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5" r:id="rId1"/>
    <p:sldLayoutId id="2147483746" r:id="rId2"/>
    <p:sldLayoutId id="2147483747" r:id="rId3"/>
    <p:sldLayoutId id="2147483748" r:id="rId4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1087940" rtl="0" eaLnBrk="1" fontAlgn="base" hangingPunct="1">
        <a:spcBef>
          <a:spcPct val="0"/>
        </a:spcBef>
        <a:spcAft>
          <a:spcPct val="0"/>
        </a:spcAft>
        <a:tabLst>
          <a:tab pos="327925" algn="l"/>
        </a:tabLst>
        <a:defRPr sz="2800" b="0" baseline="0">
          <a:solidFill>
            <a:schemeClr val="tx2"/>
          </a:solidFill>
          <a:latin typeface="+mj-lt"/>
          <a:ea typeface="Arial Unicode MS" pitchFamily="34" charset="-128"/>
          <a:cs typeface="Arial Unicode MS" pitchFamily="34" charset="-128"/>
        </a:defRPr>
      </a:lvl1pPr>
      <a:lvl2pPr algn="l" defTabSz="1087940" rtl="0" eaLnBrk="1" fontAlgn="base" hangingPunct="1">
        <a:spcBef>
          <a:spcPct val="0"/>
        </a:spcBef>
        <a:spcAft>
          <a:spcPct val="0"/>
        </a:spcAft>
        <a:defRPr sz="2300" b="1">
          <a:solidFill>
            <a:schemeClr val="tx2"/>
          </a:solidFill>
          <a:latin typeface="Arial" charset="0"/>
        </a:defRPr>
      </a:lvl2pPr>
      <a:lvl3pPr algn="l" defTabSz="1087940" rtl="0" eaLnBrk="1" fontAlgn="base" hangingPunct="1">
        <a:spcBef>
          <a:spcPct val="0"/>
        </a:spcBef>
        <a:spcAft>
          <a:spcPct val="0"/>
        </a:spcAft>
        <a:defRPr sz="2300" b="1">
          <a:solidFill>
            <a:schemeClr val="tx2"/>
          </a:solidFill>
          <a:latin typeface="Arial" charset="0"/>
        </a:defRPr>
      </a:lvl3pPr>
      <a:lvl4pPr algn="l" defTabSz="1087940" rtl="0" eaLnBrk="1" fontAlgn="base" hangingPunct="1">
        <a:spcBef>
          <a:spcPct val="0"/>
        </a:spcBef>
        <a:spcAft>
          <a:spcPct val="0"/>
        </a:spcAft>
        <a:defRPr sz="2300" b="1">
          <a:solidFill>
            <a:schemeClr val="tx2"/>
          </a:solidFill>
          <a:latin typeface="Arial" charset="0"/>
        </a:defRPr>
      </a:lvl4pPr>
      <a:lvl5pPr algn="l" defTabSz="1087940" rtl="0" eaLnBrk="1" fontAlgn="base" hangingPunct="1">
        <a:spcBef>
          <a:spcPct val="0"/>
        </a:spcBef>
        <a:spcAft>
          <a:spcPct val="0"/>
        </a:spcAft>
        <a:defRPr sz="2300" b="1">
          <a:solidFill>
            <a:schemeClr val="tx2"/>
          </a:solidFill>
          <a:latin typeface="Arial" charset="0"/>
        </a:defRPr>
      </a:lvl5pPr>
      <a:lvl6pPr marL="555544" algn="l" defTabSz="1087940" rtl="0" eaLnBrk="1" fontAlgn="base" hangingPunct="1">
        <a:spcBef>
          <a:spcPct val="0"/>
        </a:spcBef>
        <a:spcAft>
          <a:spcPct val="0"/>
        </a:spcAft>
        <a:defRPr sz="2300" b="1">
          <a:solidFill>
            <a:schemeClr val="tx2"/>
          </a:solidFill>
          <a:latin typeface="Arial" charset="0"/>
        </a:defRPr>
      </a:lvl6pPr>
      <a:lvl7pPr marL="1111087" algn="l" defTabSz="1087940" rtl="0" eaLnBrk="1" fontAlgn="base" hangingPunct="1">
        <a:spcBef>
          <a:spcPct val="0"/>
        </a:spcBef>
        <a:spcAft>
          <a:spcPct val="0"/>
        </a:spcAft>
        <a:defRPr sz="2300" b="1">
          <a:solidFill>
            <a:schemeClr val="tx2"/>
          </a:solidFill>
          <a:latin typeface="Arial" charset="0"/>
        </a:defRPr>
      </a:lvl7pPr>
      <a:lvl8pPr marL="1666631" algn="l" defTabSz="1087940" rtl="0" eaLnBrk="1" fontAlgn="base" hangingPunct="1">
        <a:spcBef>
          <a:spcPct val="0"/>
        </a:spcBef>
        <a:spcAft>
          <a:spcPct val="0"/>
        </a:spcAft>
        <a:defRPr sz="2300" b="1">
          <a:solidFill>
            <a:schemeClr val="tx2"/>
          </a:solidFill>
          <a:latin typeface="Arial" charset="0"/>
        </a:defRPr>
      </a:lvl8pPr>
      <a:lvl9pPr marL="2222175" algn="l" defTabSz="1087940" rtl="0" eaLnBrk="1" fontAlgn="base" hangingPunct="1">
        <a:spcBef>
          <a:spcPct val="0"/>
        </a:spcBef>
        <a:spcAft>
          <a:spcPct val="0"/>
        </a:spcAft>
        <a:defRPr sz="23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1087940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9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1pPr>
      <a:lvl2pPr marL="235334" indent="-233406" algn="l" defTabSz="108794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pitchFamily="34" charset="0"/>
        <a:buChar char="•"/>
        <a:defRPr sz="19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2pPr>
      <a:lvl3pPr marL="555544" indent="-318281" algn="l" defTabSz="108794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9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3pPr>
      <a:lvl4pPr marL="746512" indent="-189039" algn="l" defTabSz="108794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buFont typeface="Arial" pitchFamily="34" charset="0"/>
        <a:buChar char="•"/>
        <a:defRPr sz="19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4pPr>
      <a:lvl5pPr marL="911092" indent="-158176" algn="l" defTabSz="108794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9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5pPr>
      <a:lvl6pPr marL="911092" indent="-158176" algn="l" defTabSz="108794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900" baseline="0">
          <a:solidFill>
            <a:schemeClr val="tx1"/>
          </a:solidFill>
          <a:latin typeface="+mn-lt"/>
        </a:defRPr>
      </a:lvl6pPr>
      <a:lvl7pPr marL="911092" indent="-158176" algn="l" defTabSz="108794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900" baseline="0">
          <a:solidFill>
            <a:schemeClr val="tx1"/>
          </a:solidFill>
          <a:latin typeface="+mn-lt"/>
        </a:defRPr>
      </a:lvl7pPr>
      <a:lvl8pPr marL="911092" indent="-158176" algn="l" defTabSz="108794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900" baseline="0">
          <a:solidFill>
            <a:schemeClr val="tx1"/>
          </a:solidFill>
          <a:latin typeface="+mn-lt"/>
        </a:defRPr>
      </a:lvl8pPr>
      <a:lvl9pPr marL="911092" indent="-158176" algn="l" defTabSz="108794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9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111087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1pPr>
      <a:lvl2pPr marL="555544" algn="l" defTabSz="1111087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2pPr>
      <a:lvl3pPr marL="1111087" algn="l" defTabSz="1111087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3pPr>
      <a:lvl4pPr marL="1666631" algn="l" defTabSz="1111087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4pPr>
      <a:lvl5pPr marL="2222175" algn="l" defTabSz="1111087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5pPr>
      <a:lvl6pPr marL="2777719" algn="l" defTabSz="1111087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6pPr>
      <a:lvl7pPr marL="3333262" algn="l" defTabSz="1111087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7pPr>
      <a:lvl8pPr marL="3888806" algn="l" defTabSz="1111087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8pPr>
      <a:lvl9pPr marL="4444350" algn="l" defTabSz="1111087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6" name="Group 35"/>
          <p:cNvGrpSpPr/>
          <p:nvPr/>
        </p:nvGrpSpPr>
        <p:grpSpPr>
          <a:xfrm>
            <a:off x="563662" y="6230182"/>
            <a:ext cx="9342338" cy="627821"/>
            <a:chOff x="693738" y="6230179"/>
            <a:chExt cx="11498262" cy="627821"/>
          </a:xfrm>
        </p:grpSpPr>
        <p:sp>
          <p:nvSpPr>
            <p:cNvPr id="37" name="Freeform 9"/>
            <p:cNvSpPr>
              <a:spLocks/>
            </p:cNvSpPr>
            <p:nvPr userDrawn="1"/>
          </p:nvSpPr>
          <p:spPr bwMode="auto">
            <a:xfrm>
              <a:off x="693738" y="6432353"/>
              <a:ext cx="10988675" cy="131762"/>
            </a:xfrm>
            <a:custGeom>
              <a:avLst/>
              <a:gdLst>
                <a:gd name="T0" fmla="*/ 2927 w 2927"/>
                <a:gd name="T1" fmla="*/ 0 h 32"/>
                <a:gd name="T2" fmla="*/ 32 w 2927"/>
                <a:gd name="T3" fmla="*/ 0 h 32"/>
                <a:gd name="T4" fmla="*/ 0 w 2927"/>
                <a:gd name="T5" fmla="*/ 32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927" h="32">
                  <a:moveTo>
                    <a:pt x="2927" y="0"/>
                  </a:moveTo>
                  <a:cubicBezTo>
                    <a:pt x="32" y="0"/>
                    <a:pt x="32" y="0"/>
                    <a:pt x="32" y="0"/>
                  </a:cubicBezTo>
                  <a:cubicBezTo>
                    <a:pt x="0" y="0"/>
                    <a:pt x="0" y="32"/>
                    <a:pt x="0" y="32"/>
                  </a:cubicBezTo>
                </a:path>
              </a:pathLst>
            </a:custGeom>
            <a:noFill/>
            <a:ln w="3175" cap="flat">
              <a:solidFill>
                <a:srgbClr val="333333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333333"/>
                </a:solidFill>
              </a:endParaRPr>
            </a:p>
          </p:txBody>
        </p:sp>
        <p:sp>
          <p:nvSpPr>
            <p:cNvPr id="38" name="Rectangle 37"/>
            <p:cNvSpPr/>
            <p:nvPr userDrawn="1"/>
          </p:nvSpPr>
          <p:spPr bwMode="white">
            <a:xfrm>
              <a:off x="10419789" y="6230179"/>
              <a:ext cx="1772211" cy="627821"/>
            </a:xfrm>
            <a:prstGeom prst="rect">
              <a:avLst/>
            </a:prstGeom>
            <a:solidFill>
              <a:srgbClr val="FFFFFF"/>
            </a:solidFill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</a:pPr>
              <a:endParaRPr lang="en-GB" sz="1600" smtClean="0">
                <a:solidFill>
                  <a:prstClr val="white"/>
                </a:solidFill>
              </a:endParaRPr>
            </a:p>
          </p:txBody>
        </p:sp>
      </p:grp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auto">
          <a:xfrm>
            <a:off x="687031" y="280736"/>
            <a:ext cx="8522455" cy="854075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687031" y="1278003"/>
            <a:ext cx="8522455" cy="492279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21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681038" y="6498812"/>
            <a:ext cx="402431" cy="188119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0" b="1">
                <a:solidFill>
                  <a:schemeClr val="tx1"/>
                </a:solidFill>
              </a:defRPr>
            </a:lvl1pPr>
          </a:lstStyle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  <p:grpSp>
        <p:nvGrpSpPr>
          <p:cNvPr id="102" name="Group 101"/>
          <p:cNvGrpSpPr/>
          <p:nvPr/>
        </p:nvGrpSpPr>
        <p:grpSpPr bwMode="gray">
          <a:xfrm>
            <a:off x="-1653580" y="0"/>
            <a:ext cx="1521000" cy="4689612"/>
            <a:chOff x="-2581275" y="595116"/>
            <a:chExt cx="1872000" cy="4689612"/>
          </a:xfrm>
        </p:grpSpPr>
        <p:sp>
          <p:nvSpPr>
            <p:cNvPr id="103" name="Rectangle 104"/>
            <p:cNvSpPr>
              <a:spLocks noChangeArrowheads="1"/>
            </p:cNvSpPr>
            <p:nvPr/>
          </p:nvSpPr>
          <p:spPr bwMode="gray">
            <a:xfrm>
              <a:off x="-2581275" y="4276728"/>
              <a:ext cx="1872000" cy="100800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104" name="Rectangle 104"/>
            <p:cNvSpPr>
              <a:spLocks noChangeArrowheads="1"/>
            </p:cNvSpPr>
            <p:nvPr userDrawn="1"/>
          </p:nvSpPr>
          <p:spPr bwMode="gray">
            <a:xfrm>
              <a:off x="-2581275" y="595116"/>
              <a:ext cx="1872000" cy="3672087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105" name="Rectangle 105"/>
            <p:cNvSpPr>
              <a:spLocks noChangeArrowheads="1"/>
            </p:cNvSpPr>
            <p:nvPr userDrawn="1"/>
          </p:nvSpPr>
          <p:spPr bwMode="gray">
            <a:xfrm>
              <a:off x="-2449513" y="1136650"/>
              <a:ext cx="215900" cy="215900"/>
            </a:xfrm>
            <a:prstGeom prst="rect">
              <a:avLst/>
            </a:prstGeom>
            <a:solidFill>
              <a:srgbClr val="FF6200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106" name="Rectangle 106"/>
            <p:cNvSpPr>
              <a:spLocks noChangeArrowheads="1"/>
            </p:cNvSpPr>
            <p:nvPr userDrawn="1"/>
          </p:nvSpPr>
          <p:spPr bwMode="gray">
            <a:xfrm>
              <a:off x="-2159000" y="1146175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Orang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55, 98, 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107" name="Rectangle 107"/>
            <p:cNvSpPr>
              <a:spLocks noChangeArrowheads="1"/>
            </p:cNvSpPr>
            <p:nvPr userDrawn="1"/>
          </p:nvSpPr>
          <p:spPr bwMode="gray">
            <a:xfrm>
              <a:off x="-2449513" y="1571626"/>
              <a:ext cx="215900" cy="215900"/>
            </a:xfrm>
            <a:prstGeom prst="rect">
              <a:avLst/>
            </a:prstGeom>
            <a:solidFill>
              <a:srgbClr val="A8A8A8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108" name="Rectangle 108"/>
            <p:cNvSpPr>
              <a:spLocks noChangeArrowheads="1"/>
            </p:cNvSpPr>
            <p:nvPr userDrawn="1"/>
          </p:nvSpPr>
          <p:spPr bwMode="gray">
            <a:xfrm>
              <a:off x="-2159000" y="15970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ght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68, 168, 16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109" name="Rectangle 109"/>
            <p:cNvSpPr>
              <a:spLocks noChangeArrowheads="1"/>
            </p:cNvSpPr>
            <p:nvPr userDrawn="1"/>
          </p:nvSpPr>
          <p:spPr bwMode="gray">
            <a:xfrm>
              <a:off x="-2449513" y="2058988"/>
              <a:ext cx="215900" cy="215900"/>
            </a:xfrm>
            <a:prstGeom prst="rect">
              <a:avLst/>
            </a:prstGeom>
            <a:solidFill>
              <a:srgbClr val="52519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110" name="Rectangle 110"/>
            <p:cNvSpPr>
              <a:spLocks noChangeArrowheads="1"/>
            </p:cNvSpPr>
            <p:nvPr userDrawn="1"/>
          </p:nvSpPr>
          <p:spPr bwMode="gray">
            <a:xfrm>
              <a:off x="-2159000" y="2068513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Indigo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82, 81, 153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111" name="Rectangle 111"/>
            <p:cNvSpPr>
              <a:spLocks noChangeArrowheads="1"/>
            </p:cNvSpPr>
            <p:nvPr userDrawn="1"/>
          </p:nvSpPr>
          <p:spPr bwMode="gray">
            <a:xfrm>
              <a:off x="-2449513" y="2527301"/>
              <a:ext cx="215900" cy="215900"/>
            </a:xfrm>
            <a:prstGeom prst="rect">
              <a:avLst/>
            </a:prstGeom>
            <a:solidFill>
              <a:srgbClr val="60A6DA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112" name="Rectangle 112"/>
            <p:cNvSpPr>
              <a:spLocks noChangeArrowheads="1"/>
            </p:cNvSpPr>
            <p:nvPr userDrawn="1"/>
          </p:nvSpPr>
          <p:spPr bwMode="gray">
            <a:xfrm>
              <a:off x="-2159000" y="25368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Sk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96, 166, 2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113" name="Rectangle 113"/>
            <p:cNvSpPr>
              <a:spLocks noChangeArrowheads="1"/>
            </p:cNvSpPr>
            <p:nvPr userDrawn="1"/>
          </p:nvSpPr>
          <p:spPr bwMode="gray">
            <a:xfrm>
              <a:off x="-2449513" y="762000"/>
              <a:ext cx="1692000" cy="165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90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200" b="1" smtClean="0">
                  <a:solidFill>
                    <a:srgbClr val="333333"/>
                  </a:solidFill>
                </a:rPr>
                <a:t>Colour Guidelines</a:t>
              </a:r>
              <a:endParaRPr lang="en-GB" altLang="en-US" sz="1200" b="1">
                <a:solidFill>
                  <a:srgbClr val="333333"/>
                </a:solidFill>
              </a:endParaRPr>
            </a:p>
          </p:txBody>
        </p:sp>
        <p:sp>
          <p:nvSpPr>
            <p:cNvPr id="114" name="Rectangle 107"/>
            <p:cNvSpPr>
              <a:spLocks noChangeArrowheads="1"/>
            </p:cNvSpPr>
            <p:nvPr/>
          </p:nvSpPr>
          <p:spPr bwMode="gray">
            <a:xfrm>
              <a:off x="-2449513" y="2962277"/>
              <a:ext cx="215900" cy="215900"/>
            </a:xfrm>
            <a:prstGeom prst="rect">
              <a:avLst/>
            </a:prstGeom>
            <a:solidFill>
              <a:srgbClr val="AB006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115" name="Rectangle 108"/>
            <p:cNvSpPr>
              <a:spLocks noChangeArrowheads="1"/>
            </p:cNvSpPr>
            <p:nvPr/>
          </p:nvSpPr>
          <p:spPr bwMode="gray">
            <a:xfrm>
              <a:off x="-2159000" y="29876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Fuchsia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71, 0, 102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116" name="Rectangle 109"/>
            <p:cNvSpPr>
              <a:spLocks noChangeArrowheads="1"/>
            </p:cNvSpPr>
            <p:nvPr/>
          </p:nvSpPr>
          <p:spPr bwMode="gray">
            <a:xfrm>
              <a:off x="-2449513" y="3449639"/>
              <a:ext cx="215900" cy="215900"/>
            </a:xfrm>
            <a:prstGeom prst="rect">
              <a:avLst/>
            </a:prstGeom>
            <a:solidFill>
              <a:srgbClr val="D0D93C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117" name="Rectangle 110"/>
            <p:cNvSpPr>
              <a:spLocks noChangeArrowheads="1"/>
            </p:cNvSpPr>
            <p:nvPr/>
          </p:nvSpPr>
          <p:spPr bwMode="gray">
            <a:xfrm>
              <a:off x="-2159000" y="3459164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m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08, 217, 6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118" name="Rectangle 111"/>
            <p:cNvSpPr>
              <a:spLocks noChangeArrowheads="1"/>
            </p:cNvSpPr>
            <p:nvPr/>
          </p:nvSpPr>
          <p:spPr bwMode="gray">
            <a:xfrm>
              <a:off x="-2449513" y="3917952"/>
              <a:ext cx="215900" cy="215900"/>
            </a:xfrm>
            <a:prstGeom prst="rect">
              <a:avLst/>
            </a:prstGeom>
            <a:solidFill>
              <a:srgbClr val="01964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119" name="Rectangle 112"/>
            <p:cNvSpPr>
              <a:spLocks noChangeArrowheads="1"/>
            </p:cNvSpPr>
            <p:nvPr/>
          </p:nvSpPr>
          <p:spPr bwMode="gray">
            <a:xfrm>
              <a:off x="-2159000" y="39274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eaf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2, 150, 8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120" name="Rectangle 109"/>
            <p:cNvSpPr>
              <a:spLocks noChangeArrowheads="1"/>
            </p:cNvSpPr>
            <p:nvPr/>
          </p:nvSpPr>
          <p:spPr bwMode="gray">
            <a:xfrm>
              <a:off x="-2449513" y="4405314"/>
              <a:ext cx="215900" cy="215900"/>
            </a:xfrm>
            <a:prstGeom prst="rect">
              <a:avLst/>
            </a:prstGeom>
            <a:solidFill>
              <a:srgbClr val="76767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121" name="Rectangle 110"/>
            <p:cNvSpPr>
              <a:spLocks noChangeArrowheads="1"/>
            </p:cNvSpPr>
            <p:nvPr/>
          </p:nvSpPr>
          <p:spPr bwMode="gray">
            <a:xfrm>
              <a:off x="-2159000" y="4414839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Mid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18, 118, 1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122" name="Rectangle 111"/>
            <p:cNvSpPr>
              <a:spLocks noChangeArrowheads="1"/>
            </p:cNvSpPr>
            <p:nvPr/>
          </p:nvSpPr>
          <p:spPr bwMode="gray">
            <a:xfrm>
              <a:off x="-2449513" y="4873627"/>
              <a:ext cx="215900" cy="215900"/>
            </a:xfrm>
            <a:prstGeom prst="rect">
              <a:avLst/>
            </a:prstGeom>
            <a:solidFill>
              <a:srgbClr val="333333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123" name="Rectangle 112"/>
            <p:cNvSpPr>
              <a:spLocks noChangeArrowheads="1"/>
            </p:cNvSpPr>
            <p:nvPr/>
          </p:nvSpPr>
          <p:spPr bwMode="gray">
            <a:xfrm>
              <a:off x="-2159000" y="4883152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Text Colour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1, 51, 5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</p:grpSp>
      <p:grpSp>
        <p:nvGrpSpPr>
          <p:cNvPr id="46" name="Group 45"/>
          <p:cNvGrpSpPr/>
          <p:nvPr/>
        </p:nvGrpSpPr>
        <p:grpSpPr>
          <a:xfrm>
            <a:off x="-1657860" y="6362703"/>
            <a:ext cx="1521000" cy="500063"/>
            <a:chOff x="-2040443" y="6445247"/>
            <a:chExt cx="1872000" cy="417516"/>
          </a:xfrm>
        </p:grpSpPr>
        <p:sp>
          <p:nvSpPr>
            <p:cNvPr id="47" name="Rectangle 104"/>
            <p:cNvSpPr>
              <a:spLocks noChangeArrowheads="1"/>
            </p:cNvSpPr>
            <p:nvPr userDrawn="1"/>
          </p:nvSpPr>
          <p:spPr bwMode="gray">
            <a:xfrm>
              <a:off x="-2040443" y="6445247"/>
              <a:ext cx="1462593" cy="417516"/>
            </a:xfrm>
            <a:prstGeom prst="rect">
              <a:avLst/>
            </a:prstGeom>
            <a:solidFill>
              <a:srgbClr val="60A6DA"/>
            </a:solidFill>
            <a:ln>
              <a:noFill/>
            </a:ln>
            <a:effectLst/>
          </p:spPr>
          <p:txBody>
            <a:bodyPr wrap="square" lIns="72000" tIns="180000" rIns="72000" bIns="180000" anchor="ctr">
              <a:noAutofit/>
            </a:bodyPr>
            <a:lstStyle/>
            <a:p>
              <a:pPr>
                <a:lnSpc>
                  <a:spcPct val="90000"/>
                </a:lnSpc>
                <a:spcBef>
                  <a:spcPct val="20000"/>
                </a:spcBef>
                <a:spcAft>
                  <a:spcPct val="20000"/>
                </a:spcAft>
                <a:defRPr/>
              </a:pPr>
              <a:r>
                <a:rPr lang="en-GB" altLang="en-US" sz="1200" b="1" kern="0" dirty="0" smtClean="0">
                  <a:solidFill>
                    <a:srgbClr val="FDFDFD"/>
                  </a:solidFill>
                </a:rPr>
                <a:t>No content below </a:t>
              </a:r>
              <a:br>
                <a:rPr lang="en-GB" altLang="en-US" sz="1200" b="1" kern="0" dirty="0" smtClean="0">
                  <a:solidFill>
                    <a:srgbClr val="FDFDFD"/>
                  </a:solidFill>
                </a:rPr>
              </a:br>
              <a:r>
                <a:rPr lang="en-GB" altLang="en-US" sz="1200" b="1" kern="0" dirty="0" smtClean="0">
                  <a:solidFill>
                    <a:srgbClr val="FDFDFD"/>
                  </a:solidFill>
                </a:rPr>
                <a:t>the grey line</a:t>
              </a:r>
              <a:endParaRPr lang="en-GB" altLang="en-US" sz="1200" b="1" kern="0" dirty="0">
                <a:solidFill>
                  <a:srgbClr val="FDFDFD"/>
                </a:solidFill>
              </a:endParaRPr>
            </a:p>
          </p:txBody>
        </p:sp>
        <p:grpSp>
          <p:nvGrpSpPr>
            <p:cNvPr id="48" name="Group 47"/>
            <p:cNvGrpSpPr/>
            <p:nvPr userDrawn="1"/>
          </p:nvGrpSpPr>
          <p:grpSpPr bwMode="gray">
            <a:xfrm>
              <a:off x="-546100" y="6452392"/>
              <a:ext cx="377657" cy="403227"/>
              <a:chOff x="-2035174" y="6454773"/>
              <a:chExt cx="1872000" cy="403227"/>
            </a:xfrm>
          </p:grpSpPr>
          <p:cxnSp>
            <p:nvCxnSpPr>
              <p:cNvPr id="49" name="Straight Connector 48"/>
              <p:cNvCxnSpPr/>
              <p:nvPr userDrawn="1"/>
            </p:nvCxnSpPr>
            <p:spPr bwMode="gray">
              <a:xfrm>
                <a:off x="-2035174" y="6858000"/>
                <a:ext cx="1872000" cy="0"/>
              </a:xfrm>
              <a:prstGeom prst="line">
                <a:avLst/>
              </a:prstGeom>
              <a:noFill/>
              <a:ln w="6350" cap="flat" cmpd="sng" algn="ctr">
                <a:solidFill>
                  <a:srgbClr val="C90068"/>
                </a:solidFill>
                <a:prstDash val="dash"/>
                <a:miter lim="800000"/>
              </a:ln>
              <a:effectLst/>
            </p:spPr>
          </p:cxnSp>
          <p:cxnSp>
            <p:nvCxnSpPr>
              <p:cNvPr id="50" name="Straight Connector 49"/>
              <p:cNvCxnSpPr/>
              <p:nvPr userDrawn="1"/>
            </p:nvCxnSpPr>
            <p:spPr bwMode="gray">
              <a:xfrm>
                <a:off x="-2035174" y="6454773"/>
                <a:ext cx="1872000" cy="0"/>
              </a:xfrm>
              <a:prstGeom prst="line">
                <a:avLst/>
              </a:prstGeom>
              <a:noFill/>
              <a:ln w="6350" cap="flat" cmpd="sng" algn="ctr">
                <a:solidFill>
                  <a:srgbClr val="C90068"/>
                </a:solidFill>
                <a:prstDash val="dash"/>
                <a:miter lim="800000"/>
              </a:ln>
              <a:effectLst/>
            </p:spPr>
          </p:cxnSp>
        </p:grpSp>
      </p:grpSp>
      <p:pic>
        <p:nvPicPr>
          <p:cNvPr id="35" name="Picture 34"/>
          <p:cNvPicPr>
            <a:picLocks noChangeAspect="1"/>
          </p:cNvPicPr>
          <p:nvPr/>
        </p:nvPicPr>
        <p:blipFill>
          <a:blip r:embed="rId3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466554" y="4402733"/>
            <a:ext cx="125761" cy="138908"/>
          </a:xfrm>
          <a:prstGeom prst="rect">
            <a:avLst/>
          </a:prstGeom>
        </p:spPr>
      </p:pic>
      <p:pic>
        <p:nvPicPr>
          <p:cNvPr id="42" name="Picture 41"/>
          <p:cNvPicPr>
            <a:picLocks noChangeAspect="1"/>
          </p:cNvPicPr>
          <p:nvPr/>
        </p:nvPicPr>
        <p:blipFill>
          <a:blip r:embed="rId3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12789" y="6358072"/>
            <a:ext cx="961391" cy="2946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598791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0" r:id="rId1"/>
    <p:sldLayoutId id="2147483751" r:id="rId2"/>
    <p:sldLayoutId id="2147483752" r:id="rId3"/>
    <p:sldLayoutId id="2147483753" r:id="rId4"/>
    <p:sldLayoutId id="2147483754" r:id="rId5"/>
    <p:sldLayoutId id="2147483755" r:id="rId6"/>
    <p:sldLayoutId id="2147483756" r:id="rId7"/>
    <p:sldLayoutId id="2147483757" r:id="rId8"/>
    <p:sldLayoutId id="2147483758" r:id="rId9"/>
    <p:sldLayoutId id="2147483759" r:id="rId10"/>
    <p:sldLayoutId id="2147483760" r:id="rId11"/>
    <p:sldLayoutId id="2147483761" r:id="rId12"/>
    <p:sldLayoutId id="2147483762" r:id="rId13"/>
    <p:sldLayoutId id="2147483763" r:id="rId14"/>
    <p:sldLayoutId id="2147483764" r:id="rId15"/>
    <p:sldLayoutId id="2147483765" r:id="rId16"/>
    <p:sldLayoutId id="2147483766" r:id="rId17"/>
    <p:sldLayoutId id="2147483767" r:id="rId18"/>
    <p:sldLayoutId id="2147483768" r:id="rId19"/>
    <p:sldLayoutId id="2147483769" r:id="rId20"/>
    <p:sldLayoutId id="2147483770" r:id="rId21"/>
    <p:sldLayoutId id="2147483771" r:id="rId22"/>
    <p:sldLayoutId id="2147483772" r:id="rId23"/>
    <p:sldLayoutId id="2147483773" r:id="rId24"/>
    <p:sldLayoutId id="2147483774" r:id="rId25"/>
    <p:sldLayoutId id="2147483775" r:id="rId26"/>
    <p:sldLayoutId id="2147483776" r:id="rId27"/>
    <p:sldLayoutId id="2147483777" r:id="rId28"/>
    <p:sldLayoutId id="2147483778" r:id="rId29"/>
    <p:sldLayoutId id="2147483779" r:id="rId30"/>
    <p:sldLayoutId id="2147483780" r:id="rId31"/>
    <p:sldLayoutId id="2147483781" r:id="rId32"/>
    <p:sldLayoutId id="2147483782" r:id="rId33"/>
    <p:sldLayoutId id="2147483783" r:id="rId34"/>
  </p:sldLayoutIdLst>
  <p:timing>
    <p:tnLst>
      <p:par>
        <p:cTn id="1" dur="indefinite" restart="never" nodeType="tmRoot"/>
      </p:par>
    </p:tnLst>
  </p:timing>
  <p:hf hdr="0" ftr="0"/>
  <p:txStyles>
    <p:titleStyle>
      <a:lvl1pPr algn="l" defTabSz="914400" rtl="0" eaLnBrk="1" latinLnBrk="0" hangingPunct="1">
        <a:lnSpc>
          <a:spcPts val="2800"/>
        </a:lnSpc>
        <a:spcBef>
          <a:spcPct val="0"/>
        </a:spcBef>
        <a:buNone/>
        <a:defRPr sz="2800" b="1" kern="1200" baseline="0">
          <a:solidFill>
            <a:schemeClr val="tx2"/>
          </a:solidFill>
          <a:latin typeface="+mj-lt"/>
          <a:ea typeface="+mj-ea"/>
          <a:cs typeface="ING Me" pitchFamily="2" charset="0"/>
        </a:defRPr>
      </a:lvl1pPr>
    </p:titleStyle>
    <p:bodyStyle>
      <a:lvl1pPr marL="0" indent="0" algn="l" defTabSz="914400" rtl="0" eaLnBrk="1" latinLnBrk="0" hangingPunct="1">
        <a:lnSpc>
          <a:spcPts val="2400"/>
        </a:lnSpc>
        <a:spcBef>
          <a:spcPts val="0"/>
        </a:spcBef>
        <a:spcAft>
          <a:spcPts val="0"/>
        </a:spcAft>
        <a:buFont typeface="Arial" panose="020B0604020202020204" pitchFamily="34" charset="0"/>
        <a:buNone/>
        <a:defRPr sz="2000" b="0" kern="1200" baseline="0">
          <a:solidFill>
            <a:schemeClr val="tx1"/>
          </a:solidFill>
          <a:latin typeface="+mn-lt"/>
          <a:ea typeface="+mn-ea"/>
          <a:cs typeface="ING Me" pitchFamily="2" charset="0"/>
        </a:defRPr>
      </a:lvl1pPr>
      <a:lvl2pPr marL="0" indent="0" algn="l" defTabSz="914400" rtl="0" eaLnBrk="1" latinLnBrk="0" hangingPunct="1">
        <a:lnSpc>
          <a:spcPts val="2400"/>
        </a:lnSpc>
        <a:spcBef>
          <a:spcPts val="0"/>
        </a:spcBef>
        <a:spcAft>
          <a:spcPts val="0"/>
        </a:spcAft>
        <a:buFont typeface="Arial" panose="020B0604020202020204" pitchFamily="34" charset="0"/>
        <a:buNone/>
        <a:defRPr sz="2000" kern="1200" baseline="0">
          <a:solidFill>
            <a:schemeClr val="tx1"/>
          </a:solidFill>
          <a:latin typeface="+mn-lt"/>
          <a:ea typeface="+mn-ea"/>
          <a:cs typeface="ING Me" pitchFamily="2" charset="0"/>
        </a:defRPr>
      </a:lvl2pPr>
      <a:lvl3pPr marL="266700" indent="-266700" algn="l" defTabSz="914400" rtl="0" eaLnBrk="1" latinLnBrk="0" hangingPunct="1">
        <a:lnSpc>
          <a:spcPts val="2400"/>
        </a:lnSpc>
        <a:spcBef>
          <a:spcPts val="0"/>
        </a:spcBef>
        <a:spcAft>
          <a:spcPts val="0"/>
        </a:spcAft>
        <a:buClr>
          <a:schemeClr val="tx2"/>
        </a:buClr>
        <a:buFont typeface="ING Me" pitchFamily="2" charset="0"/>
        <a:buChar char="•"/>
        <a:defRPr sz="2000" kern="1200" baseline="0">
          <a:solidFill>
            <a:schemeClr val="tx1"/>
          </a:solidFill>
          <a:latin typeface="+mn-lt"/>
          <a:ea typeface="+mn-ea"/>
          <a:cs typeface="ING Me" pitchFamily="2" charset="0"/>
        </a:defRPr>
      </a:lvl3pPr>
      <a:lvl4pPr marL="512763" indent="-260350" algn="l" defTabSz="914400" rtl="0" eaLnBrk="1" latinLnBrk="0" hangingPunct="1">
        <a:lnSpc>
          <a:spcPts val="2400"/>
        </a:lnSpc>
        <a:spcBef>
          <a:spcPts val="0"/>
        </a:spcBef>
        <a:spcAft>
          <a:spcPts val="0"/>
        </a:spcAft>
        <a:buClr>
          <a:schemeClr val="bg2"/>
        </a:buClr>
        <a:buFont typeface="ING Me" pitchFamily="2" charset="0"/>
        <a:buChar char="•"/>
        <a:defRPr sz="2000" kern="1200" baseline="0">
          <a:solidFill>
            <a:schemeClr val="tx1"/>
          </a:solidFill>
          <a:latin typeface="+mn-lt"/>
          <a:ea typeface="+mn-ea"/>
          <a:cs typeface="ING Me" pitchFamily="2" charset="0"/>
        </a:defRPr>
      </a:lvl4pPr>
      <a:lvl5pPr marL="762000" indent="-252413" algn="l" defTabSz="914400" rtl="0" eaLnBrk="1" latinLnBrk="0" hangingPunct="1">
        <a:lnSpc>
          <a:spcPts val="2400"/>
        </a:lnSpc>
        <a:spcBef>
          <a:spcPts val="0"/>
        </a:spcBef>
        <a:spcAft>
          <a:spcPts val="0"/>
        </a:spcAft>
        <a:buClr>
          <a:schemeClr val="accent3"/>
        </a:buClr>
        <a:buFont typeface="ING Me" pitchFamily="2" charset="0"/>
        <a:buChar char="•"/>
        <a:defRPr sz="2000" kern="1200" baseline="0">
          <a:solidFill>
            <a:schemeClr val="tx1"/>
          </a:solidFill>
          <a:latin typeface="+mn-lt"/>
          <a:ea typeface="+mn-ea"/>
          <a:cs typeface="ING Me" pitchFamily="2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 xmlns="">
        <p15:guide id="3" orient="horz" pos="721" userDrawn="1">
          <p15:clr>
            <a:srgbClr val="F26B43"/>
          </p15:clr>
        </p15:guide>
        <p15:guide id="6" pos="7140" userDrawn="1">
          <p15:clr>
            <a:srgbClr val="F26B43"/>
          </p15:clr>
        </p15:guide>
        <p15:guide id="8" pos="528" userDrawn="1">
          <p15:clr>
            <a:srgbClr val="F26B43"/>
          </p15:clr>
        </p15:guide>
        <p15:guide id="9" orient="horz" pos="173" userDrawn="1">
          <p15:clr>
            <a:srgbClr val="F26B43"/>
          </p15:clr>
        </p15:guide>
        <p15:guide id="10" orient="horz" pos="4008" userDrawn="1">
          <p15:clr>
            <a:srgbClr val="F26B43"/>
          </p15:clr>
        </p15:guide>
        <p15:guide id="11" orient="horz" pos="3906" userDrawn="1">
          <p15:clr>
            <a:srgbClr val="F26B43"/>
          </p15:clr>
        </p15:guide>
        <p15:guide id="12" orient="horz" pos="800" userDrawn="1">
          <p15:clr>
            <a:srgbClr val="F26B43"/>
          </p15:clr>
        </p15:guide>
        <p15:guide id="13" pos="7491" userDrawn="1">
          <p15:clr>
            <a:srgbClr val="F26B43"/>
          </p15:clr>
        </p15:guide>
        <p15:guide id="14" pos="437" userDrawn="1">
          <p15:clr>
            <a:srgbClr val="F26B43"/>
          </p15:clr>
        </p15:guide>
        <p15:guide id="15" pos="3834" userDrawn="1">
          <p15:clr>
            <a:srgbClr val="F26B43"/>
          </p15:clr>
        </p15:guide>
        <p15:guide id="16" orient="horz" pos="2358" userDrawn="1">
          <p15:clr>
            <a:srgbClr val="F26B43"/>
          </p15:clr>
        </p15:guide>
        <p15:guide id="17" pos="7398" userDrawn="1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343290677"/>
              </p:ext>
            </p:extLst>
          </p:nvPr>
        </p:nvGraphicFramePr>
        <p:xfrm>
          <a:off x="0" y="0"/>
          <a:ext cx="175483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44" name="think-cell Slide" r:id="rId23" imgW="270" imgH="270" progId="TCLayout.ActiveDocument.1">
                  <p:embed/>
                </p:oleObj>
              </mc:Choice>
              <mc:Fallback>
                <p:oleObj name="think-cell Slide" r:id="rId2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75483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8612108" y="2443422"/>
            <a:ext cx="2433358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700" smtClean="0">
                <a:solidFill>
                  <a:srgbClr val="000000"/>
                </a:solidFill>
                <a:latin typeface="Arial"/>
              </a:rPr>
              <a:t>Last Modified 11/20/2015 3:14 PM W. Europe Standard Time</a:t>
            </a:r>
            <a:endParaRPr lang="en-US" dirty="0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8712296" y="4661402"/>
            <a:ext cx="2232984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700" smtClean="0">
                <a:solidFill>
                  <a:srgbClr val="000000"/>
                </a:solidFill>
                <a:latin typeface="Arial"/>
              </a:rPr>
              <a:t>Printed 11/20/2015 11:18 AM W. Europe Standard Time</a:t>
            </a:r>
            <a:endParaRPr lang="en-US" dirty="0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2478694" y="2649303"/>
            <a:ext cx="4755582" cy="146193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 smtClean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31614" y="413281"/>
            <a:ext cx="9236802" cy="430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31612" y="16385"/>
            <a:ext cx="8592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400" dirty="0">
                <a:solidFill>
                  <a:srgbClr val="808080"/>
                </a:solidFill>
              </a:rPr>
              <a:t>TRACKER</a:t>
            </a:r>
          </a:p>
        </p:txBody>
      </p:sp>
      <p:grpSp>
        <p:nvGrpSpPr>
          <p:cNvPr id="12" name="McK Slide Elements" hidden="1"/>
          <p:cNvGrpSpPr>
            <a:grpSpLocks/>
          </p:cNvGrpSpPr>
          <p:nvPr/>
        </p:nvGrpSpPr>
        <p:grpSpPr bwMode="auto">
          <a:xfrm>
            <a:off x="131614" y="5638350"/>
            <a:ext cx="9236802" cy="464862"/>
            <a:chOff x="75" y="3872"/>
            <a:chExt cx="5385" cy="287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872"/>
              <a:ext cx="5385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 anchorCtr="0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127000" indent="-127000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200" dirty="0" smtClean="0">
                  <a:solidFill>
                    <a:srgbClr val="000000"/>
                  </a:solidFill>
                  <a:latin typeface="Arial"/>
                </a:rPr>
                <a:t>1 Footnote</a:t>
              </a: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4045"/>
              <a:ext cx="5385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 anchorCtr="0">
              <a:spAutoFit/>
            </a:bodyPr>
            <a:lstStyle/>
            <a:p>
              <a:pPr marL="740725" indent="-740725" defTabSz="1087940" fontAlgn="base">
                <a:spcBef>
                  <a:spcPct val="0"/>
                </a:spcBef>
                <a:spcAft>
                  <a:spcPct val="0"/>
                </a:spcAft>
                <a:tabLst>
                  <a:tab pos="744583" algn="l"/>
                </a:tabLst>
              </a:pPr>
              <a:r>
                <a:rPr lang="en-US" sz="1200" dirty="0">
                  <a:solidFill>
                    <a:srgbClr val="000000"/>
                  </a:solidFill>
                </a:rPr>
                <a:t>SOURCE: </a:t>
              </a:r>
              <a:r>
                <a:rPr lang="en-US" sz="1200" dirty="0" smtClean="0">
                  <a:solidFill>
                    <a:srgbClr val="000000"/>
                  </a:solidFill>
                </a:rPr>
                <a:t>Source</a:t>
              </a: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2478694" y="1914000"/>
            <a:ext cx="4713466" cy="602545"/>
            <a:chOff x="915" y="658"/>
            <a:chExt cx="2686" cy="372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658"/>
              <a:ext cx="2686" cy="37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900" b="1" dirty="0">
                  <a:solidFill>
                    <a:srgbClr val="000000"/>
                  </a:solidFill>
                </a:rPr>
                <a:t>Title</a:t>
              </a:r>
            </a:p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900" dirty="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pic>
        <p:nvPicPr>
          <p:cNvPr id="22" name="Picture 38" descr="GradientShadow.png"/>
          <p:cNvPicPr>
            <a:picLocks noChangeAspect="1"/>
          </p:cNvPicPr>
          <p:nvPr/>
        </p:nvPicPr>
        <p:blipFill>
          <a:blip r:embed="rId2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874713"/>
            <a:ext cx="9900843" cy="101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3" name="Picture 36" descr="GradientShadow.png"/>
          <p:cNvPicPr>
            <a:picLocks noChangeAspect="1"/>
          </p:cNvPicPr>
          <p:nvPr/>
        </p:nvPicPr>
        <p:blipFill>
          <a:blip r:embed="rId2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138863"/>
            <a:ext cx="9900843" cy="101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31612" y="893222"/>
            <a:ext cx="9526957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900" dirty="0" smtClean="0">
                <a:solidFill>
                  <a:srgbClr val="808080"/>
                </a:solidFill>
                <a:latin typeface="Arial"/>
              </a:rPr>
              <a:t>Unit of measure</a:t>
            </a:r>
          </a:p>
        </p:txBody>
      </p:sp>
      <p:grpSp>
        <p:nvGrpSpPr>
          <p:cNvPr id="34" name="LegendBoxes" hidden="1"/>
          <p:cNvGrpSpPr>
            <a:grpSpLocks/>
          </p:cNvGrpSpPr>
          <p:nvPr/>
        </p:nvGrpSpPr>
        <p:grpSpPr bwMode="auto">
          <a:xfrm>
            <a:off x="8541192" y="953735"/>
            <a:ext cx="957925" cy="1329268"/>
            <a:chOff x="4936" y="176"/>
            <a:chExt cx="557" cy="628"/>
          </a:xfrm>
        </p:grpSpPr>
        <p:sp>
          <p:nvSpPr>
            <p:cNvPr id="35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397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194128" fontAlgn="base">
                <a:spcBef>
                  <a:spcPct val="0"/>
                </a:spcBef>
                <a:spcAft>
                  <a:spcPct val="0"/>
                </a:spcAft>
                <a:buClr>
                  <a:srgbClr val="FF6600"/>
                </a:buClr>
              </a:pPr>
              <a:r>
                <a:rPr lang="en-US" sz="16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6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900">
                <a:solidFill>
                  <a:srgbClr val="000000"/>
                </a:solidFill>
              </a:endParaRP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397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194128" fontAlgn="base">
                <a:spcBef>
                  <a:spcPct val="0"/>
                </a:spcBef>
                <a:spcAft>
                  <a:spcPct val="0"/>
                </a:spcAft>
                <a:buClr>
                  <a:srgbClr val="FF6600"/>
                </a:buClr>
              </a:pPr>
              <a:r>
                <a:rPr lang="en-US" sz="16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8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900">
                <a:solidFill>
                  <a:srgbClr val="000000"/>
                </a:solidFill>
              </a:endParaRPr>
            </a:p>
          </p:txBody>
        </p:sp>
        <p:sp>
          <p:nvSpPr>
            <p:cNvPr id="39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397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194128" fontAlgn="base">
                <a:spcBef>
                  <a:spcPct val="0"/>
                </a:spcBef>
                <a:spcAft>
                  <a:spcPct val="0"/>
                </a:spcAft>
                <a:buClr>
                  <a:srgbClr val="FF6600"/>
                </a:buClr>
              </a:pPr>
              <a:r>
                <a:rPr lang="en-US" sz="16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0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900">
                <a:solidFill>
                  <a:srgbClr val="000000"/>
                </a:solidFill>
              </a:endParaRPr>
            </a:p>
          </p:txBody>
        </p:sp>
        <p:sp>
          <p:nvSpPr>
            <p:cNvPr id="41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397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194128" fontAlgn="base">
                <a:spcBef>
                  <a:spcPct val="0"/>
                </a:spcBef>
                <a:spcAft>
                  <a:spcPct val="0"/>
                </a:spcAft>
                <a:buClr>
                  <a:srgbClr val="FF6600"/>
                </a:buClr>
              </a:pPr>
              <a:r>
                <a:rPr lang="en-US" sz="16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2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900">
                <a:solidFill>
                  <a:srgbClr val="000000"/>
                </a:solidFill>
              </a:endParaRPr>
            </a:p>
          </p:txBody>
        </p:sp>
      </p:grpSp>
      <p:grpSp>
        <p:nvGrpSpPr>
          <p:cNvPr id="43" name="LegendLines" hidden="1"/>
          <p:cNvGrpSpPr>
            <a:grpSpLocks/>
          </p:cNvGrpSpPr>
          <p:nvPr/>
        </p:nvGrpSpPr>
        <p:grpSpPr bwMode="auto">
          <a:xfrm>
            <a:off x="8207555" y="953735"/>
            <a:ext cx="1291564" cy="973668"/>
            <a:chOff x="4750" y="176"/>
            <a:chExt cx="751" cy="460"/>
          </a:xfrm>
        </p:grpSpPr>
        <p:sp>
          <p:nvSpPr>
            <p:cNvPr id="44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900">
                <a:solidFill>
                  <a:srgbClr val="000000"/>
                </a:solidFill>
              </a:endParaRPr>
            </a:p>
          </p:txBody>
        </p:sp>
        <p:sp>
          <p:nvSpPr>
            <p:cNvPr id="45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900">
                <a:solidFill>
                  <a:srgbClr val="000000"/>
                </a:solidFill>
              </a:endParaRPr>
            </a:p>
          </p:txBody>
        </p:sp>
        <p:sp>
          <p:nvSpPr>
            <p:cNvPr id="46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900">
                <a:solidFill>
                  <a:srgbClr val="000000"/>
                </a:solidFill>
              </a:endParaRPr>
            </a:p>
          </p:txBody>
        </p:sp>
        <p:sp>
          <p:nvSpPr>
            <p:cNvPr id="47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397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194128" fontAlgn="base">
                <a:spcBef>
                  <a:spcPct val="0"/>
                </a:spcBef>
                <a:spcAft>
                  <a:spcPct val="0"/>
                </a:spcAft>
                <a:buClr>
                  <a:srgbClr val="FF6600"/>
                </a:buClr>
              </a:pPr>
              <a:r>
                <a:rPr lang="en-US" sz="16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8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397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194128" fontAlgn="base">
                <a:spcBef>
                  <a:spcPct val="0"/>
                </a:spcBef>
                <a:spcAft>
                  <a:spcPct val="0"/>
                </a:spcAft>
                <a:buClr>
                  <a:srgbClr val="FF6600"/>
                </a:buClr>
              </a:pPr>
              <a:r>
                <a:rPr lang="en-US" sz="16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9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397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194128" fontAlgn="base">
                <a:spcBef>
                  <a:spcPct val="0"/>
                </a:spcBef>
                <a:spcAft>
                  <a:spcPct val="0"/>
                </a:spcAft>
                <a:buClr>
                  <a:srgbClr val="FF6600"/>
                </a:buClr>
              </a:pPr>
              <a:r>
                <a:rPr lang="en-US" sz="1600" dirty="0">
                  <a:solidFill>
                    <a:srgbClr val="000000"/>
                  </a:solidFill>
                </a:rPr>
                <a:t>Legend</a:t>
              </a:r>
            </a:p>
          </p:txBody>
        </p:sp>
      </p:grpSp>
      <p:grpSp>
        <p:nvGrpSpPr>
          <p:cNvPr id="50" name="McKSticker" hidden="1"/>
          <p:cNvGrpSpPr/>
          <p:nvPr/>
        </p:nvGrpSpPr>
        <p:grpSpPr bwMode="auto">
          <a:xfrm>
            <a:off x="7946995" y="953736"/>
            <a:ext cx="1421415" cy="283154"/>
            <a:chOff x="7428698" y="285750"/>
            <a:chExt cx="1312077" cy="212365"/>
          </a:xfrm>
        </p:grpSpPr>
        <p:sp>
          <p:nvSpPr>
            <p:cNvPr id="51" name="StickerRectangle"/>
            <p:cNvSpPr>
              <a:spLocks noChangeArrowheads="1"/>
            </p:cNvSpPr>
            <p:nvPr/>
          </p:nvSpPr>
          <p:spPr bwMode="auto">
            <a:xfrm>
              <a:off x="7428698" y="285750"/>
              <a:ext cx="1312077" cy="212365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36576" tIns="0" rIns="0" bIns="36576">
              <a:spAutoFit/>
            </a:bodyPr>
            <a:lstStyle/>
            <a:p>
              <a:pPr algn="r" defTabSz="1194128" fontAlgn="base">
                <a:spcBef>
                  <a:spcPct val="0"/>
                </a:spcBef>
                <a:spcAft>
                  <a:spcPct val="0"/>
                </a:spcAft>
                <a:buClr>
                  <a:srgbClr val="FF6600"/>
                </a:buClr>
              </a:pPr>
              <a:r>
                <a:rPr lang="en-US" sz="1600" dirty="0">
                  <a:solidFill>
                    <a:srgbClr val="808080"/>
                  </a:solidFill>
                </a:rPr>
                <a:t>PRELIMINARY</a:t>
              </a:r>
            </a:p>
          </p:txBody>
        </p:sp>
        <p:cxnSp>
          <p:nvCxnSpPr>
            <p:cNvPr id="52" name="AutoShape 31"/>
            <p:cNvCxnSpPr>
              <a:cxnSpLocks noChangeShapeType="1"/>
              <a:stCxn id="51" idx="2"/>
              <a:endCxn id="51" idx="4"/>
            </p:cNvCxnSpPr>
            <p:nvPr/>
          </p:nvCxnSpPr>
          <p:spPr bwMode="auto">
            <a:xfrm>
              <a:off x="7428698" y="285750"/>
              <a:ext cx="0" cy="212365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53" name="AutoShape 32"/>
            <p:cNvCxnSpPr>
              <a:cxnSpLocks noChangeShapeType="1"/>
              <a:stCxn id="51" idx="4"/>
              <a:endCxn id="51" idx="6"/>
            </p:cNvCxnSpPr>
            <p:nvPr/>
          </p:nvCxnSpPr>
          <p:spPr bwMode="auto">
            <a:xfrm>
              <a:off x="7428698" y="498115"/>
              <a:ext cx="1312077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54" name="LegendMoons" hidden="1"/>
          <p:cNvGrpSpPr/>
          <p:nvPr/>
        </p:nvGrpSpPr>
        <p:grpSpPr bwMode="auto">
          <a:xfrm>
            <a:off x="8468786" y="953737"/>
            <a:ext cx="1030277" cy="1742021"/>
            <a:chOff x="7769225" y="2105025"/>
            <a:chExt cx="951024" cy="1306516"/>
          </a:xfrm>
        </p:grpSpPr>
        <p:grpSp>
          <p:nvGrpSpPr>
            <p:cNvPr id="55" name="MoonLegend1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auto">
            <a:xfrm>
              <a:off x="7769225" y="2105025"/>
              <a:ext cx="209550" cy="209551"/>
              <a:chOff x="4533" y="183"/>
              <a:chExt cx="144" cy="144"/>
            </a:xfrm>
          </p:grpSpPr>
          <p:sp>
            <p:nvSpPr>
              <p:cNvPr id="73" name="Oval 38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900">
                  <a:solidFill>
                    <a:srgbClr val="000000"/>
                  </a:solidFill>
                </a:endParaRPr>
              </a:p>
            </p:txBody>
          </p:sp>
          <p:sp>
            <p:nvSpPr>
              <p:cNvPr id="74" name="Arc 39" hidden="1"/>
              <p:cNvSpPr>
                <a:spLocks noChangeAspect="1"/>
              </p:cNvSpPr>
              <p:nvPr>
                <p:custDataLst>
                  <p:tags r:id="rId22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90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56" name="MoonLegend2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auto">
            <a:xfrm>
              <a:off x="7769225" y="2379266"/>
              <a:ext cx="209550" cy="209551"/>
              <a:chOff x="1694" y="2044"/>
              <a:chExt cx="160" cy="160"/>
            </a:xfrm>
          </p:grpSpPr>
          <p:sp>
            <p:nvSpPr>
              <p:cNvPr id="71" name="Oval 41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900">
                  <a:solidFill>
                    <a:srgbClr val="000000"/>
                  </a:solidFill>
                </a:endParaRPr>
              </a:p>
            </p:txBody>
          </p:sp>
          <p:sp>
            <p:nvSpPr>
              <p:cNvPr id="72" name="Arc 42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90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57" name="MoonLegend4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auto">
            <a:xfrm>
              <a:off x="7769225" y="2927748"/>
              <a:ext cx="209550" cy="209551"/>
              <a:chOff x="4495" y="1198"/>
              <a:chExt cx="160" cy="160"/>
            </a:xfrm>
          </p:grpSpPr>
          <p:sp>
            <p:nvSpPr>
              <p:cNvPr id="69" name="Oval 47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900">
                  <a:solidFill>
                    <a:srgbClr val="000000"/>
                  </a:solidFill>
                </a:endParaRPr>
              </a:p>
            </p:txBody>
          </p:sp>
          <p:sp>
            <p:nvSpPr>
              <p:cNvPr id="70" name="Arc 48"/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90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58" name="MoonLegend5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auto">
            <a:xfrm>
              <a:off x="7769225" y="3201990"/>
              <a:ext cx="209550" cy="209551"/>
              <a:chOff x="4495" y="1440"/>
              <a:chExt cx="160" cy="160"/>
            </a:xfrm>
          </p:grpSpPr>
          <p:sp>
            <p:nvSpPr>
              <p:cNvPr id="67" name="Oval 50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900">
                  <a:solidFill>
                    <a:srgbClr val="000000"/>
                  </a:solidFill>
                </a:endParaRPr>
              </a:p>
            </p:txBody>
          </p:sp>
          <p:sp>
            <p:nvSpPr>
              <p:cNvPr id="68" name="Oval 51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900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59" name="Legend1"/>
            <p:cNvSpPr>
              <a:spLocks noChangeArrowheads="1"/>
            </p:cNvSpPr>
            <p:nvPr/>
          </p:nvSpPr>
          <p:spPr bwMode="auto">
            <a:xfrm>
              <a:off x="8089900" y="2117725"/>
              <a:ext cx="630349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194128" fontAlgn="base">
                <a:spcBef>
                  <a:spcPct val="0"/>
                </a:spcBef>
                <a:spcAft>
                  <a:spcPct val="0"/>
                </a:spcAft>
                <a:buClr>
                  <a:srgbClr val="FF6600"/>
                </a:buClr>
              </a:pPr>
              <a:r>
                <a:rPr lang="en-US" sz="16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60" name="Legend2"/>
            <p:cNvSpPr>
              <a:spLocks noChangeArrowheads="1"/>
            </p:cNvSpPr>
            <p:nvPr/>
          </p:nvSpPr>
          <p:spPr bwMode="auto">
            <a:xfrm>
              <a:off x="8089900" y="2392363"/>
              <a:ext cx="630349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194128" fontAlgn="base">
                <a:spcBef>
                  <a:spcPct val="0"/>
                </a:spcBef>
                <a:spcAft>
                  <a:spcPct val="0"/>
                </a:spcAft>
                <a:buClr>
                  <a:srgbClr val="FF6600"/>
                </a:buClr>
              </a:pPr>
              <a:r>
                <a:rPr lang="en-US" sz="16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61" name="Legend3"/>
            <p:cNvSpPr>
              <a:spLocks noChangeArrowheads="1"/>
            </p:cNvSpPr>
            <p:nvPr/>
          </p:nvSpPr>
          <p:spPr bwMode="auto">
            <a:xfrm>
              <a:off x="8089900" y="2667002"/>
              <a:ext cx="630349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194128" fontAlgn="base">
                <a:spcBef>
                  <a:spcPct val="0"/>
                </a:spcBef>
                <a:spcAft>
                  <a:spcPct val="0"/>
                </a:spcAft>
                <a:buClr>
                  <a:srgbClr val="FF6600"/>
                </a:buClr>
              </a:pPr>
              <a:r>
                <a:rPr lang="en-US" sz="16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62" name="Legend4"/>
            <p:cNvSpPr>
              <a:spLocks noChangeArrowheads="1"/>
            </p:cNvSpPr>
            <p:nvPr/>
          </p:nvSpPr>
          <p:spPr bwMode="auto">
            <a:xfrm>
              <a:off x="8089900" y="2938465"/>
              <a:ext cx="630349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194128" fontAlgn="base">
                <a:spcBef>
                  <a:spcPct val="0"/>
                </a:spcBef>
                <a:spcAft>
                  <a:spcPct val="0"/>
                </a:spcAft>
                <a:buClr>
                  <a:srgbClr val="FF6600"/>
                </a:buClr>
              </a:pPr>
              <a:r>
                <a:rPr lang="en-US" sz="16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63" name="Legend5"/>
            <p:cNvSpPr>
              <a:spLocks noChangeArrowheads="1"/>
            </p:cNvSpPr>
            <p:nvPr/>
          </p:nvSpPr>
          <p:spPr bwMode="auto">
            <a:xfrm>
              <a:off x="8089900" y="3214690"/>
              <a:ext cx="630349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194128" fontAlgn="base">
                <a:spcBef>
                  <a:spcPct val="0"/>
                </a:spcBef>
                <a:spcAft>
                  <a:spcPct val="0"/>
                </a:spcAft>
                <a:buClr>
                  <a:srgbClr val="FF6600"/>
                </a:buClr>
              </a:pPr>
              <a:r>
                <a:rPr lang="en-US" sz="1600" dirty="0">
                  <a:solidFill>
                    <a:srgbClr val="000000"/>
                  </a:solidFill>
                </a:rPr>
                <a:t>Legend</a:t>
              </a:r>
            </a:p>
          </p:txBody>
        </p:sp>
        <p:grpSp>
          <p:nvGrpSpPr>
            <p:cNvPr id="64" name="MoonLegend3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auto">
            <a:xfrm>
              <a:off x="7769225" y="2653507"/>
              <a:ext cx="209550" cy="209551"/>
              <a:chOff x="4495" y="1198"/>
              <a:chExt cx="160" cy="160"/>
            </a:xfrm>
          </p:grpSpPr>
          <p:sp>
            <p:nvSpPr>
              <p:cNvPr id="65" name="Oval 47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900">
                  <a:solidFill>
                    <a:srgbClr val="000000"/>
                  </a:solidFill>
                </a:endParaRPr>
              </a:p>
            </p:txBody>
          </p:sp>
          <p:sp>
            <p:nvSpPr>
              <p:cNvPr id="66" name="Arc 48"/>
              <p:cNvSpPr>
                <a:spLocks noChangeAspect="1"/>
              </p:cNvSpPr>
              <p:nvPr>
                <p:custDataLst>
                  <p:tags r:id="rId14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900">
                  <a:solidFill>
                    <a:srgbClr val="000000"/>
                  </a:solidFill>
                </a:endParaRPr>
              </a:p>
            </p:txBody>
          </p:sp>
        </p:grpSp>
      </p:grpSp>
      <p:sp>
        <p:nvSpPr>
          <p:cNvPr id="75" name="Slide Number"/>
          <p:cNvSpPr txBox="1">
            <a:spLocks/>
          </p:cNvSpPr>
          <p:nvPr/>
        </p:nvSpPr>
        <p:spPr bwMode="auto">
          <a:xfrm>
            <a:off x="131613" y="6493947"/>
            <a:ext cx="187552" cy="184666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en-US" sz="1200" b="1" smtClean="0">
                <a:solidFill>
                  <a:srgbClr val="FF6600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1200" b="1" dirty="0">
              <a:solidFill>
                <a:srgbClr val="FF6600"/>
              </a:solidFill>
            </a:endParaRPr>
          </a:p>
        </p:txBody>
      </p:sp>
      <p:grpSp>
        <p:nvGrpSpPr>
          <p:cNvPr id="76" name="Group 75"/>
          <p:cNvGrpSpPr>
            <a:grpSpLocks/>
          </p:cNvGrpSpPr>
          <p:nvPr/>
        </p:nvGrpSpPr>
        <p:grpSpPr bwMode="auto">
          <a:xfrm>
            <a:off x="537586" y="6321425"/>
            <a:ext cx="8830830" cy="357188"/>
            <a:chOff x="930275" y="6321425"/>
            <a:chExt cx="10874375" cy="357188"/>
          </a:xfrm>
        </p:grpSpPr>
        <p:pic>
          <p:nvPicPr>
            <p:cNvPr id="77" name="Picture 32" descr="thinkforward.png"/>
            <p:cNvPicPr>
              <a:picLocks noChangeAspect="1"/>
            </p:cNvPicPr>
            <p:nvPr userDrawn="1"/>
          </p:nvPicPr>
          <p:blipFill>
            <a:blip r:embed="rId2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30275" y="6421438"/>
              <a:ext cx="1955800" cy="254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78" name="Picture 33"/>
            <p:cNvPicPr>
              <a:picLocks noChangeAspect="1"/>
            </p:cNvPicPr>
            <p:nvPr userDrawn="1"/>
          </p:nvPicPr>
          <p:blipFill>
            <a:blip r:embed="rId2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366375" y="6321425"/>
              <a:ext cx="1438275" cy="3571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351942987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6" r:id="rId1"/>
    <p:sldLayoutId id="2147483787" r:id="rId2"/>
    <p:sldLayoutId id="2147483788" r:id="rId3"/>
    <p:sldLayoutId id="2147483789" r:id="rId4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1087940" rtl="0" eaLnBrk="1" fontAlgn="base" hangingPunct="1">
        <a:spcBef>
          <a:spcPct val="0"/>
        </a:spcBef>
        <a:spcAft>
          <a:spcPct val="0"/>
        </a:spcAft>
        <a:tabLst>
          <a:tab pos="327925" algn="l"/>
        </a:tabLst>
        <a:defRPr sz="2800" b="0" baseline="0">
          <a:solidFill>
            <a:schemeClr val="tx2"/>
          </a:solidFill>
          <a:latin typeface="+mj-lt"/>
          <a:ea typeface="Arial Unicode MS" pitchFamily="34" charset="-128"/>
          <a:cs typeface="Arial Unicode MS" pitchFamily="34" charset="-128"/>
        </a:defRPr>
      </a:lvl1pPr>
      <a:lvl2pPr algn="l" defTabSz="1087940" rtl="0" eaLnBrk="1" fontAlgn="base" hangingPunct="1">
        <a:spcBef>
          <a:spcPct val="0"/>
        </a:spcBef>
        <a:spcAft>
          <a:spcPct val="0"/>
        </a:spcAft>
        <a:defRPr sz="2300" b="1">
          <a:solidFill>
            <a:schemeClr val="tx2"/>
          </a:solidFill>
          <a:latin typeface="Arial" charset="0"/>
        </a:defRPr>
      </a:lvl2pPr>
      <a:lvl3pPr algn="l" defTabSz="1087940" rtl="0" eaLnBrk="1" fontAlgn="base" hangingPunct="1">
        <a:spcBef>
          <a:spcPct val="0"/>
        </a:spcBef>
        <a:spcAft>
          <a:spcPct val="0"/>
        </a:spcAft>
        <a:defRPr sz="2300" b="1">
          <a:solidFill>
            <a:schemeClr val="tx2"/>
          </a:solidFill>
          <a:latin typeface="Arial" charset="0"/>
        </a:defRPr>
      </a:lvl3pPr>
      <a:lvl4pPr algn="l" defTabSz="1087940" rtl="0" eaLnBrk="1" fontAlgn="base" hangingPunct="1">
        <a:spcBef>
          <a:spcPct val="0"/>
        </a:spcBef>
        <a:spcAft>
          <a:spcPct val="0"/>
        </a:spcAft>
        <a:defRPr sz="2300" b="1">
          <a:solidFill>
            <a:schemeClr val="tx2"/>
          </a:solidFill>
          <a:latin typeface="Arial" charset="0"/>
        </a:defRPr>
      </a:lvl4pPr>
      <a:lvl5pPr algn="l" defTabSz="1087940" rtl="0" eaLnBrk="1" fontAlgn="base" hangingPunct="1">
        <a:spcBef>
          <a:spcPct val="0"/>
        </a:spcBef>
        <a:spcAft>
          <a:spcPct val="0"/>
        </a:spcAft>
        <a:defRPr sz="2300" b="1">
          <a:solidFill>
            <a:schemeClr val="tx2"/>
          </a:solidFill>
          <a:latin typeface="Arial" charset="0"/>
        </a:defRPr>
      </a:lvl5pPr>
      <a:lvl6pPr marL="555544" algn="l" defTabSz="1087940" rtl="0" eaLnBrk="1" fontAlgn="base" hangingPunct="1">
        <a:spcBef>
          <a:spcPct val="0"/>
        </a:spcBef>
        <a:spcAft>
          <a:spcPct val="0"/>
        </a:spcAft>
        <a:defRPr sz="2300" b="1">
          <a:solidFill>
            <a:schemeClr val="tx2"/>
          </a:solidFill>
          <a:latin typeface="Arial" charset="0"/>
        </a:defRPr>
      </a:lvl6pPr>
      <a:lvl7pPr marL="1111087" algn="l" defTabSz="1087940" rtl="0" eaLnBrk="1" fontAlgn="base" hangingPunct="1">
        <a:spcBef>
          <a:spcPct val="0"/>
        </a:spcBef>
        <a:spcAft>
          <a:spcPct val="0"/>
        </a:spcAft>
        <a:defRPr sz="2300" b="1">
          <a:solidFill>
            <a:schemeClr val="tx2"/>
          </a:solidFill>
          <a:latin typeface="Arial" charset="0"/>
        </a:defRPr>
      </a:lvl7pPr>
      <a:lvl8pPr marL="1666631" algn="l" defTabSz="1087940" rtl="0" eaLnBrk="1" fontAlgn="base" hangingPunct="1">
        <a:spcBef>
          <a:spcPct val="0"/>
        </a:spcBef>
        <a:spcAft>
          <a:spcPct val="0"/>
        </a:spcAft>
        <a:defRPr sz="2300" b="1">
          <a:solidFill>
            <a:schemeClr val="tx2"/>
          </a:solidFill>
          <a:latin typeface="Arial" charset="0"/>
        </a:defRPr>
      </a:lvl8pPr>
      <a:lvl9pPr marL="2222175" algn="l" defTabSz="1087940" rtl="0" eaLnBrk="1" fontAlgn="base" hangingPunct="1">
        <a:spcBef>
          <a:spcPct val="0"/>
        </a:spcBef>
        <a:spcAft>
          <a:spcPct val="0"/>
        </a:spcAft>
        <a:defRPr sz="23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1087940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9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1pPr>
      <a:lvl2pPr marL="235334" indent="-233406" algn="l" defTabSz="108794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pitchFamily="34" charset="0"/>
        <a:buChar char="•"/>
        <a:defRPr sz="19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2pPr>
      <a:lvl3pPr marL="555544" indent="-318281" algn="l" defTabSz="108794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9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3pPr>
      <a:lvl4pPr marL="746512" indent="-189039" algn="l" defTabSz="108794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buFont typeface="Arial" pitchFamily="34" charset="0"/>
        <a:buChar char="•"/>
        <a:defRPr sz="19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4pPr>
      <a:lvl5pPr marL="911092" indent="-158176" algn="l" defTabSz="108794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9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5pPr>
      <a:lvl6pPr marL="911092" indent="-158176" algn="l" defTabSz="108794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900" baseline="0">
          <a:solidFill>
            <a:schemeClr val="tx1"/>
          </a:solidFill>
          <a:latin typeface="+mn-lt"/>
        </a:defRPr>
      </a:lvl6pPr>
      <a:lvl7pPr marL="911092" indent="-158176" algn="l" defTabSz="108794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900" baseline="0">
          <a:solidFill>
            <a:schemeClr val="tx1"/>
          </a:solidFill>
          <a:latin typeface="+mn-lt"/>
        </a:defRPr>
      </a:lvl7pPr>
      <a:lvl8pPr marL="911092" indent="-158176" algn="l" defTabSz="108794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900" baseline="0">
          <a:solidFill>
            <a:schemeClr val="tx1"/>
          </a:solidFill>
          <a:latin typeface="+mn-lt"/>
        </a:defRPr>
      </a:lvl8pPr>
      <a:lvl9pPr marL="911092" indent="-158176" algn="l" defTabSz="108794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9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111087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1pPr>
      <a:lvl2pPr marL="555544" algn="l" defTabSz="1111087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2pPr>
      <a:lvl3pPr marL="1111087" algn="l" defTabSz="1111087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3pPr>
      <a:lvl4pPr marL="1666631" algn="l" defTabSz="1111087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4pPr>
      <a:lvl5pPr marL="2222175" algn="l" defTabSz="1111087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5pPr>
      <a:lvl6pPr marL="2777719" algn="l" defTabSz="1111087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6pPr>
      <a:lvl7pPr marL="3333262" algn="l" defTabSz="1111087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7pPr>
      <a:lvl8pPr marL="3888806" algn="l" defTabSz="1111087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8pPr>
      <a:lvl9pPr marL="4444350" algn="l" defTabSz="1111087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6" name="Group 35"/>
          <p:cNvGrpSpPr/>
          <p:nvPr/>
        </p:nvGrpSpPr>
        <p:grpSpPr>
          <a:xfrm>
            <a:off x="563662" y="6230180"/>
            <a:ext cx="9342338" cy="627821"/>
            <a:chOff x="693738" y="6230179"/>
            <a:chExt cx="11498262" cy="627821"/>
          </a:xfrm>
        </p:grpSpPr>
        <p:sp>
          <p:nvSpPr>
            <p:cNvPr id="37" name="Freeform 9"/>
            <p:cNvSpPr>
              <a:spLocks/>
            </p:cNvSpPr>
            <p:nvPr userDrawn="1"/>
          </p:nvSpPr>
          <p:spPr bwMode="auto">
            <a:xfrm>
              <a:off x="693738" y="6432353"/>
              <a:ext cx="10988675" cy="131762"/>
            </a:xfrm>
            <a:custGeom>
              <a:avLst/>
              <a:gdLst>
                <a:gd name="T0" fmla="*/ 2927 w 2927"/>
                <a:gd name="T1" fmla="*/ 0 h 32"/>
                <a:gd name="T2" fmla="*/ 32 w 2927"/>
                <a:gd name="T3" fmla="*/ 0 h 32"/>
                <a:gd name="T4" fmla="*/ 0 w 2927"/>
                <a:gd name="T5" fmla="*/ 32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927" h="32">
                  <a:moveTo>
                    <a:pt x="2927" y="0"/>
                  </a:moveTo>
                  <a:cubicBezTo>
                    <a:pt x="32" y="0"/>
                    <a:pt x="32" y="0"/>
                    <a:pt x="32" y="0"/>
                  </a:cubicBezTo>
                  <a:cubicBezTo>
                    <a:pt x="0" y="0"/>
                    <a:pt x="0" y="32"/>
                    <a:pt x="0" y="32"/>
                  </a:cubicBezTo>
                </a:path>
              </a:pathLst>
            </a:custGeom>
            <a:noFill/>
            <a:ln w="3175" cap="flat">
              <a:solidFill>
                <a:srgbClr val="333333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333333"/>
                </a:solidFill>
              </a:endParaRPr>
            </a:p>
          </p:txBody>
        </p:sp>
        <p:sp>
          <p:nvSpPr>
            <p:cNvPr id="38" name="Rectangle 37"/>
            <p:cNvSpPr/>
            <p:nvPr userDrawn="1"/>
          </p:nvSpPr>
          <p:spPr bwMode="white">
            <a:xfrm>
              <a:off x="10419789" y="6230179"/>
              <a:ext cx="1772211" cy="627821"/>
            </a:xfrm>
            <a:prstGeom prst="rect">
              <a:avLst/>
            </a:prstGeom>
            <a:solidFill>
              <a:srgbClr val="FFFFFF"/>
            </a:solidFill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</a:pPr>
              <a:endParaRPr lang="en-GB" sz="1600" smtClean="0">
                <a:solidFill>
                  <a:prstClr val="white"/>
                </a:solidFill>
              </a:endParaRPr>
            </a:p>
          </p:txBody>
        </p:sp>
      </p:grp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auto">
          <a:xfrm>
            <a:off x="687030" y="280734"/>
            <a:ext cx="8522455" cy="854075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687030" y="1278001"/>
            <a:ext cx="8522455" cy="492279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21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681038" y="6498810"/>
            <a:ext cx="402431" cy="188119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0" b="1">
                <a:solidFill>
                  <a:schemeClr val="tx1"/>
                </a:solidFill>
              </a:defRPr>
            </a:lvl1pPr>
          </a:lstStyle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  <p:grpSp>
        <p:nvGrpSpPr>
          <p:cNvPr id="102" name="Group 101"/>
          <p:cNvGrpSpPr/>
          <p:nvPr/>
        </p:nvGrpSpPr>
        <p:grpSpPr bwMode="gray">
          <a:xfrm>
            <a:off x="-1653580" y="0"/>
            <a:ext cx="1521000" cy="4689612"/>
            <a:chOff x="-2581275" y="595116"/>
            <a:chExt cx="1872000" cy="4689612"/>
          </a:xfrm>
        </p:grpSpPr>
        <p:sp>
          <p:nvSpPr>
            <p:cNvPr id="103" name="Rectangle 104"/>
            <p:cNvSpPr>
              <a:spLocks noChangeArrowheads="1"/>
            </p:cNvSpPr>
            <p:nvPr/>
          </p:nvSpPr>
          <p:spPr bwMode="gray">
            <a:xfrm>
              <a:off x="-2581275" y="4276728"/>
              <a:ext cx="1872000" cy="100800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104" name="Rectangle 104"/>
            <p:cNvSpPr>
              <a:spLocks noChangeArrowheads="1"/>
            </p:cNvSpPr>
            <p:nvPr userDrawn="1"/>
          </p:nvSpPr>
          <p:spPr bwMode="gray">
            <a:xfrm>
              <a:off x="-2581275" y="595116"/>
              <a:ext cx="1872000" cy="3672087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105" name="Rectangle 105"/>
            <p:cNvSpPr>
              <a:spLocks noChangeArrowheads="1"/>
            </p:cNvSpPr>
            <p:nvPr userDrawn="1"/>
          </p:nvSpPr>
          <p:spPr bwMode="gray">
            <a:xfrm>
              <a:off x="-2449513" y="1136650"/>
              <a:ext cx="215900" cy="215900"/>
            </a:xfrm>
            <a:prstGeom prst="rect">
              <a:avLst/>
            </a:prstGeom>
            <a:solidFill>
              <a:srgbClr val="FF6200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106" name="Rectangle 106"/>
            <p:cNvSpPr>
              <a:spLocks noChangeArrowheads="1"/>
            </p:cNvSpPr>
            <p:nvPr userDrawn="1"/>
          </p:nvSpPr>
          <p:spPr bwMode="gray">
            <a:xfrm>
              <a:off x="-2159000" y="1146175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Orang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55, 98, 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107" name="Rectangle 107"/>
            <p:cNvSpPr>
              <a:spLocks noChangeArrowheads="1"/>
            </p:cNvSpPr>
            <p:nvPr userDrawn="1"/>
          </p:nvSpPr>
          <p:spPr bwMode="gray">
            <a:xfrm>
              <a:off x="-2449513" y="1571626"/>
              <a:ext cx="215900" cy="215900"/>
            </a:xfrm>
            <a:prstGeom prst="rect">
              <a:avLst/>
            </a:prstGeom>
            <a:solidFill>
              <a:srgbClr val="A8A8A8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108" name="Rectangle 108"/>
            <p:cNvSpPr>
              <a:spLocks noChangeArrowheads="1"/>
            </p:cNvSpPr>
            <p:nvPr userDrawn="1"/>
          </p:nvSpPr>
          <p:spPr bwMode="gray">
            <a:xfrm>
              <a:off x="-2159000" y="15970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ght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68, 168, 16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109" name="Rectangle 109"/>
            <p:cNvSpPr>
              <a:spLocks noChangeArrowheads="1"/>
            </p:cNvSpPr>
            <p:nvPr userDrawn="1"/>
          </p:nvSpPr>
          <p:spPr bwMode="gray">
            <a:xfrm>
              <a:off x="-2449513" y="2058988"/>
              <a:ext cx="215900" cy="215900"/>
            </a:xfrm>
            <a:prstGeom prst="rect">
              <a:avLst/>
            </a:prstGeom>
            <a:solidFill>
              <a:srgbClr val="52519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110" name="Rectangle 110"/>
            <p:cNvSpPr>
              <a:spLocks noChangeArrowheads="1"/>
            </p:cNvSpPr>
            <p:nvPr userDrawn="1"/>
          </p:nvSpPr>
          <p:spPr bwMode="gray">
            <a:xfrm>
              <a:off x="-2159000" y="2068513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Indigo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82, 81, 153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111" name="Rectangle 111"/>
            <p:cNvSpPr>
              <a:spLocks noChangeArrowheads="1"/>
            </p:cNvSpPr>
            <p:nvPr userDrawn="1"/>
          </p:nvSpPr>
          <p:spPr bwMode="gray">
            <a:xfrm>
              <a:off x="-2449513" y="2527301"/>
              <a:ext cx="215900" cy="215900"/>
            </a:xfrm>
            <a:prstGeom prst="rect">
              <a:avLst/>
            </a:prstGeom>
            <a:solidFill>
              <a:srgbClr val="60A6DA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112" name="Rectangle 112"/>
            <p:cNvSpPr>
              <a:spLocks noChangeArrowheads="1"/>
            </p:cNvSpPr>
            <p:nvPr userDrawn="1"/>
          </p:nvSpPr>
          <p:spPr bwMode="gray">
            <a:xfrm>
              <a:off x="-2159000" y="25368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Sk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96, 166, 2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113" name="Rectangle 113"/>
            <p:cNvSpPr>
              <a:spLocks noChangeArrowheads="1"/>
            </p:cNvSpPr>
            <p:nvPr userDrawn="1"/>
          </p:nvSpPr>
          <p:spPr bwMode="gray">
            <a:xfrm>
              <a:off x="-2449513" y="762000"/>
              <a:ext cx="1692000" cy="165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90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200" b="1" smtClean="0">
                  <a:solidFill>
                    <a:srgbClr val="333333"/>
                  </a:solidFill>
                </a:rPr>
                <a:t>Colour Guidelines</a:t>
              </a:r>
              <a:endParaRPr lang="en-GB" altLang="en-US" sz="1200" b="1">
                <a:solidFill>
                  <a:srgbClr val="333333"/>
                </a:solidFill>
              </a:endParaRPr>
            </a:p>
          </p:txBody>
        </p:sp>
        <p:sp>
          <p:nvSpPr>
            <p:cNvPr id="114" name="Rectangle 107"/>
            <p:cNvSpPr>
              <a:spLocks noChangeArrowheads="1"/>
            </p:cNvSpPr>
            <p:nvPr/>
          </p:nvSpPr>
          <p:spPr bwMode="gray">
            <a:xfrm>
              <a:off x="-2449513" y="2962277"/>
              <a:ext cx="215900" cy="215900"/>
            </a:xfrm>
            <a:prstGeom prst="rect">
              <a:avLst/>
            </a:prstGeom>
            <a:solidFill>
              <a:srgbClr val="AB006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115" name="Rectangle 108"/>
            <p:cNvSpPr>
              <a:spLocks noChangeArrowheads="1"/>
            </p:cNvSpPr>
            <p:nvPr/>
          </p:nvSpPr>
          <p:spPr bwMode="gray">
            <a:xfrm>
              <a:off x="-2159000" y="29876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Fuchsia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71, 0, 102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116" name="Rectangle 109"/>
            <p:cNvSpPr>
              <a:spLocks noChangeArrowheads="1"/>
            </p:cNvSpPr>
            <p:nvPr/>
          </p:nvSpPr>
          <p:spPr bwMode="gray">
            <a:xfrm>
              <a:off x="-2449513" y="3449639"/>
              <a:ext cx="215900" cy="215900"/>
            </a:xfrm>
            <a:prstGeom prst="rect">
              <a:avLst/>
            </a:prstGeom>
            <a:solidFill>
              <a:srgbClr val="D0D93C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117" name="Rectangle 110"/>
            <p:cNvSpPr>
              <a:spLocks noChangeArrowheads="1"/>
            </p:cNvSpPr>
            <p:nvPr/>
          </p:nvSpPr>
          <p:spPr bwMode="gray">
            <a:xfrm>
              <a:off x="-2159000" y="3459164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m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08, 217, 6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118" name="Rectangle 111"/>
            <p:cNvSpPr>
              <a:spLocks noChangeArrowheads="1"/>
            </p:cNvSpPr>
            <p:nvPr/>
          </p:nvSpPr>
          <p:spPr bwMode="gray">
            <a:xfrm>
              <a:off x="-2449513" y="3917952"/>
              <a:ext cx="215900" cy="215900"/>
            </a:xfrm>
            <a:prstGeom prst="rect">
              <a:avLst/>
            </a:prstGeom>
            <a:solidFill>
              <a:srgbClr val="01964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119" name="Rectangle 112"/>
            <p:cNvSpPr>
              <a:spLocks noChangeArrowheads="1"/>
            </p:cNvSpPr>
            <p:nvPr/>
          </p:nvSpPr>
          <p:spPr bwMode="gray">
            <a:xfrm>
              <a:off x="-2159000" y="39274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eaf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2, 150, 8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120" name="Rectangle 109"/>
            <p:cNvSpPr>
              <a:spLocks noChangeArrowheads="1"/>
            </p:cNvSpPr>
            <p:nvPr/>
          </p:nvSpPr>
          <p:spPr bwMode="gray">
            <a:xfrm>
              <a:off x="-2449513" y="4405314"/>
              <a:ext cx="215900" cy="215900"/>
            </a:xfrm>
            <a:prstGeom prst="rect">
              <a:avLst/>
            </a:prstGeom>
            <a:solidFill>
              <a:srgbClr val="76767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121" name="Rectangle 110"/>
            <p:cNvSpPr>
              <a:spLocks noChangeArrowheads="1"/>
            </p:cNvSpPr>
            <p:nvPr/>
          </p:nvSpPr>
          <p:spPr bwMode="gray">
            <a:xfrm>
              <a:off x="-2159000" y="4414839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Mid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18, 118, 1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122" name="Rectangle 111"/>
            <p:cNvSpPr>
              <a:spLocks noChangeArrowheads="1"/>
            </p:cNvSpPr>
            <p:nvPr/>
          </p:nvSpPr>
          <p:spPr bwMode="gray">
            <a:xfrm>
              <a:off x="-2449513" y="4873627"/>
              <a:ext cx="215900" cy="215900"/>
            </a:xfrm>
            <a:prstGeom prst="rect">
              <a:avLst/>
            </a:prstGeom>
            <a:solidFill>
              <a:srgbClr val="333333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123" name="Rectangle 112"/>
            <p:cNvSpPr>
              <a:spLocks noChangeArrowheads="1"/>
            </p:cNvSpPr>
            <p:nvPr/>
          </p:nvSpPr>
          <p:spPr bwMode="gray">
            <a:xfrm>
              <a:off x="-2159000" y="4883152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Text Colour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1, 51, 5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</p:grpSp>
      <p:grpSp>
        <p:nvGrpSpPr>
          <p:cNvPr id="46" name="Group 45"/>
          <p:cNvGrpSpPr/>
          <p:nvPr/>
        </p:nvGrpSpPr>
        <p:grpSpPr>
          <a:xfrm>
            <a:off x="-1657860" y="6362701"/>
            <a:ext cx="1521000" cy="500063"/>
            <a:chOff x="-2040443" y="6445247"/>
            <a:chExt cx="1872000" cy="417516"/>
          </a:xfrm>
        </p:grpSpPr>
        <p:sp>
          <p:nvSpPr>
            <p:cNvPr id="47" name="Rectangle 104"/>
            <p:cNvSpPr>
              <a:spLocks noChangeArrowheads="1"/>
            </p:cNvSpPr>
            <p:nvPr userDrawn="1"/>
          </p:nvSpPr>
          <p:spPr bwMode="gray">
            <a:xfrm>
              <a:off x="-2040443" y="6445247"/>
              <a:ext cx="1462593" cy="417516"/>
            </a:xfrm>
            <a:prstGeom prst="rect">
              <a:avLst/>
            </a:prstGeom>
            <a:solidFill>
              <a:srgbClr val="60A6DA"/>
            </a:solidFill>
            <a:ln>
              <a:noFill/>
            </a:ln>
            <a:effectLst/>
          </p:spPr>
          <p:txBody>
            <a:bodyPr wrap="square" lIns="72000" tIns="180000" rIns="72000" bIns="180000" anchor="ctr">
              <a:noAutofit/>
            </a:bodyPr>
            <a:lstStyle/>
            <a:p>
              <a:pPr>
                <a:lnSpc>
                  <a:spcPct val="90000"/>
                </a:lnSpc>
                <a:spcBef>
                  <a:spcPct val="20000"/>
                </a:spcBef>
                <a:spcAft>
                  <a:spcPct val="20000"/>
                </a:spcAft>
                <a:defRPr/>
              </a:pPr>
              <a:r>
                <a:rPr lang="en-GB" altLang="en-US" sz="1200" b="1" kern="0" dirty="0" smtClean="0">
                  <a:solidFill>
                    <a:srgbClr val="FDFDFD"/>
                  </a:solidFill>
                </a:rPr>
                <a:t>No content below </a:t>
              </a:r>
              <a:br>
                <a:rPr lang="en-GB" altLang="en-US" sz="1200" b="1" kern="0" dirty="0" smtClean="0">
                  <a:solidFill>
                    <a:srgbClr val="FDFDFD"/>
                  </a:solidFill>
                </a:rPr>
              </a:br>
              <a:r>
                <a:rPr lang="en-GB" altLang="en-US" sz="1200" b="1" kern="0" dirty="0" smtClean="0">
                  <a:solidFill>
                    <a:srgbClr val="FDFDFD"/>
                  </a:solidFill>
                </a:rPr>
                <a:t>the grey line</a:t>
              </a:r>
              <a:endParaRPr lang="en-GB" altLang="en-US" sz="1200" b="1" kern="0" dirty="0">
                <a:solidFill>
                  <a:srgbClr val="FDFDFD"/>
                </a:solidFill>
              </a:endParaRPr>
            </a:p>
          </p:txBody>
        </p:sp>
        <p:grpSp>
          <p:nvGrpSpPr>
            <p:cNvPr id="48" name="Group 47"/>
            <p:cNvGrpSpPr/>
            <p:nvPr userDrawn="1"/>
          </p:nvGrpSpPr>
          <p:grpSpPr bwMode="gray">
            <a:xfrm>
              <a:off x="-546100" y="6452392"/>
              <a:ext cx="377657" cy="403227"/>
              <a:chOff x="-2035174" y="6454773"/>
              <a:chExt cx="1872000" cy="403227"/>
            </a:xfrm>
          </p:grpSpPr>
          <p:cxnSp>
            <p:nvCxnSpPr>
              <p:cNvPr id="49" name="Straight Connector 48"/>
              <p:cNvCxnSpPr/>
              <p:nvPr userDrawn="1"/>
            </p:nvCxnSpPr>
            <p:spPr bwMode="gray">
              <a:xfrm>
                <a:off x="-2035174" y="6858000"/>
                <a:ext cx="1872000" cy="0"/>
              </a:xfrm>
              <a:prstGeom prst="line">
                <a:avLst/>
              </a:prstGeom>
              <a:noFill/>
              <a:ln w="6350" cap="flat" cmpd="sng" algn="ctr">
                <a:solidFill>
                  <a:srgbClr val="C90068"/>
                </a:solidFill>
                <a:prstDash val="dash"/>
                <a:miter lim="800000"/>
              </a:ln>
              <a:effectLst/>
            </p:spPr>
          </p:cxnSp>
          <p:cxnSp>
            <p:nvCxnSpPr>
              <p:cNvPr id="50" name="Straight Connector 49"/>
              <p:cNvCxnSpPr/>
              <p:nvPr userDrawn="1"/>
            </p:nvCxnSpPr>
            <p:spPr bwMode="gray">
              <a:xfrm>
                <a:off x="-2035174" y="6454773"/>
                <a:ext cx="1872000" cy="0"/>
              </a:xfrm>
              <a:prstGeom prst="line">
                <a:avLst/>
              </a:prstGeom>
              <a:noFill/>
              <a:ln w="6350" cap="flat" cmpd="sng" algn="ctr">
                <a:solidFill>
                  <a:srgbClr val="C90068"/>
                </a:solidFill>
                <a:prstDash val="dash"/>
                <a:miter lim="800000"/>
              </a:ln>
              <a:effectLst/>
            </p:spPr>
          </p:cxnSp>
        </p:grpSp>
      </p:grpSp>
      <p:pic>
        <p:nvPicPr>
          <p:cNvPr id="35" name="Picture 34"/>
          <p:cNvPicPr>
            <a:picLocks noChangeAspect="1"/>
          </p:cNvPicPr>
          <p:nvPr/>
        </p:nvPicPr>
        <p:blipFill>
          <a:blip r:embed="rId3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466554" y="4402733"/>
            <a:ext cx="125761" cy="138908"/>
          </a:xfrm>
          <a:prstGeom prst="rect">
            <a:avLst/>
          </a:prstGeom>
        </p:spPr>
      </p:pic>
      <p:pic>
        <p:nvPicPr>
          <p:cNvPr id="42" name="Picture 41"/>
          <p:cNvPicPr>
            <a:picLocks noChangeAspect="1"/>
          </p:cNvPicPr>
          <p:nvPr/>
        </p:nvPicPr>
        <p:blipFill>
          <a:blip r:embed="rId3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12789" y="6358070"/>
            <a:ext cx="961391" cy="2946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2306261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1" r:id="rId1"/>
    <p:sldLayoutId id="2147483792" r:id="rId2"/>
    <p:sldLayoutId id="2147483793" r:id="rId3"/>
    <p:sldLayoutId id="2147483794" r:id="rId4"/>
    <p:sldLayoutId id="2147483795" r:id="rId5"/>
    <p:sldLayoutId id="2147483796" r:id="rId6"/>
    <p:sldLayoutId id="2147483797" r:id="rId7"/>
    <p:sldLayoutId id="2147483798" r:id="rId8"/>
    <p:sldLayoutId id="2147483799" r:id="rId9"/>
    <p:sldLayoutId id="2147483800" r:id="rId10"/>
    <p:sldLayoutId id="2147483801" r:id="rId11"/>
    <p:sldLayoutId id="2147483802" r:id="rId12"/>
    <p:sldLayoutId id="2147483803" r:id="rId13"/>
    <p:sldLayoutId id="2147483804" r:id="rId14"/>
    <p:sldLayoutId id="2147483805" r:id="rId15"/>
    <p:sldLayoutId id="2147483806" r:id="rId16"/>
    <p:sldLayoutId id="2147483807" r:id="rId17"/>
    <p:sldLayoutId id="2147483808" r:id="rId18"/>
    <p:sldLayoutId id="2147483809" r:id="rId19"/>
    <p:sldLayoutId id="2147483810" r:id="rId20"/>
    <p:sldLayoutId id="2147483811" r:id="rId21"/>
    <p:sldLayoutId id="2147483812" r:id="rId22"/>
    <p:sldLayoutId id="2147483813" r:id="rId23"/>
    <p:sldLayoutId id="2147483814" r:id="rId24"/>
    <p:sldLayoutId id="2147483815" r:id="rId25"/>
    <p:sldLayoutId id="2147483816" r:id="rId26"/>
    <p:sldLayoutId id="2147483817" r:id="rId27"/>
    <p:sldLayoutId id="2147483818" r:id="rId28"/>
    <p:sldLayoutId id="2147483819" r:id="rId29"/>
    <p:sldLayoutId id="2147483820" r:id="rId30"/>
    <p:sldLayoutId id="2147483821" r:id="rId31"/>
    <p:sldLayoutId id="2147483822" r:id="rId32"/>
    <p:sldLayoutId id="2147483823" r:id="rId33"/>
    <p:sldLayoutId id="2147483824" r:id="rId34"/>
  </p:sldLayoutIdLst>
  <p:timing>
    <p:tnLst>
      <p:par>
        <p:cTn id="1" dur="indefinite" restart="never" nodeType="tmRoot"/>
      </p:par>
    </p:tnLst>
  </p:timing>
  <p:hf hdr="0" ftr="0"/>
  <p:txStyles>
    <p:titleStyle>
      <a:lvl1pPr algn="l" defTabSz="914400" rtl="0" eaLnBrk="1" latinLnBrk="0" hangingPunct="1">
        <a:lnSpc>
          <a:spcPts val="2800"/>
        </a:lnSpc>
        <a:spcBef>
          <a:spcPct val="0"/>
        </a:spcBef>
        <a:buNone/>
        <a:defRPr sz="2800" b="1" kern="1200" baseline="0">
          <a:solidFill>
            <a:schemeClr val="tx2"/>
          </a:solidFill>
          <a:latin typeface="+mj-lt"/>
          <a:ea typeface="+mj-ea"/>
          <a:cs typeface="ING Me" pitchFamily="2" charset="0"/>
        </a:defRPr>
      </a:lvl1pPr>
    </p:titleStyle>
    <p:bodyStyle>
      <a:lvl1pPr marL="0" indent="0" algn="l" defTabSz="914400" rtl="0" eaLnBrk="1" latinLnBrk="0" hangingPunct="1">
        <a:lnSpc>
          <a:spcPts val="2400"/>
        </a:lnSpc>
        <a:spcBef>
          <a:spcPts val="0"/>
        </a:spcBef>
        <a:spcAft>
          <a:spcPts val="0"/>
        </a:spcAft>
        <a:buFont typeface="Arial" panose="020B0604020202020204" pitchFamily="34" charset="0"/>
        <a:buNone/>
        <a:defRPr sz="2000" b="0" kern="1200" baseline="0">
          <a:solidFill>
            <a:schemeClr val="tx1"/>
          </a:solidFill>
          <a:latin typeface="+mn-lt"/>
          <a:ea typeface="+mn-ea"/>
          <a:cs typeface="ING Me" pitchFamily="2" charset="0"/>
        </a:defRPr>
      </a:lvl1pPr>
      <a:lvl2pPr marL="0" indent="0" algn="l" defTabSz="914400" rtl="0" eaLnBrk="1" latinLnBrk="0" hangingPunct="1">
        <a:lnSpc>
          <a:spcPts val="2400"/>
        </a:lnSpc>
        <a:spcBef>
          <a:spcPts val="0"/>
        </a:spcBef>
        <a:spcAft>
          <a:spcPts val="0"/>
        </a:spcAft>
        <a:buFont typeface="Arial" panose="020B0604020202020204" pitchFamily="34" charset="0"/>
        <a:buNone/>
        <a:defRPr sz="2000" kern="1200" baseline="0">
          <a:solidFill>
            <a:schemeClr val="tx1"/>
          </a:solidFill>
          <a:latin typeface="+mn-lt"/>
          <a:ea typeface="+mn-ea"/>
          <a:cs typeface="ING Me" pitchFamily="2" charset="0"/>
        </a:defRPr>
      </a:lvl2pPr>
      <a:lvl3pPr marL="266700" indent="-266700" algn="l" defTabSz="914400" rtl="0" eaLnBrk="1" latinLnBrk="0" hangingPunct="1">
        <a:lnSpc>
          <a:spcPts val="2400"/>
        </a:lnSpc>
        <a:spcBef>
          <a:spcPts val="0"/>
        </a:spcBef>
        <a:spcAft>
          <a:spcPts val="0"/>
        </a:spcAft>
        <a:buClr>
          <a:schemeClr val="tx2"/>
        </a:buClr>
        <a:buFont typeface="ING Me" pitchFamily="2" charset="0"/>
        <a:buChar char="•"/>
        <a:defRPr sz="2000" kern="1200" baseline="0">
          <a:solidFill>
            <a:schemeClr val="tx1"/>
          </a:solidFill>
          <a:latin typeface="+mn-lt"/>
          <a:ea typeface="+mn-ea"/>
          <a:cs typeface="ING Me" pitchFamily="2" charset="0"/>
        </a:defRPr>
      </a:lvl3pPr>
      <a:lvl4pPr marL="512763" indent="-260350" algn="l" defTabSz="914400" rtl="0" eaLnBrk="1" latinLnBrk="0" hangingPunct="1">
        <a:lnSpc>
          <a:spcPts val="2400"/>
        </a:lnSpc>
        <a:spcBef>
          <a:spcPts val="0"/>
        </a:spcBef>
        <a:spcAft>
          <a:spcPts val="0"/>
        </a:spcAft>
        <a:buClr>
          <a:schemeClr val="bg2"/>
        </a:buClr>
        <a:buFont typeface="ING Me" pitchFamily="2" charset="0"/>
        <a:buChar char="•"/>
        <a:defRPr sz="2000" kern="1200" baseline="0">
          <a:solidFill>
            <a:schemeClr val="tx1"/>
          </a:solidFill>
          <a:latin typeface="+mn-lt"/>
          <a:ea typeface="+mn-ea"/>
          <a:cs typeface="ING Me" pitchFamily="2" charset="0"/>
        </a:defRPr>
      </a:lvl4pPr>
      <a:lvl5pPr marL="762000" indent="-252413" algn="l" defTabSz="914400" rtl="0" eaLnBrk="1" latinLnBrk="0" hangingPunct="1">
        <a:lnSpc>
          <a:spcPts val="2400"/>
        </a:lnSpc>
        <a:spcBef>
          <a:spcPts val="0"/>
        </a:spcBef>
        <a:spcAft>
          <a:spcPts val="0"/>
        </a:spcAft>
        <a:buClr>
          <a:schemeClr val="accent3"/>
        </a:buClr>
        <a:buFont typeface="ING Me" pitchFamily="2" charset="0"/>
        <a:buChar char="•"/>
        <a:defRPr sz="2000" kern="1200" baseline="0">
          <a:solidFill>
            <a:schemeClr val="tx1"/>
          </a:solidFill>
          <a:latin typeface="+mn-lt"/>
          <a:ea typeface="+mn-ea"/>
          <a:cs typeface="ING Me" pitchFamily="2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="" xmlns:p15="http://schemas.microsoft.com/office/powerpoint/2012/main">
        <p15:guide id="3" orient="horz" pos="721" userDrawn="1">
          <p15:clr>
            <a:srgbClr val="F26B43"/>
          </p15:clr>
        </p15:guide>
        <p15:guide id="6" pos="7140" userDrawn="1">
          <p15:clr>
            <a:srgbClr val="F26B43"/>
          </p15:clr>
        </p15:guide>
        <p15:guide id="8" pos="528" userDrawn="1">
          <p15:clr>
            <a:srgbClr val="F26B43"/>
          </p15:clr>
        </p15:guide>
        <p15:guide id="9" orient="horz" pos="173" userDrawn="1">
          <p15:clr>
            <a:srgbClr val="F26B43"/>
          </p15:clr>
        </p15:guide>
        <p15:guide id="10" orient="horz" pos="4008" userDrawn="1">
          <p15:clr>
            <a:srgbClr val="F26B43"/>
          </p15:clr>
        </p15:guide>
        <p15:guide id="11" orient="horz" pos="3906" userDrawn="1">
          <p15:clr>
            <a:srgbClr val="F26B43"/>
          </p15:clr>
        </p15:guide>
        <p15:guide id="12" orient="horz" pos="800" userDrawn="1">
          <p15:clr>
            <a:srgbClr val="F26B43"/>
          </p15:clr>
        </p15:guide>
        <p15:guide id="13" pos="7491" userDrawn="1">
          <p15:clr>
            <a:srgbClr val="F26B43"/>
          </p15:clr>
        </p15:guide>
        <p15:guide id="14" pos="437" userDrawn="1">
          <p15:clr>
            <a:srgbClr val="F26B43"/>
          </p15:clr>
        </p15:guide>
        <p15:guide id="15" pos="3834" userDrawn="1">
          <p15:clr>
            <a:srgbClr val="F26B43"/>
          </p15:clr>
        </p15:guide>
        <p15:guide id="16" orient="horz" pos="2358" userDrawn="1">
          <p15:clr>
            <a:srgbClr val="F26B43"/>
          </p15:clr>
        </p15:guide>
        <p15:guide id="17" pos="7398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eg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e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jpeg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gif"/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gif"/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2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2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gif"/><Relationship Id="rId2" Type="http://schemas.openxmlformats.org/officeDocument/2006/relationships/image" Target="../media/image32.jpe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4.jpeg"/></Relationships>
</file>

<file path=ppt/slides/_rels/slide33.xml.rels><?xml version="1.0" encoding="UTF-8" standalone="yes"?>
<Relationships xmlns="http://schemas.openxmlformats.org/package/2006/relationships"><Relationship Id="rId8" Type="http://schemas.openxmlformats.org/officeDocument/2006/relationships/hyperlink" Target="https://github.com/toji/gl-matrix" TargetMode="External"/><Relationship Id="rId3" Type="http://schemas.openxmlformats.org/officeDocument/2006/relationships/hyperlink" Target="https://www.blend4web.com/en/" TargetMode="External"/><Relationship Id="rId7" Type="http://schemas.openxmlformats.org/officeDocument/2006/relationships/hyperlink" Target="https://en.wikipedia.org/wiki/List_of_WebGL_frameworks" TargetMode="External"/><Relationship Id="rId2" Type="http://schemas.openxmlformats.org/officeDocument/2006/relationships/hyperlink" Target="http://threejs.org/" TargetMode="External"/><Relationship Id="rId1" Type="http://schemas.openxmlformats.org/officeDocument/2006/relationships/slideLayout" Target="../slideLayouts/slideLayout2.xml"/><Relationship Id="rId6" Type="http://schemas.openxmlformats.org/officeDocument/2006/relationships/hyperlink" Target="https://unity3d.com/" TargetMode="External"/><Relationship Id="rId5" Type="http://schemas.openxmlformats.org/officeDocument/2006/relationships/hyperlink" Target="https://clara.io/" TargetMode="External"/><Relationship Id="rId4" Type="http://schemas.openxmlformats.org/officeDocument/2006/relationships/hyperlink" Target="http://www.ambiera.com/copperlicht/" TargetMode="Externa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hyperlink" Target="http://threejs.org/examples/#webgl_geometry_cube" TargetMode="External"/><Relationship Id="rId1" Type="http://schemas.openxmlformats.org/officeDocument/2006/relationships/slideLayout" Target="../slideLayouts/slideLayout2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hyperlink" Target="http://www.html5rocks.com/en/tutorials/webgl/webgl_fundamentals/" TargetMode="External"/><Relationship Id="rId2" Type="http://schemas.openxmlformats.org/officeDocument/2006/relationships/hyperlink" Target="http://webglfundamentals.org/" TargetMode="External"/><Relationship Id="rId1" Type="http://schemas.openxmlformats.org/officeDocument/2006/relationships/slideLayout" Target="../slideLayouts/slideLayout2.xml"/><Relationship Id="rId4" Type="http://schemas.openxmlformats.org/officeDocument/2006/relationships/hyperlink" Target="http://www.creativebloq.com/javascript/get-started-webgl-draw-square-7112981" TargetMode="Externa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hyperlink" Target="http://threejs.org/examples/#webgl_postprocessing_dof2" TargetMode="External"/><Relationship Id="rId7" Type="http://schemas.openxmlformats.org/officeDocument/2006/relationships/hyperlink" Target="https://secured-static.greenpeace.org/russia/Global/russia/html/projects/waterpollution/pfc_circulation.html" TargetMode="External"/><Relationship Id="rId2" Type="http://schemas.openxmlformats.org/officeDocument/2006/relationships/hyperlink" Target="http://threejs.org/examples/#webgl_animation_cloth" TargetMode="External"/><Relationship Id="rId1" Type="http://schemas.openxmlformats.org/officeDocument/2006/relationships/slideLayout" Target="../slideLayouts/slideLayout2.xml"/><Relationship Id="rId6" Type="http://schemas.openxmlformats.org/officeDocument/2006/relationships/hyperlink" Target="http://eyes.nasa.gov/curiosity/" TargetMode="External"/><Relationship Id="rId5" Type="http://schemas.openxmlformats.org/officeDocument/2006/relationships/hyperlink" Target="http://threejs.org/examples/#webgl_materials_cubemap_balls_reflection" TargetMode="External"/><Relationship Id="rId4" Type="http://schemas.openxmlformats.org/officeDocument/2006/relationships/hyperlink" Target="http://threejs.org/examples/#webgl_materials_video" TargetMode="Externa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GB" dirty="0" err="1" smtClean="0"/>
              <a:t>WebGL</a:t>
            </a:r>
            <a:r>
              <a:rPr lang="en-GB" dirty="0" smtClean="0"/>
              <a:t>: </a:t>
            </a:r>
            <a:r>
              <a:rPr lang="en-GB" dirty="0" err="1" smtClean="0"/>
              <a:t>Introducti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GB" altLang="en-US" dirty="0" smtClean="0">
                <a:solidFill>
                  <a:schemeClr val="tx2"/>
                </a:solidFill>
              </a:rPr>
              <a:t>Jesse Brand, Hans Borst, Merlin Weemaes</a:t>
            </a:r>
            <a:endParaRPr lang="en-GB" altLang="en-US" dirty="0">
              <a:solidFill>
                <a:schemeClr val="tx2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GB" dirty="0" err="1" smtClean="0"/>
              <a:t>Sessie</a:t>
            </a:r>
            <a:r>
              <a:rPr lang="en-GB" dirty="0" smtClean="0"/>
              <a:t> 1 – </a:t>
            </a:r>
            <a:r>
              <a:rPr lang="en-GB" dirty="0" err="1" smtClean="0"/>
              <a:t>WebGL</a:t>
            </a:r>
            <a:r>
              <a:rPr lang="en-GB" dirty="0" smtClean="0"/>
              <a:t> &amp; OpenGL basics</a:t>
            </a:r>
            <a:endParaRPr lang="en-GB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dirty="0" smtClean="0"/>
              <a:t>16/5/2016</a:t>
            </a:r>
          </a:p>
        </p:txBody>
      </p:sp>
      <p:sp>
        <p:nvSpPr>
          <p:cNvPr id="7" name="Rectangle 2"/>
          <p:cNvSpPr>
            <a:spLocks noChangeArrowheads="1"/>
          </p:cNvSpPr>
          <p:nvPr/>
        </p:nvSpPr>
        <p:spPr bwMode="auto">
          <a:xfrm>
            <a:off x="753269" y="5538795"/>
            <a:ext cx="7315994" cy="8921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defTabSz="954088">
              <a:defRPr sz="900" b="1">
                <a:solidFill>
                  <a:schemeClr val="tx1"/>
                </a:solidFill>
                <a:latin typeface="Rockwell Bold ING" pitchFamily="18" charset="0"/>
                <a:cs typeface="Arial" charset="0"/>
              </a:defRPr>
            </a:lvl1pPr>
            <a:lvl2pPr marL="742950" indent="-285750" defTabSz="954088">
              <a:defRPr sz="900" b="1">
                <a:solidFill>
                  <a:schemeClr val="tx1"/>
                </a:solidFill>
                <a:latin typeface="Rockwell Bold ING" pitchFamily="18" charset="0"/>
                <a:cs typeface="Arial" charset="0"/>
              </a:defRPr>
            </a:lvl2pPr>
            <a:lvl3pPr marL="1143000" indent="-228600" defTabSz="954088">
              <a:defRPr sz="900" b="1">
                <a:solidFill>
                  <a:schemeClr val="tx1"/>
                </a:solidFill>
                <a:latin typeface="Rockwell Bold ING" pitchFamily="18" charset="0"/>
                <a:cs typeface="Arial" charset="0"/>
              </a:defRPr>
            </a:lvl3pPr>
            <a:lvl4pPr marL="1600200" indent="-228600" defTabSz="954088">
              <a:defRPr sz="900" b="1">
                <a:solidFill>
                  <a:schemeClr val="tx1"/>
                </a:solidFill>
                <a:latin typeface="Rockwell Bold ING" pitchFamily="18" charset="0"/>
                <a:cs typeface="Arial" charset="0"/>
              </a:defRPr>
            </a:lvl4pPr>
            <a:lvl5pPr marL="2057400" indent="-228600" defTabSz="954088">
              <a:defRPr sz="900" b="1">
                <a:solidFill>
                  <a:schemeClr val="tx1"/>
                </a:solidFill>
                <a:latin typeface="Rockwell Bold ING" pitchFamily="18" charset="0"/>
                <a:cs typeface="Arial" charset="0"/>
              </a:defRPr>
            </a:lvl5pPr>
            <a:lvl6pPr marL="2514600" indent="-228600" algn="ctr" defTabSz="954088" eaLnBrk="0" fontAlgn="base" hangingPunct="0">
              <a:lnSpc>
                <a:spcPct val="80000"/>
              </a:lnSpc>
              <a:spcBef>
                <a:spcPct val="20000"/>
              </a:spcBef>
              <a:spcAft>
                <a:spcPct val="0"/>
              </a:spcAft>
              <a:defRPr sz="900" b="1">
                <a:solidFill>
                  <a:schemeClr val="tx1"/>
                </a:solidFill>
                <a:latin typeface="Rockwell Bold ING" pitchFamily="18" charset="0"/>
                <a:cs typeface="Arial" charset="0"/>
              </a:defRPr>
            </a:lvl6pPr>
            <a:lvl7pPr marL="2971800" indent="-228600" algn="ctr" defTabSz="954088" eaLnBrk="0" fontAlgn="base" hangingPunct="0">
              <a:lnSpc>
                <a:spcPct val="80000"/>
              </a:lnSpc>
              <a:spcBef>
                <a:spcPct val="20000"/>
              </a:spcBef>
              <a:spcAft>
                <a:spcPct val="0"/>
              </a:spcAft>
              <a:defRPr sz="900" b="1">
                <a:solidFill>
                  <a:schemeClr val="tx1"/>
                </a:solidFill>
                <a:latin typeface="Rockwell Bold ING" pitchFamily="18" charset="0"/>
                <a:cs typeface="Arial" charset="0"/>
              </a:defRPr>
            </a:lvl7pPr>
            <a:lvl8pPr marL="3429000" indent="-228600" algn="ctr" defTabSz="954088" eaLnBrk="0" fontAlgn="base" hangingPunct="0">
              <a:lnSpc>
                <a:spcPct val="80000"/>
              </a:lnSpc>
              <a:spcBef>
                <a:spcPct val="20000"/>
              </a:spcBef>
              <a:spcAft>
                <a:spcPct val="0"/>
              </a:spcAft>
              <a:defRPr sz="900" b="1">
                <a:solidFill>
                  <a:schemeClr val="tx1"/>
                </a:solidFill>
                <a:latin typeface="Rockwell Bold ING" pitchFamily="18" charset="0"/>
                <a:cs typeface="Arial" charset="0"/>
              </a:defRPr>
            </a:lvl8pPr>
            <a:lvl9pPr marL="3886200" indent="-228600" algn="ctr" defTabSz="954088" eaLnBrk="0" fontAlgn="base" hangingPunct="0">
              <a:lnSpc>
                <a:spcPct val="80000"/>
              </a:lnSpc>
              <a:spcBef>
                <a:spcPct val="20000"/>
              </a:spcBef>
              <a:spcAft>
                <a:spcPct val="0"/>
              </a:spcAft>
              <a:defRPr sz="900" b="1">
                <a:solidFill>
                  <a:schemeClr val="tx1"/>
                </a:solidFill>
                <a:latin typeface="Rockwell Bold ING" pitchFamily="18" charset="0"/>
                <a:cs typeface="Arial" charset="0"/>
              </a:defRPr>
            </a:lvl9pPr>
          </a:lstStyle>
          <a:p>
            <a:pPr algn="l" eaLnBrk="1" hangingPunct="1">
              <a:lnSpc>
                <a:spcPct val="100000"/>
              </a:lnSpc>
              <a:spcBef>
                <a:spcPct val="0"/>
              </a:spcBef>
            </a:pPr>
            <a:r>
              <a:rPr lang="en-GB" altLang="en-US" sz="5400" dirty="0" smtClean="0">
                <a:solidFill>
                  <a:schemeClr val="accent1"/>
                </a:solidFill>
                <a:latin typeface="+mj-lt"/>
              </a:rPr>
              <a:t>Chapter Full Stack 6</a:t>
            </a:r>
            <a:endParaRPr lang="en-GB" altLang="en-US" sz="4400" i="1" dirty="0">
              <a:solidFill>
                <a:schemeClr val="accent1"/>
              </a:solidFill>
              <a:latin typeface="+mj-lt"/>
            </a:endParaRPr>
          </a:p>
          <a:p>
            <a:pPr algn="l" eaLnBrk="1" hangingPunct="1">
              <a:lnSpc>
                <a:spcPct val="100000"/>
              </a:lnSpc>
              <a:spcBef>
                <a:spcPct val="0"/>
              </a:spcBef>
            </a:pPr>
            <a:r>
              <a:rPr lang="en-GB" altLang="en-US" sz="4400" b="0" i="1" dirty="0">
                <a:solidFill>
                  <a:schemeClr val="accent1"/>
                </a:solidFill>
                <a:latin typeface="Rockwell ING" pitchFamily="18" charset="0"/>
              </a:rPr>
              <a:t>		</a:t>
            </a:r>
            <a:endParaRPr lang="en-GB" altLang="en-US" sz="4400" b="0" i="1" dirty="0">
              <a:latin typeface="Rockwell ING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302810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687031" y="1278387"/>
            <a:ext cx="9218969" cy="4922391"/>
          </a:xfrm>
        </p:spPr>
        <p:txBody>
          <a:bodyPr/>
          <a:lstStyle/>
          <a:p>
            <a:r>
              <a:rPr lang="en-US" dirty="0"/>
              <a:t>&lt;body </a:t>
            </a:r>
            <a:r>
              <a:rPr lang="en-US" dirty="0" err="1"/>
              <a:t>onload</a:t>
            </a:r>
            <a:r>
              <a:rPr lang="en-US" dirty="0" smtClean="0"/>
              <a:t>=“</a:t>
            </a:r>
            <a:r>
              <a:rPr lang="en-US" dirty="0" err="1" smtClean="0"/>
              <a:t>initWebGL</a:t>
            </a:r>
            <a:r>
              <a:rPr lang="en-US" dirty="0" smtClean="0"/>
              <a:t>();"&gt;</a:t>
            </a:r>
          </a:p>
          <a:p>
            <a:r>
              <a:rPr lang="en-US" dirty="0" smtClean="0"/>
              <a:t>	&lt;</a:t>
            </a:r>
            <a:r>
              <a:rPr lang="en-US" dirty="0"/>
              <a:t>canvas id</a:t>
            </a:r>
            <a:r>
              <a:rPr lang="en-US" dirty="0" smtClean="0"/>
              <a:t>=“</a:t>
            </a:r>
            <a:r>
              <a:rPr lang="en-US" dirty="0" err="1" smtClean="0"/>
              <a:t>wgl</a:t>
            </a:r>
            <a:r>
              <a:rPr lang="en-US" dirty="0" smtClean="0"/>
              <a:t>" width</a:t>
            </a:r>
            <a:r>
              <a:rPr lang="en-US" dirty="0"/>
              <a:t>="500" height="500"&gt;&lt;/canvas</a:t>
            </a:r>
            <a:r>
              <a:rPr lang="en-US" dirty="0" smtClean="0"/>
              <a:t>&gt;</a:t>
            </a:r>
          </a:p>
          <a:p>
            <a:r>
              <a:rPr lang="en-US" dirty="0" smtClean="0"/>
              <a:t>&lt;/</a:t>
            </a:r>
            <a:r>
              <a:rPr lang="en-US" dirty="0"/>
              <a:t>body</a:t>
            </a:r>
            <a:r>
              <a:rPr lang="en-US" dirty="0" smtClean="0"/>
              <a:t>&gt;</a:t>
            </a:r>
          </a:p>
          <a:p>
            <a:r>
              <a:rPr lang="en-US" dirty="0" err="1" smtClean="0"/>
              <a:t>var</a:t>
            </a:r>
            <a:r>
              <a:rPr lang="en-US" dirty="0" smtClean="0"/>
              <a:t> </a:t>
            </a:r>
            <a:r>
              <a:rPr lang="en-US" dirty="0" err="1" smtClean="0"/>
              <a:t>gl</a:t>
            </a:r>
            <a:r>
              <a:rPr lang="en-US" dirty="0" smtClean="0"/>
              <a:t>;</a:t>
            </a:r>
          </a:p>
          <a:p>
            <a:r>
              <a:rPr lang="en-US" dirty="0" err="1" smtClean="0"/>
              <a:t>var</a:t>
            </a:r>
            <a:r>
              <a:rPr lang="en-US" dirty="0" smtClean="0"/>
              <a:t> program;</a:t>
            </a:r>
            <a:endParaRPr lang="en-US" dirty="0"/>
          </a:p>
          <a:p>
            <a:endParaRPr lang="en-US" dirty="0"/>
          </a:p>
          <a:p>
            <a:r>
              <a:rPr lang="en-US" dirty="0"/>
              <a:t>function </a:t>
            </a:r>
            <a:r>
              <a:rPr lang="en-US" dirty="0" err="1"/>
              <a:t>initWebGL</a:t>
            </a:r>
            <a:r>
              <a:rPr lang="en-US" dirty="0"/>
              <a:t>() {</a:t>
            </a:r>
          </a:p>
          <a:p>
            <a:r>
              <a:rPr lang="en-US" dirty="0"/>
              <a:t>	</a:t>
            </a:r>
            <a:r>
              <a:rPr lang="en-US" dirty="0" err="1"/>
              <a:t>var</a:t>
            </a:r>
            <a:r>
              <a:rPr lang="en-US" dirty="0"/>
              <a:t> canvas = </a:t>
            </a:r>
            <a:r>
              <a:rPr lang="en-US" dirty="0" err="1"/>
              <a:t>document.getElementById</a:t>
            </a:r>
            <a:r>
              <a:rPr lang="en-US" dirty="0"/>
              <a:t>("</a:t>
            </a:r>
            <a:r>
              <a:rPr lang="en-US" dirty="0" err="1"/>
              <a:t>wgl</a:t>
            </a:r>
            <a:r>
              <a:rPr lang="en-US" dirty="0"/>
              <a:t>");</a:t>
            </a:r>
          </a:p>
          <a:p>
            <a:r>
              <a:rPr lang="en-US" dirty="0"/>
              <a:t>	</a:t>
            </a:r>
            <a:r>
              <a:rPr lang="en-US" dirty="0" err="1"/>
              <a:t>gl</a:t>
            </a:r>
            <a:r>
              <a:rPr lang="en-US" dirty="0"/>
              <a:t> = </a:t>
            </a:r>
            <a:r>
              <a:rPr lang="en-US" dirty="0" err="1"/>
              <a:t>initGL</a:t>
            </a:r>
            <a:r>
              <a:rPr lang="en-US" dirty="0"/>
              <a:t>(canvas);</a:t>
            </a:r>
          </a:p>
          <a:p>
            <a:r>
              <a:rPr lang="en-US" dirty="0"/>
              <a:t>	</a:t>
            </a:r>
            <a:r>
              <a:rPr lang="en-US" dirty="0" err="1"/>
              <a:t>gl.viewport</a:t>
            </a:r>
            <a:r>
              <a:rPr lang="en-US" dirty="0"/>
              <a:t>(0, 0, </a:t>
            </a:r>
            <a:r>
              <a:rPr lang="en-US" dirty="0" err="1"/>
              <a:t>canvas.width</a:t>
            </a:r>
            <a:r>
              <a:rPr lang="en-US" dirty="0"/>
              <a:t>, </a:t>
            </a:r>
            <a:r>
              <a:rPr lang="en-US" dirty="0" err="1"/>
              <a:t>canvas.height</a:t>
            </a:r>
            <a:r>
              <a:rPr lang="en-US" dirty="0"/>
              <a:t>);</a:t>
            </a:r>
          </a:p>
          <a:p>
            <a:r>
              <a:rPr lang="en-US" dirty="0"/>
              <a:t>	program = </a:t>
            </a:r>
            <a:r>
              <a:rPr lang="en-US" dirty="0" err="1"/>
              <a:t>initShaders</a:t>
            </a:r>
            <a:r>
              <a:rPr lang="en-US" dirty="0"/>
              <a:t>();</a:t>
            </a:r>
          </a:p>
          <a:p>
            <a:r>
              <a:rPr lang="en-US" dirty="0"/>
              <a:t>	</a:t>
            </a:r>
            <a:r>
              <a:rPr lang="en-US" dirty="0" err="1"/>
              <a:t>drawScene</a:t>
            </a:r>
            <a:r>
              <a:rPr lang="en-US" dirty="0"/>
              <a:t>();</a:t>
            </a:r>
          </a:p>
          <a:p>
            <a:r>
              <a:rPr lang="en-US" dirty="0"/>
              <a:t>}</a:t>
            </a:r>
            <a:endParaRPr lang="nl-NL" dirty="0"/>
          </a:p>
          <a:p>
            <a:r>
              <a:rPr lang="nl-NL" dirty="0" err="1" smtClean="0"/>
              <a:t>function</a:t>
            </a:r>
            <a:r>
              <a:rPr lang="nl-NL" dirty="0" smtClean="0"/>
              <a:t> </a:t>
            </a:r>
            <a:r>
              <a:rPr lang="nl-NL" dirty="0" err="1" smtClean="0"/>
              <a:t>initGL</a:t>
            </a:r>
            <a:r>
              <a:rPr lang="nl-NL" dirty="0" smtClean="0"/>
              <a:t>(canvas) {</a:t>
            </a:r>
          </a:p>
          <a:p>
            <a:r>
              <a:rPr lang="nl-NL" dirty="0"/>
              <a:t>	</a:t>
            </a:r>
            <a:r>
              <a:rPr lang="nl-NL" dirty="0" smtClean="0"/>
              <a:t>return </a:t>
            </a:r>
            <a:r>
              <a:rPr lang="nl-NL" dirty="0" err="1"/>
              <a:t>canvas.getContext</a:t>
            </a:r>
            <a:r>
              <a:rPr lang="nl-NL" dirty="0"/>
              <a:t>("</a:t>
            </a:r>
            <a:r>
              <a:rPr lang="nl-NL" dirty="0" err="1"/>
              <a:t>webgl</a:t>
            </a:r>
            <a:r>
              <a:rPr lang="nl-NL" dirty="0" smtClean="0"/>
              <a:t>")</a:t>
            </a:r>
          </a:p>
          <a:p>
            <a:r>
              <a:rPr lang="nl-NL" dirty="0"/>
              <a:t>	</a:t>
            </a:r>
            <a:r>
              <a:rPr lang="nl-NL" dirty="0" smtClean="0"/>
              <a:t>	|| </a:t>
            </a:r>
            <a:r>
              <a:rPr lang="nl-NL" dirty="0" err="1"/>
              <a:t>canvas.getContext</a:t>
            </a:r>
            <a:r>
              <a:rPr lang="nl-NL" dirty="0"/>
              <a:t>("</a:t>
            </a:r>
            <a:r>
              <a:rPr lang="nl-NL" dirty="0" err="1"/>
              <a:t>experimental-webgl</a:t>
            </a:r>
            <a:r>
              <a:rPr lang="nl-NL" dirty="0"/>
              <a:t>");</a:t>
            </a:r>
            <a:endParaRPr lang="nl-NL" dirty="0" smtClean="0"/>
          </a:p>
          <a:p>
            <a:r>
              <a:rPr lang="nl-NL" dirty="0" smtClean="0"/>
              <a:t>}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 err="1" smtClean="0"/>
              <a:t>Getting</a:t>
            </a:r>
            <a:r>
              <a:rPr lang="nl-NL" dirty="0" smtClean="0"/>
              <a:t> </a:t>
            </a:r>
            <a:r>
              <a:rPr lang="nl-NL" dirty="0" err="1" smtClean="0"/>
              <a:t>Started</a:t>
            </a:r>
            <a:endParaRPr lang="nl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10</a:t>
            </a:fld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3950897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674331" y="922787"/>
            <a:ext cx="9231669" cy="5490713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nl-NL" dirty="0" err="1"/>
              <a:t>function</a:t>
            </a:r>
            <a:r>
              <a:rPr lang="nl-NL" dirty="0"/>
              <a:t> </a:t>
            </a:r>
            <a:r>
              <a:rPr lang="nl-NL" dirty="0" err="1"/>
              <a:t>drawScene</a:t>
            </a:r>
            <a:r>
              <a:rPr lang="nl-NL" dirty="0"/>
              <a:t>() {</a:t>
            </a:r>
          </a:p>
          <a:p>
            <a:pPr>
              <a:lnSpc>
                <a:spcPct val="100000"/>
              </a:lnSpc>
            </a:pPr>
            <a:r>
              <a:rPr lang="nl-NL" dirty="0"/>
              <a:t>	</a:t>
            </a:r>
            <a:r>
              <a:rPr lang="nl-NL" b="1" dirty="0" err="1" smtClean="0"/>
              <a:t>gl.clearColor</a:t>
            </a:r>
            <a:r>
              <a:rPr lang="nl-NL" b="1" dirty="0" smtClean="0"/>
              <a:t>(0.0, 0.0, 0.0, 1.0);</a:t>
            </a:r>
            <a:endParaRPr lang="nl-NL" b="1" dirty="0"/>
          </a:p>
          <a:p>
            <a:pPr>
              <a:lnSpc>
                <a:spcPct val="100000"/>
              </a:lnSpc>
            </a:pPr>
            <a:r>
              <a:rPr lang="nl-NL" dirty="0"/>
              <a:t>	</a:t>
            </a:r>
            <a:r>
              <a:rPr lang="nl-NL" b="1" dirty="0" err="1"/>
              <a:t>gl.clear</a:t>
            </a:r>
            <a:r>
              <a:rPr lang="nl-NL" b="1" dirty="0"/>
              <a:t>(</a:t>
            </a:r>
            <a:r>
              <a:rPr lang="nl-NL" b="1" dirty="0" err="1"/>
              <a:t>gl.COLOR_BUFFER_BIT</a:t>
            </a:r>
            <a:r>
              <a:rPr lang="nl-NL" b="1" dirty="0"/>
              <a:t>);</a:t>
            </a:r>
          </a:p>
          <a:p>
            <a:pPr>
              <a:lnSpc>
                <a:spcPct val="100000"/>
              </a:lnSpc>
            </a:pPr>
            <a:endParaRPr lang="nl-NL" dirty="0"/>
          </a:p>
          <a:p>
            <a:pPr>
              <a:lnSpc>
                <a:spcPct val="100000"/>
              </a:lnSpc>
            </a:pPr>
            <a:r>
              <a:rPr lang="nl-NL" dirty="0"/>
              <a:t>	</a:t>
            </a:r>
            <a:r>
              <a:rPr lang="nl-NL" b="1" dirty="0"/>
              <a:t>var </a:t>
            </a:r>
            <a:r>
              <a:rPr lang="nl-NL" b="1" dirty="0" err="1"/>
              <a:t>vertices</a:t>
            </a:r>
            <a:r>
              <a:rPr lang="nl-NL" b="1" dirty="0"/>
              <a:t> = new Float32Array</a:t>
            </a:r>
            <a:r>
              <a:rPr lang="nl-NL" b="1" dirty="0" smtClean="0"/>
              <a:t>([-1.0, -1.0,    1.0, -1.0,    -1.0, 1.0]);</a:t>
            </a:r>
            <a:endParaRPr lang="nl-NL" b="1" dirty="0"/>
          </a:p>
          <a:p>
            <a:pPr>
              <a:lnSpc>
                <a:spcPct val="100000"/>
              </a:lnSpc>
            </a:pPr>
            <a:r>
              <a:rPr lang="nl-NL" dirty="0"/>
              <a:t>	var buffer = </a:t>
            </a:r>
            <a:r>
              <a:rPr lang="nl-NL" dirty="0" err="1"/>
              <a:t>gl.createBuffer</a:t>
            </a:r>
            <a:r>
              <a:rPr lang="nl-NL" dirty="0"/>
              <a:t>();</a:t>
            </a:r>
          </a:p>
          <a:p>
            <a:pPr>
              <a:lnSpc>
                <a:spcPct val="100000"/>
              </a:lnSpc>
            </a:pPr>
            <a:r>
              <a:rPr lang="nl-NL" dirty="0"/>
              <a:t>	</a:t>
            </a:r>
            <a:r>
              <a:rPr lang="nl-NL" dirty="0" err="1"/>
              <a:t>gl.bindBuffer</a:t>
            </a:r>
            <a:r>
              <a:rPr lang="nl-NL" dirty="0"/>
              <a:t>(</a:t>
            </a:r>
            <a:r>
              <a:rPr lang="nl-NL" dirty="0" err="1"/>
              <a:t>gl.ARRAY_BUFFER</a:t>
            </a:r>
            <a:r>
              <a:rPr lang="nl-NL" dirty="0"/>
              <a:t>, buffer);</a:t>
            </a:r>
          </a:p>
          <a:p>
            <a:pPr>
              <a:lnSpc>
                <a:spcPct val="100000"/>
              </a:lnSpc>
            </a:pPr>
            <a:r>
              <a:rPr lang="nl-NL" dirty="0"/>
              <a:t>	</a:t>
            </a:r>
            <a:r>
              <a:rPr lang="nl-NL" dirty="0" err="1"/>
              <a:t>gl.bufferData</a:t>
            </a:r>
            <a:r>
              <a:rPr lang="nl-NL" dirty="0"/>
              <a:t>(</a:t>
            </a:r>
            <a:r>
              <a:rPr lang="nl-NL" dirty="0" err="1"/>
              <a:t>gl.ARRAY_BUFFER</a:t>
            </a:r>
            <a:r>
              <a:rPr lang="nl-NL" dirty="0"/>
              <a:t>, </a:t>
            </a:r>
            <a:r>
              <a:rPr lang="nl-NL" dirty="0" err="1"/>
              <a:t>vertices</a:t>
            </a:r>
            <a:r>
              <a:rPr lang="nl-NL" dirty="0"/>
              <a:t>, </a:t>
            </a:r>
            <a:r>
              <a:rPr lang="nl-NL" dirty="0" err="1"/>
              <a:t>gl.STATIC_DRAW</a:t>
            </a:r>
            <a:r>
              <a:rPr lang="nl-NL" dirty="0"/>
              <a:t>);</a:t>
            </a:r>
          </a:p>
          <a:p>
            <a:pPr>
              <a:lnSpc>
                <a:spcPct val="100000"/>
              </a:lnSpc>
            </a:pPr>
            <a:endParaRPr lang="nl-NL" dirty="0"/>
          </a:p>
          <a:p>
            <a:pPr>
              <a:lnSpc>
                <a:spcPct val="100000"/>
              </a:lnSpc>
            </a:pPr>
            <a:r>
              <a:rPr lang="nl-NL" dirty="0"/>
              <a:t>	var </a:t>
            </a:r>
            <a:r>
              <a:rPr lang="nl-NL" dirty="0" err="1"/>
              <a:t>colorLocation</a:t>
            </a:r>
            <a:r>
              <a:rPr lang="nl-NL" dirty="0"/>
              <a:t> = </a:t>
            </a:r>
            <a:r>
              <a:rPr lang="nl-NL" dirty="0" err="1"/>
              <a:t>gl.getUniformLocation</a:t>
            </a:r>
            <a:r>
              <a:rPr lang="nl-NL" dirty="0"/>
              <a:t>(program, "</a:t>
            </a:r>
            <a:r>
              <a:rPr lang="nl-NL" dirty="0" err="1"/>
              <a:t>uColor</a:t>
            </a:r>
            <a:r>
              <a:rPr lang="nl-NL" dirty="0"/>
              <a:t>");</a:t>
            </a:r>
          </a:p>
          <a:p>
            <a:pPr>
              <a:lnSpc>
                <a:spcPct val="100000"/>
              </a:lnSpc>
            </a:pPr>
            <a:r>
              <a:rPr lang="nl-NL" dirty="0"/>
              <a:t>	</a:t>
            </a:r>
            <a:r>
              <a:rPr lang="nl-NL" b="1" dirty="0"/>
              <a:t>gl.uniform4fv(</a:t>
            </a:r>
            <a:r>
              <a:rPr lang="nl-NL" b="1" dirty="0" err="1"/>
              <a:t>colorLocation</a:t>
            </a:r>
            <a:r>
              <a:rPr lang="nl-NL" b="1" dirty="0"/>
              <a:t>, [0.0, 1.0, 0.0, 1.0]);</a:t>
            </a:r>
          </a:p>
          <a:p>
            <a:pPr>
              <a:lnSpc>
                <a:spcPct val="100000"/>
              </a:lnSpc>
            </a:pPr>
            <a:endParaRPr lang="nl-NL" dirty="0"/>
          </a:p>
          <a:p>
            <a:pPr>
              <a:lnSpc>
                <a:spcPct val="100000"/>
              </a:lnSpc>
            </a:pPr>
            <a:r>
              <a:rPr lang="nl-NL" dirty="0"/>
              <a:t>	var </a:t>
            </a:r>
            <a:r>
              <a:rPr lang="nl-NL" dirty="0" err="1"/>
              <a:t>positionLocation</a:t>
            </a:r>
            <a:r>
              <a:rPr lang="nl-NL" dirty="0"/>
              <a:t> = </a:t>
            </a:r>
            <a:r>
              <a:rPr lang="nl-NL" dirty="0" err="1"/>
              <a:t>gl.getAttribLocation</a:t>
            </a:r>
            <a:r>
              <a:rPr lang="nl-NL" dirty="0"/>
              <a:t>(program, "</a:t>
            </a:r>
            <a:r>
              <a:rPr lang="nl-NL" dirty="0" err="1"/>
              <a:t>aPosition</a:t>
            </a:r>
            <a:r>
              <a:rPr lang="nl-NL" dirty="0"/>
              <a:t>");</a:t>
            </a:r>
          </a:p>
          <a:p>
            <a:pPr>
              <a:lnSpc>
                <a:spcPct val="100000"/>
              </a:lnSpc>
            </a:pPr>
            <a:r>
              <a:rPr lang="nl-NL" dirty="0"/>
              <a:t>	</a:t>
            </a:r>
            <a:r>
              <a:rPr lang="nl-NL" dirty="0" err="1"/>
              <a:t>gl.enableVertexAttribArray</a:t>
            </a:r>
            <a:r>
              <a:rPr lang="nl-NL" dirty="0"/>
              <a:t>(</a:t>
            </a:r>
            <a:r>
              <a:rPr lang="nl-NL" dirty="0" err="1"/>
              <a:t>positionLocation</a:t>
            </a:r>
            <a:r>
              <a:rPr lang="nl-NL" dirty="0"/>
              <a:t>); </a:t>
            </a:r>
          </a:p>
          <a:p>
            <a:pPr>
              <a:lnSpc>
                <a:spcPct val="100000"/>
              </a:lnSpc>
            </a:pPr>
            <a:r>
              <a:rPr lang="nl-NL" dirty="0"/>
              <a:t>	</a:t>
            </a:r>
            <a:r>
              <a:rPr lang="nl-NL" dirty="0" err="1"/>
              <a:t>gl.vertexAttribPointer</a:t>
            </a:r>
            <a:r>
              <a:rPr lang="nl-NL" dirty="0"/>
              <a:t>(</a:t>
            </a:r>
            <a:r>
              <a:rPr lang="nl-NL" dirty="0" err="1"/>
              <a:t>positionLocation</a:t>
            </a:r>
            <a:r>
              <a:rPr lang="nl-NL" dirty="0"/>
              <a:t>, 2, </a:t>
            </a:r>
            <a:r>
              <a:rPr lang="nl-NL" dirty="0" err="1"/>
              <a:t>gl.FLOAT</a:t>
            </a:r>
            <a:r>
              <a:rPr lang="nl-NL" dirty="0"/>
              <a:t>, </a:t>
            </a:r>
            <a:r>
              <a:rPr lang="nl-NL" dirty="0" err="1"/>
              <a:t>false</a:t>
            </a:r>
            <a:r>
              <a:rPr lang="nl-NL" dirty="0"/>
              <a:t>, 0, 0);</a:t>
            </a:r>
          </a:p>
          <a:p>
            <a:pPr>
              <a:lnSpc>
                <a:spcPct val="100000"/>
              </a:lnSpc>
            </a:pPr>
            <a:endParaRPr lang="nl-NL" dirty="0"/>
          </a:p>
          <a:p>
            <a:pPr>
              <a:lnSpc>
                <a:spcPct val="100000"/>
              </a:lnSpc>
            </a:pPr>
            <a:r>
              <a:rPr lang="nl-NL" dirty="0"/>
              <a:t>	</a:t>
            </a:r>
            <a:r>
              <a:rPr lang="nl-NL" b="1" dirty="0" err="1"/>
              <a:t>gl.drawArrays</a:t>
            </a:r>
            <a:r>
              <a:rPr lang="nl-NL" b="1" dirty="0"/>
              <a:t>(</a:t>
            </a:r>
            <a:r>
              <a:rPr lang="nl-NL" b="1" dirty="0" err="1"/>
              <a:t>gl.TRIANGLES</a:t>
            </a:r>
            <a:r>
              <a:rPr lang="nl-NL" b="1" dirty="0"/>
              <a:t>, 0, 3);</a:t>
            </a:r>
          </a:p>
          <a:p>
            <a:pPr>
              <a:lnSpc>
                <a:spcPct val="100000"/>
              </a:lnSpc>
            </a:pPr>
            <a:r>
              <a:rPr lang="nl-NL" dirty="0"/>
              <a:t>}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 err="1"/>
              <a:t>Getting</a:t>
            </a:r>
            <a:r>
              <a:rPr lang="nl-NL" dirty="0"/>
              <a:t> </a:t>
            </a:r>
            <a:r>
              <a:rPr lang="nl-NL" dirty="0" err="1" smtClean="0"/>
              <a:t>Started</a:t>
            </a:r>
            <a:endParaRPr lang="nl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11</a:t>
            </a:fld>
            <a:endParaRPr lang="en-GB" noProof="0" dirty="0"/>
          </a:p>
        </p:txBody>
      </p:sp>
      <p:grpSp>
        <p:nvGrpSpPr>
          <p:cNvPr id="11" name="Group 10"/>
          <p:cNvGrpSpPr/>
          <p:nvPr/>
        </p:nvGrpSpPr>
        <p:grpSpPr>
          <a:xfrm>
            <a:off x="1473200" y="939800"/>
            <a:ext cx="6807200" cy="635000"/>
            <a:chOff x="1473200" y="939800"/>
            <a:chExt cx="6807200" cy="635000"/>
          </a:xfrm>
        </p:grpSpPr>
        <p:sp>
          <p:nvSpPr>
            <p:cNvPr id="5" name="Rectangle 4"/>
            <p:cNvSpPr/>
            <p:nvPr/>
          </p:nvSpPr>
          <p:spPr>
            <a:xfrm>
              <a:off x="1473200" y="1168400"/>
              <a:ext cx="3721100" cy="406400"/>
            </a:xfrm>
            <a:prstGeom prst="rect">
              <a:avLst/>
            </a:prstGeom>
            <a:noFill/>
            <a:ln w="3175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</a:pPr>
              <a:endParaRPr lang="nl-NL" sz="1600" smtClean="0"/>
            </a:p>
          </p:txBody>
        </p:sp>
        <p:cxnSp>
          <p:nvCxnSpPr>
            <p:cNvPr id="7" name="Straight Arrow Connector 6"/>
            <p:cNvCxnSpPr>
              <a:stCxn id="8" idx="1"/>
              <a:endCxn id="5" idx="3"/>
            </p:cNvCxnSpPr>
            <p:nvPr/>
          </p:nvCxnSpPr>
          <p:spPr>
            <a:xfrm flipH="1">
              <a:off x="5194300" y="1114651"/>
              <a:ext cx="1079500" cy="256949"/>
            </a:xfrm>
            <a:prstGeom prst="straightConnector1">
              <a:avLst/>
            </a:prstGeom>
            <a:ln w="25400">
              <a:solidFill>
                <a:schemeClr val="accent4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" name="TextBox 7"/>
            <p:cNvSpPr txBox="1"/>
            <p:nvPr/>
          </p:nvSpPr>
          <p:spPr>
            <a:xfrm>
              <a:off x="6273800" y="939800"/>
              <a:ext cx="2006600" cy="349702"/>
            </a:xfrm>
            <a:prstGeom prst="rect">
              <a:avLst/>
            </a:prstGeom>
            <a:noFill/>
          </p:spPr>
          <p:txBody>
            <a:bodyPr wrap="square" lIns="36000" tIns="36000" rIns="36000" bIns="36000" rtlCol="0">
              <a:spAutoFit/>
            </a:bodyPr>
            <a:lstStyle/>
            <a:p>
              <a:r>
                <a:rPr lang="nl-NL" b="1" dirty="0" smtClean="0">
                  <a:solidFill>
                    <a:schemeClr val="accent4"/>
                  </a:solidFill>
                </a:rPr>
                <a:t>Achtergrondkleur</a:t>
              </a:r>
            </a:p>
          </p:txBody>
        </p:sp>
      </p:grpSp>
      <p:grpSp>
        <p:nvGrpSpPr>
          <p:cNvPr id="12" name="Group 11"/>
          <p:cNvGrpSpPr/>
          <p:nvPr/>
        </p:nvGrpSpPr>
        <p:grpSpPr>
          <a:xfrm>
            <a:off x="3149600" y="341425"/>
            <a:ext cx="3048000" cy="1233375"/>
            <a:chOff x="2832100" y="-114300"/>
            <a:chExt cx="3048000" cy="1233375"/>
          </a:xfrm>
        </p:grpSpPr>
        <p:sp>
          <p:nvSpPr>
            <p:cNvPr id="13" name="Rectangle 12"/>
            <p:cNvSpPr/>
            <p:nvPr/>
          </p:nvSpPr>
          <p:spPr>
            <a:xfrm>
              <a:off x="2832100" y="712675"/>
              <a:ext cx="1358900" cy="406400"/>
            </a:xfrm>
            <a:prstGeom prst="rect">
              <a:avLst/>
            </a:prstGeom>
            <a:noFill/>
            <a:ln w="3175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</a:pPr>
              <a:endParaRPr lang="nl-NL" sz="1600" smtClean="0"/>
            </a:p>
          </p:txBody>
        </p:sp>
        <p:cxnSp>
          <p:nvCxnSpPr>
            <p:cNvPr id="14" name="Straight Arrow Connector 13"/>
            <p:cNvCxnSpPr>
              <a:stCxn id="15" idx="1"/>
              <a:endCxn id="13" idx="0"/>
            </p:cNvCxnSpPr>
            <p:nvPr/>
          </p:nvCxnSpPr>
          <p:spPr>
            <a:xfrm flipH="1">
              <a:off x="3511550" y="60551"/>
              <a:ext cx="361950" cy="652124"/>
            </a:xfrm>
            <a:prstGeom prst="straightConnector1">
              <a:avLst/>
            </a:prstGeom>
            <a:ln w="25400">
              <a:solidFill>
                <a:schemeClr val="accent4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5" name="TextBox 14"/>
            <p:cNvSpPr txBox="1"/>
            <p:nvPr/>
          </p:nvSpPr>
          <p:spPr>
            <a:xfrm>
              <a:off x="3873500" y="-114300"/>
              <a:ext cx="2006600" cy="349702"/>
            </a:xfrm>
            <a:prstGeom prst="rect">
              <a:avLst/>
            </a:prstGeom>
            <a:noFill/>
          </p:spPr>
          <p:txBody>
            <a:bodyPr wrap="square" lIns="36000" tIns="36000" rIns="36000" bIns="36000" rtlCol="0">
              <a:spAutoFit/>
            </a:bodyPr>
            <a:lstStyle/>
            <a:p>
              <a:r>
                <a:rPr lang="nl-NL" b="1" dirty="0" smtClean="0">
                  <a:solidFill>
                    <a:schemeClr val="accent4"/>
                  </a:solidFill>
                </a:rPr>
                <a:t>R,G,B (0.0-1.0)</a:t>
              </a:r>
            </a:p>
          </p:txBody>
        </p:sp>
      </p:grpSp>
      <p:grpSp>
        <p:nvGrpSpPr>
          <p:cNvPr id="21" name="Group 20"/>
          <p:cNvGrpSpPr/>
          <p:nvPr/>
        </p:nvGrpSpPr>
        <p:grpSpPr>
          <a:xfrm>
            <a:off x="4572000" y="593950"/>
            <a:ext cx="2628900" cy="979375"/>
            <a:chOff x="2832100" y="101600"/>
            <a:chExt cx="2628900" cy="979375"/>
          </a:xfrm>
        </p:grpSpPr>
        <p:sp>
          <p:nvSpPr>
            <p:cNvPr id="22" name="Rectangle 21"/>
            <p:cNvSpPr/>
            <p:nvPr/>
          </p:nvSpPr>
          <p:spPr>
            <a:xfrm>
              <a:off x="2832100" y="674575"/>
              <a:ext cx="406400" cy="406400"/>
            </a:xfrm>
            <a:prstGeom prst="rect">
              <a:avLst/>
            </a:prstGeom>
            <a:noFill/>
            <a:ln w="3175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</a:pPr>
              <a:endParaRPr lang="nl-NL" sz="1600" smtClean="0"/>
            </a:p>
          </p:txBody>
        </p:sp>
        <p:cxnSp>
          <p:nvCxnSpPr>
            <p:cNvPr id="23" name="Straight Arrow Connector 22"/>
            <p:cNvCxnSpPr>
              <a:stCxn id="24" idx="1"/>
              <a:endCxn id="22" idx="0"/>
            </p:cNvCxnSpPr>
            <p:nvPr/>
          </p:nvCxnSpPr>
          <p:spPr>
            <a:xfrm flipH="1">
              <a:off x="3035300" y="276451"/>
              <a:ext cx="419100" cy="398124"/>
            </a:xfrm>
            <a:prstGeom prst="straightConnector1">
              <a:avLst/>
            </a:prstGeom>
            <a:ln w="25400">
              <a:solidFill>
                <a:schemeClr val="accent4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4" name="TextBox 23"/>
            <p:cNvSpPr txBox="1"/>
            <p:nvPr/>
          </p:nvSpPr>
          <p:spPr>
            <a:xfrm>
              <a:off x="3454400" y="101600"/>
              <a:ext cx="2006600" cy="349702"/>
            </a:xfrm>
            <a:prstGeom prst="rect">
              <a:avLst/>
            </a:prstGeom>
            <a:noFill/>
          </p:spPr>
          <p:txBody>
            <a:bodyPr wrap="square" lIns="36000" tIns="36000" rIns="36000" bIns="36000" rtlCol="0">
              <a:spAutoFit/>
            </a:bodyPr>
            <a:lstStyle/>
            <a:p>
              <a:r>
                <a:rPr lang="nl-NL" b="1" dirty="0" err="1" smtClean="0">
                  <a:solidFill>
                    <a:schemeClr val="accent4"/>
                  </a:solidFill>
                </a:rPr>
                <a:t>Alpha</a:t>
              </a:r>
              <a:r>
                <a:rPr lang="nl-NL" b="1" dirty="0" smtClean="0">
                  <a:solidFill>
                    <a:schemeClr val="accent4"/>
                  </a:solidFill>
                </a:rPr>
                <a:t> (0.0-1.0)</a:t>
              </a:r>
            </a:p>
          </p:txBody>
        </p:sp>
      </p:grpSp>
      <p:grpSp>
        <p:nvGrpSpPr>
          <p:cNvPr id="28" name="Group 27"/>
          <p:cNvGrpSpPr/>
          <p:nvPr/>
        </p:nvGrpSpPr>
        <p:grpSpPr>
          <a:xfrm>
            <a:off x="1562100" y="1257300"/>
            <a:ext cx="7251700" cy="635000"/>
            <a:chOff x="1473200" y="939800"/>
            <a:chExt cx="7251700" cy="635000"/>
          </a:xfrm>
        </p:grpSpPr>
        <p:sp>
          <p:nvSpPr>
            <p:cNvPr id="29" name="Rectangle 28"/>
            <p:cNvSpPr/>
            <p:nvPr/>
          </p:nvSpPr>
          <p:spPr>
            <a:xfrm>
              <a:off x="1473200" y="1168400"/>
              <a:ext cx="3721100" cy="406400"/>
            </a:xfrm>
            <a:prstGeom prst="rect">
              <a:avLst/>
            </a:prstGeom>
            <a:noFill/>
            <a:ln w="3175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</a:pPr>
              <a:endParaRPr lang="nl-NL" sz="1600" smtClean="0"/>
            </a:p>
          </p:txBody>
        </p:sp>
        <p:cxnSp>
          <p:nvCxnSpPr>
            <p:cNvPr id="30" name="Straight Arrow Connector 29"/>
            <p:cNvCxnSpPr>
              <a:stCxn id="31" idx="1"/>
              <a:endCxn id="29" idx="3"/>
            </p:cNvCxnSpPr>
            <p:nvPr/>
          </p:nvCxnSpPr>
          <p:spPr>
            <a:xfrm flipH="1">
              <a:off x="5194300" y="1114651"/>
              <a:ext cx="1079500" cy="256949"/>
            </a:xfrm>
            <a:prstGeom prst="straightConnector1">
              <a:avLst/>
            </a:prstGeom>
            <a:ln w="25400">
              <a:solidFill>
                <a:schemeClr val="accent4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1" name="TextBox 30"/>
            <p:cNvSpPr txBox="1"/>
            <p:nvPr/>
          </p:nvSpPr>
          <p:spPr>
            <a:xfrm>
              <a:off x="6273800" y="939800"/>
              <a:ext cx="2451100" cy="349702"/>
            </a:xfrm>
            <a:prstGeom prst="rect">
              <a:avLst/>
            </a:prstGeom>
            <a:noFill/>
          </p:spPr>
          <p:txBody>
            <a:bodyPr wrap="square" lIns="36000" tIns="36000" rIns="36000" bIns="36000" rtlCol="0">
              <a:spAutoFit/>
            </a:bodyPr>
            <a:lstStyle/>
            <a:p>
              <a:r>
                <a:rPr lang="nl-NL" b="1" dirty="0" smtClean="0">
                  <a:solidFill>
                    <a:schemeClr val="accent4"/>
                  </a:solidFill>
                </a:rPr>
                <a:t>Pas achtergrond toe</a:t>
              </a:r>
            </a:p>
          </p:txBody>
        </p:sp>
      </p:grpSp>
      <p:grpSp>
        <p:nvGrpSpPr>
          <p:cNvPr id="55" name="Group 54"/>
          <p:cNvGrpSpPr/>
          <p:nvPr/>
        </p:nvGrpSpPr>
        <p:grpSpPr>
          <a:xfrm>
            <a:off x="5435600" y="1339398"/>
            <a:ext cx="3708400" cy="1187902"/>
            <a:chOff x="5435600" y="1339398"/>
            <a:chExt cx="3708400" cy="1187902"/>
          </a:xfrm>
        </p:grpSpPr>
        <p:sp>
          <p:nvSpPr>
            <p:cNvPr id="34" name="Rectangle 33"/>
            <p:cNvSpPr/>
            <p:nvPr/>
          </p:nvSpPr>
          <p:spPr>
            <a:xfrm>
              <a:off x="5435600" y="2082800"/>
              <a:ext cx="1155700" cy="406400"/>
            </a:xfrm>
            <a:prstGeom prst="rect">
              <a:avLst/>
            </a:prstGeom>
            <a:noFill/>
            <a:ln w="3175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</a:pPr>
              <a:endParaRPr lang="nl-NL" sz="1600" smtClean="0"/>
            </a:p>
          </p:txBody>
        </p:sp>
        <p:cxnSp>
          <p:nvCxnSpPr>
            <p:cNvPr id="35" name="Straight Arrow Connector 34"/>
            <p:cNvCxnSpPr>
              <a:stCxn id="36" idx="2"/>
              <a:endCxn id="34" idx="0"/>
            </p:cNvCxnSpPr>
            <p:nvPr/>
          </p:nvCxnSpPr>
          <p:spPr>
            <a:xfrm flipH="1">
              <a:off x="6013450" y="1689100"/>
              <a:ext cx="1263650" cy="393700"/>
            </a:xfrm>
            <a:prstGeom prst="straightConnector1">
              <a:avLst/>
            </a:prstGeom>
            <a:ln w="25400">
              <a:solidFill>
                <a:schemeClr val="accent4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6" name="TextBox 35"/>
            <p:cNvSpPr txBox="1"/>
            <p:nvPr/>
          </p:nvSpPr>
          <p:spPr>
            <a:xfrm>
              <a:off x="6699250" y="1339398"/>
              <a:ext cx="1155700" cy="349702"/>
            </a:xfrm>
            <a:prstGeom prst="rect">
              <a:avLst/>
            </a:prstGeom>
            <a:noFill/>
          </p:spPr>
          <p:txBody>
            <a:bodyPr wrap="square" lIns="36000" tIns="36000" rIns="36000" bIns="36000" rtlCol="0">
              <a:spAutoFit/>
            </a:bodyPr>
            <a:lstStyle/>
            <a:p>
              <a:r>
                <a:rPr lang="nl-NL" b="1" dirty="0" smtClean="0">
                  <a:solidFill>
                    <a:schemeClr val="accent4"/>
                  </a:solidFill>
                </a:rPr>
                <a:t>3 </a:t>
              </a:r>
              <a:r>
                <a:rPr lang="nl-NL" b="1" dirty="0" err="1" smtClean="0">
                  <a:solidFill>
                    <a:schemeClr val="accent4"/>
                  </a:solidFill>
                </a:rPr>
                <a:t>Vertices</a:t>
              </a:r>
              <a:endParaRPr lang="nl-NL" b="1" dirty="0" smtClean="0">
                <a:solidFill>
                  <a:schemeClr val="accent4"/>
                </a:solidFill>
              </a:endParaRPr>
            </a:p>
          </p:txBody>
        </p:sp>
        <p:sp>
          <p:nvSpPr>
            <p:cNvPr id="42" name="Rectangle 41"/>
            <p:cNvSpPr/>
            <p:nvPr/>
          </p:nvSpPr>
          <p:spPr>
            <a:xfrm>
              <a:off x="6699250" y="2108200"/>
              <a:ext cx="1155700" cy="406400"/>
            </a:xfrm>
            <a:prstGeom prst="rect">
              <a:avLst/>
            </a:prstGeom>
            <a:noFill/>
            <a:ln w="3175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</a:pPr>
              <a:endParaRPr lang="nl-NL" sz="1600" smtClean="0"/>
            </a:p>
          </p:txBody>
        </p:sp>
        <p:cxnSp>
          <p:nvCxnSpPr>
            <p:cNvPr id="43" name="Straight Arrow Connector 42"/>
            <p:cNvCxnSpPr>
              <a:stCxn id="36" idx="2"/>
              <a:endCxn id="42" idx="0"/>
            </p:cNvCxnSpPr>
            <p:nvPr/>
          </p:nvCxnSpPr>
          <p:spPr>
            <a:xfrm>
              <a:off x="7277100" y="1689100"/>
              <a:ext cx="0" cy="419100"/>
            </a:xfrm>
            <a:prstGeom prst="straightConnector1">
              <a:avLst/>
            </a:prstGeom>
            <a:ln w="25400">
              <a:solidFill>
                <a:schemeClr val="accent4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4" name="Rectangle 43"/>
            <p:cNvSpPr/>
            <p:nvPr/>
          </p:nvSpPr>
          <p:spPr>
            <a:xfrm>
              <a:off x="7988300" y="2120900"/>
              <a:ext cx="1155700" cy="406400"/>
            </a:xfrm>
            <a:prstGeom prst="rect">
              <a:avLst/>
            </a:prstGeom>
            <a:noFill/>
            <a:ln w="3175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</a:pPr>
              <a:endParaRPr lang="nl-NL" sz="1600" smtClean="0"/>
            </a:p>
          </p:txBody>
        </p:sp>
        <p:cxnSp>
          <p:nvCxnSpPr>
            <p:cNvPr id="45" name="Straight Arrow Connector 44"/>
            <p:cNvCxnSpPr>
              <a:stCxn id="36" idx="2"/>
              <a:endCxn id="44" idx="0"/>
            </p:cNvCxnSpPr>
            <p:nvPr/>
          </p:nvCxnSpPr>
          <p:spPr>
            <a:xfrm>
              <a:off x="7277100" y="1689100"/>
              <a:ext cx="1289050" cy="431800"/>
            </a:xfrm>
            <a:prstGeom prst="straightConnector1">
              <a:avLst/>
            </a:prstGeom>
            <a:ln w="25400">
              <a:solidFill>
                <a:schemeClr val="accent4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56" name="Group 55"/>
          <p:cNvGrpSpPr/>
          <p:nvPr/>
        </p:nvGrpSpPr>
        <p:grpSpPr>
          <a:xfrm>
            <a:off x="1562100" y="842338"/>
            <a:ext cx="7991475" cy="2586662"/>
            <a:chOff x="1473200" y="-389562"/>
            <a:chExt cx="7991475" cy="2586662"/>
          </a:xfrm>
        </p:grpSpPr>
        <p:sp>
          <p:nvSpPr>
            <p:cNvPr id="57" name="Rectangle 56"/>
            <p:cNvSpPr/>
            <p:nvPr/>
          </p:nvSpPr>
          <p:spPr>
            <a:xfrm>
              <a:off x="1473200" y="1168400"/>
              <a:ext cx="6718300" cy="1028700"/>
            </a:xfrm>
            <a:prstGeom prst="rect">
              <a:avLst/>
            </a:prstGeom>
            <a:noFill/>
            <a:ln w="3175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</a:pPr>
              <a:endParaRPr lang="nl-NL" sz="1600" smtClean="0"/>
            </a:p>
          </p:txBody>
        </p:sp>
        <p:cxnSp>
          <p:nvCxnSpPr>
            <p:cNvPr id="58" name="Straight Arrow Connector 57"/>
            <p:cNvCxnSpPr>
              <a:stCxn id="59" idx="2"/>
              <a:endCxn id="57" idx="0"/>
            </p:cNvCxnSpPr>
            <p:nvPr/>
          </p:nvCxnSpPr>
          <p:spPr>
            <a:xfrm flipH="1">
              <a:off x="4832350" y="514138"/>
              <a:ext cx="2933700" cy="654262"/>
            </a:xfrm>
            <a:prstGeom prst="straightConnector1">
              <a:avLst/>
            </a:prstGeom>
            <a:ln w="25400">
              <a:solidFill>
                <a:schemeClr val="accent4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9" name="TextBox 58"/>
            <p:cNvSpPr txBox="1"/>
            <p:nvPr/>
          </p:nvSpPr>
          <p:spPr>
            <a:xfrm>
              <a:off x="6067425" y="-389562"/>
              <a:ext cx="3397250" cy="903700"/>
            </a:xfrm>
            <a:prstGeom prst="rect">
              <a:avLst/>
            </a:prstGeom>
            <a:noFill/>
          </p:spPr>
          <p:txBody>
            <a:bodyPr wrap="square" lIns="36000" tIns="36000" rIns="36000" bIns="36000" rtlCol="0">
              <a:spAutoFit/>
            </a:bodyPr>
            <a:lstStyle/>
            <a:p>
              <a:r>
                <a:rPr lang="nl-NL" b="1" dirty="0" smtClean="0">
                  <a:solidFill>
                    <a:schemeClr val="accent4"/>
                  </a:solidFill>
                </a:rPr>
                <a:t>Creëer een buffer</a:t>
              </a:r>
              <a:br>
                <a:rPr lang="nl-NL" b="1" dirty="0" smtClean="0">
                  <a:solidFill>
                    <a:schemeClr val="accent4"/>
                  </a:solidFill>
                </a:rPr>
              </a:br>
              <a:r>
                <a:rPr lang="nl-NL" b="1" dirty="0" err="1" smtClean="0">
                  <a:solidFill>
                    <a:schemeClr val="accent4"/>
                  </a:solidFill>
                </a:rPr>
                <a:t>Initialiseer</a:t>
              </a:r>
              <a:r>
                <a:rPr lang="nl-NL" b="1" dirty="0" smtClean="0">
                  <a:solidFill>
                    <a:schemeClr val="accent4"/>
                  </a:solidFill>
                </a:rPr>
                <a:t> hem met de data</a:t>
              </a:r>
              <a:br>
                <a:rPr lang="nl-NL" b="1" dirty="0" smtClean="0">
                  <a:solidFill>
                    <a:schemeClr val="accent4"/>
                  </a:solidFill>
                </a:rPr>
              </a:br>
              <a:r>
                <a:rPr lang="nl-NL" b="1" dirty="0" smtClean="0">
                  <a:solidFill>
                    <a:schemeClr val="accent4"/>
                  </a:solidFill>
                </a:rPr>
                <a:t>Maak hem “actueel” in </a:t>
              </a:r>
              <a:r>
                <a:rPr lang="nl-NL" b="1" dirty="0" err="1" smtClean="0">
                  <a:solidFill>
                    <a:schemeClr val="accent4"/>
                  </a:solidFill>
                </a:rPr>
                <a:t>WebGL</a:t>
              </a:r>
              <a:endParaRPr lang="nl-NL" b="1" dirty="0" smtClean="0">
                <a:solidFill>
                  <a:schemeClr val="accent4"/>
                </a:solidFill>
              </a:endParaRPr>
            </a:p>
          </p:txBody>
        </p:sp>
      </p:grpSp>
      <p:grpSp>
        <p:nvGrpSpPr>
          <p:cNvPr id="67" name="Group 66"/>
          <p:cNvGrpSpPr/>
          <p:nvPr/>
        </p:nvGrpSpPr>
        <p:grpSpPr>
          <a:xfrm>
            <a:off x="3149600" y="3645352"/>
            <a:ext cx="5791199" cy="1282700"/>
            <a:chOff x="1066800" y="2082800"/>
            <a:chExt cx="5791199" cy="1282700"/>
          </a:xfrm>
        </p:grpSpPr>
        <p:sp>
          <p:nvSpPr>
            <p:cNvPr id="68" name="Rectangle 67"/>
            <p:cNvSpPr/>
            <p:nvPr/>
          </p:nvSpPr>
          <p:spPr>
            <a:xfrm>
              <a:off x="5435600" y="2082800"/>
              <a:ext cx="1155700" cy="406400"/>
            </a:xfrm>
            <a:prstGeom prst="rect">
              <a:avLst/>
            </a:prstGeom>
            <a:noFill/>
            <a:ln w="3175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</a:pPr>
              <a:endParaRPr lang="nl-NL" sz="1600" smtClean="0"/>
            </a:p>
          </p:txBody>
        </p:sp>
        <p:cxnSp>
          <p:nvCxnSpPr>
            <p:cNvPr id="69" name="Straight Arrow Connector 68"/>
            <p:cNvCxnSpPr>
              <a:stCxn id="70" idx="3"/>
            </p:cNvCxnSpPr>
            <p:nvPr/>
          </p:nvCxnSpPr>
          <p:spPr>
            <a:xfrm flipV="1">
              <a:off x="4933950" y="2286000"/>
              <a:ext cx="501650" cy="587601"/>
            </a:xfrm>
            <a:prstGeom prst="straightConnector1">
              <a:avLst/>
            </a:prstGeom>
            <a:ln w="25400">
              <a:solidFill>
                <a:schemeClr val="accent4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0" name="TextBox 69"/>
            <p:cNvSpPr txBox="1"/>
            <p:nvPr/>
          </p:nvSpPr>
          <p:spPr>
            <a:xfrm>
              <a:off x="1066800" y="2698750"/>
              <a:ext cx="3867150" cy="349702"/>
            </a:xfrm>
            <a:prstGeom prst="rect">
              <a:avLst/>
            </a:prstGeom>
            <a:noFill/>
          </p:spPr>
          <p:txBody>
            <a:bodyPr wrap="square" lIns="36000" tIns="36000" rIns="36000" bIns="36000" rtlCol="0">
              <a:spAutoFit/>
            </a:bodyPr>
            <a:lstStyle/>
            <a:p>
              <a:r>
                <a:rPr lang="nl-NL" b="1" dirty="0" smtClean="0">
                  <a:solidFill>
                    <a:schemeClr val="accent4"/>
                  </a:solidFill>
                </a:rPr>
                <a:t>Attributen in </a:t>
              </a:r>
              <a:r>
                <a:rPr lang="nl-NL" b="1" dirty="0" err="1" smtClean="0">
                  <a:solidFill>
                    <a:schemeClr val="accent4"/>
                  </a:solidFill>
                </a:rPr>
                <a:t>shaders</a:t>
              </a:r>
              <a:r>
                <a:rPr lang="nl-NL" b="1" dirty="0" smtClean="0">
                  <a:solidFill>
                    <a:schemeClr val="accent4"/>
                  </a:solidFill>
                </a:rPr>
                <a:t> (out of scope)</a:t>
              </a:r>
            </a:p>
          </p:txBody>
        </p:sp>
        <p:sp>
          <p:nvSpPr>
            <p:cNvPr id="71" name="Rectangle 70"/>
            <p:cNvSpPr/>
            <p:nvPr/>
          </p:nvSpPr>
          <p:spPr>
            <a:xfrm>
              <a:off x="5489574" y="2959100"/>
              <a:ext cx="1368425" cy="406400"/>
            </a:xfrm>
            <a:prstGeom prst="rect">
              <a:avLst/>
            </a:prstGeom>
            <a:noFill/>
            <a:ln w="3175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</a:pPr>
              <a:endParaRPr lang="nl-NL" sz="1600" smtClean="0"/>
            </a:p>
          </p:txBody>
        </p:sp>
        <p:cxnSp>
          <p:nvCxnSpPr>
            <p:cNvPr id="72" name="Straight Arrow Connector 71"/>
            <p:cNvCxnSpPr>
              <a:endCxn id="71" idx="1"/>
            </p:cNvCxnSpPr>
            <p:nvPr/>
          </p:nvCxnSpPr>
          <p:spPr>
            <a:xfrm>
              <a:off x="4933950" y="2873601"/>
              <a:ext cx="555624" cy="288699"/>
            </a:xfrm>
            <a:prstGeom prst="straightConnector1">
              <a:avLst/>
            </a:prstGeom>
            <a:ln w="25400">
              <a:solidFill>
                <a:schemeClr val="accent4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87" name="Group 86"/>
          <p:cNvGrpSpPr/>
          <p:nvPr/>
        </p:nvGrpSpPr>
        <p:grpSpPr>
          <a:xfrm>
            <a:off x="4984750" y="3906154"/>
            <a:ext cx="4610100" cy="518655"/>
            <a:chOff x="3098800" y="1168400"/>
            <a:chExt cx="4610100" cy="518655"/>
          </a:xfrm>
        </p:grpSpPr>
        <p:sp>
          <p:nvSpPr>
            <p:cNvPr id="88" name="Rectangle 87"/>
            <p:cNvSpPr/>
            <p:nvPr/>
          </p:nvSpPr>
          <p:spPr>
            <a:xfrm>
              <a:off x="3098800" y="1168400"/>
              <a:ext cx="2095500" cy="406400"/>
            </a:xfrm>
            <a:prstGeom prst="rect">
              <a:avLst/>
            </a:prstGeom>
            <a:noFill/>
            <a:ln w="3175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</a:pPr>
              <a:endParaRPr lang="nl-NL" sz="1600" smtClean="0"/>
            </a:p>
          </p:txBody>
        </p:sp>
        <p:cxnSp>
          <p:nvCxnSpPr>
            <p:cNvPr id="89" name="Straight Arrow Connector 88"/>
            <p:cNvCxnSpPr>
              <a:stCxn id="90" idx="1"/>
              <a:endCxn id="88" idx="3"/>
            </p:cNvCxnSpPr>
            <p:nvPr/>
          </p:nvCxnSpPr>
          <p:spPr>
            <a:xfrm flipH="1" flipV="1">
              <a:off x="5194300" y="1371600"/>
              <a:ext cx="508000" cy="140604"/>
            </a:xfrm>
            <a:prstGeom prst="straightConnector1">
              <a:avLst/>
            </a:prstGeom>
            <a:ln w="25400">
              <a:solidFill>
                <a:schemeClr val="accent4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90" name="TextBox 89"/>
            <p:cNvSpPr txBox="1"/>
            <p:nvPr/>
          </p:nvSpPr>
          <p:spPr>
            <a:xfrm>
              <a:off x="5702300" y="1337353"/>
              <a:ext cx="2006600" cy="349702"/>
            </a:xfrm>
            <a:prstGeom prst="rect">
              <a:avLst/>
            </a:prstGeom>
            <a:noFill/>
          </p:spPr>
          <p:txBody>
            <a:bodyPr wrap="square" lIns="36000" tIns="36000" rIns="36000" bIns="36000" rtlCol="0">
              <a:spAutoFit/>
            </a:bodyPr>
            <a:lstStyle/>
            <a:p>
              <a:r>
                <a:rPr lang="nl-NL" b="1" dirty="0" smtClean="0">
                  <a:solidFill>
                    <a:schemeClr val="accent4"/>
                  </a:solidFill>
                </a:rPr>
                <a:t>Stel kleur in</a:t>
              </a:r>
            </a:p>
          </p:txBody>
        </p:sp>
      </p:grpSp>
      <p:grpSp>
        <p:nvGrpSpPr>
          <p:cNvPr id="93" name="Group 92"/>
          <p:cNvGrpSpPr/>
          <p:nvPr/>
        </p:nvGrpSpPr>
        <p:grpSpPr>
          <a:xfrm>
            <a:off x="1473200" y="4230800"/>
            <a:ext cx="8121650" cy="697252"/>
            <a:chOff x="1343025" y="873267"/>
            <a:chExt cx="8121650" cy="697252"/>
          </a:xfrm>
        </p:grpSpPr>
        <p:sp>
          <p:nvSpPr>
            <p:cNvPr id="94" name="Rectangle 93"/>
            <p:cNvSpPr/>
            <p:nvPr/>
          </p:nvSpPr>
          <p:spPr>
            <a:xfrm>
              <a:off x="1343025" y="1168400"/>
              <a:ext cx="7569199" cy="402119"/>
            </a:xfrm>
            <a:prstGeom prst="rect">
              <a:avLst/>
            </a:prstGeom>
            <a:noFill/>
            <a:ln w="3175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</a:pPr>
              <a:endParaRPr lang="nl-NL" sz="1600" smtClean="0"/>
            </a:p>
          </p:txBody>
        </p:sp>
        <p:sp>
          <p:nvSpPr>
            <p:cNvPr id="96" name="TextBox 95"/>
            <p:cNvSpPr txBox="1"/>
            <p:nvPr/>
          </p:nvSpPr>
          <p:spPr>
            <a:xfrm>
              <a:off x="3698875" y="873267"/>
              <a:ext cx="5765800" cy="349702"/>
            </a:xfrm>
            <a:prstGeom prst="rect">
              <a:avLst/>
            </a:prstGeom>
            <a:noFill/>
          </p:spPr>
          <p:txBody>
            <a:bodyPr wrap="square" lIns="36000" tIns="36000" rIns="36000" bIns="36000" rtlCol="0">
              <a:spAutoFit/>
            </a:bodyPr>
            <a:lstStyle/>
            <a:p>
              <a:r>
                <a:rPr lang="nl-NL" b="1" dirty="0" smtClean="0">
                  <a:solidFill>
                    <a:schemeClr val="accent4"/>
                  </a:solidFill>
                </a:rPr>
                <a:t>Transformeer </a:t>
              </a:r>
              <a:r>
                <a:rPr lang="nl-NL" b="1" dirty="0" err="1" smtClean="0">
                  <a:solidFill>
                    <a:schemeClr val="accent4"/>
                  </a:solidFill>
                </a:rPr>
                <a:t>coordinaten</a:t>
              </a:r>
              <a:r>
                <a:rPr lang="nl-NL" b="1" dirty="0" smtClean="0">
                  <a:solidFill>
                    <a:schemeClr val="accent4"/>
                  </a:solidFill>
                </a:rPr>
                <a:t> naar view huidige camera</a:t>
              </a:r>
            </a:p>
          </p:txBody>
        </p:sp>
      </p:grpSp>
      <p:grpSp>
        <p:nvGrpSpPr>
          <p:cNvPr id="103" name="Group 102"/>
          <p:cNvGrpSpPr/>
          <p:nvPr/>
        </p:nvGrpSpPr>
        <p:grpSpPr>
          <a:xfrm>
            <a:off x="1562101" y="4879393"/>
            <a:ext cx="7823199" cy="1546902"/>
            <a:chOff x="1343026" y="873268"/>
            <a:chExt cx="7823199" cy="1546902"/>
          </a:xfrm>
        </p:grpSpPr>
        <p:sp>
          <p:nvSpPr>
            <p:cNvPr id="104" name="Rectangle 103"/>
            <p:cNvSpPr/>
            <p:nvPr/>
          </p:nvSpPr>
          <p:spPr>
            <a:xfrm>
              <a:off x="1343026" y="873268"/>
              <a:ext cx="7112000" cy="697252"/>
            </a:xfrm>
            <a:prstGeom prst="rect">
              <a:avLst/>
            </a:prstGeom>
            <a:noFill/>
            <a:ln w="3175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</a:pPr>
              <a:endParaRPr lang="nl-NL" sz="1600" smtClean="0"/>
            </a:p>
          </p:txBody>
        </p:sp>
        <p:cxnSp>
          <p:nvCxnSpPr>
            <p:cNvPr id="105" name="Straight Arrow Connector 104"/>
            <p:cNvCxnSpPr>
              <a:stCxn id="106" idx="0"/>
            </p:cNvCxnSpPr>
            <p:nvPr/>
          </p:nvCxnSpPr>
          <p:spPr>
            <a:xfrm flipH="1" flipV="1">
              <a:off x="6667499" y="1570520"/>
              <a:ext cx="1" cy="499948"/>
            </a:xfrm>
            <a:prstGeom prst="straightConnector1">
              <a:avLst/>
            </a:prstGeom>
            <a:ln w="25400">
              <a:solidFill>
                <a:schemeClr val="accent4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06" name="TextBox 105"/>
            <p:cNvSpPr txBox="1"/>
            <p:nvPr/>
          </p:nvSpPr>
          <p:spPr>
            <a:xfrm>
              <a:off x="4168774" y="2070468"/>
              <a:ext cx="4997451" cy="349702"/>
            </a:xfrm>
            <a:prstGeom prst="rect">
              <a:avLst/>
            </a:prstGeom>
            <a:noFill/>
          </p:spPr>
          <p:txBody>
            <a:bodyPr wrap="square" lIns="36000" tIns="36000" rIns="36000" bIns="36000" rtlCol="0">
              <a:spAutoFit/>
            </a:bodyPr>
            <a:lstStyle/>
            <a:p>
              <a:r>
                <a:rPr lang="nl-NL" b="1" dirty="0" smtClean="0">
                  <a:solidFill>
                    <a:schemeClr val="accent4"/>
                  </a:solidFill>
                </a:rPr>
                <a:t>Vertel </a:t>
              </a:r>
              <a:r>
                <a:rPr lang="nl-NL" b="1" dirty="0" err="1" smtClean="0">
                  <a:solidFill>
                    <a:schemeClr val="accent4"/>
                  </a:solidFill>
                </a:rPr>
                <a:t>WebGL</a:t>
              </a:r>
              <a:r>
                <a:rPr lang="nl-NL" b="1" dirty="0" smtClean="0">
                  <a:solidFill>
                    <a:schemeClr val="accent4"/>
                  </a:solidFill>
                </a:rPr>
                <a:t> dat je </a:t>
              </a:r>
              <a:r>
                <a:rPr lang="nl-NL" b="1" dirty="0" err="1" smtClean="0">
                  <a:solidFill>
                    <a:schemeClr val="accent4"/>
                  </a:solidFill>
                </a:rPr>
                <a:t>vertices</a:t>
              </a:r>
              <a:r>
                <a:rPr lang="nl-NL" b="1" dirty="0" smtClean="0">
                  <a:solidFill>
                    <a:schemeClr val="accent4"/>
                  </a:solidFill>
                </a:rPr>
                <a:t> wil gaan tekenen.</a:t>
              </a:r>
            </a:p>
          </p:txBody>
        </p:sp>
      </p:grpSp>
      <p:grpSp>
        <p:nvGrpSpPr>
          <p:cNvPr id="115" name="Group 114"/>
          <p:cNvGrpSpPr/>
          <p:nvPr/>
        </p:nvGrpSpPr>
        <p:grpSpPr>
          <a:xfrm>
            <a:off x="5702301" y="5130800"/>
            <a:ext cx="3111500" cy="1023070"/>
            <a:chOff x="5330826" y="972275"/>
            <a:chExt cx="3111500" cy="1023070"/>
          </a:xfrm>
        </p:grpSpPr>
        <p:sp>
          <p:nvSpPr>
            <p:cNvPr id="116" name="Rectangle 115"/>
            <p:cNvSpPr/>
            <p:nvPr/>
          </p:nvSpPr>
          <p:spPr>
            <a:xfrm>
              <a:off x="5902324" y="972275"/>
              <a:ext cx="1060451" cy="445845"/>
            </a:xfrm>
            <a:prstGeom prst="rect">
              <a:avLst/>
            </a:prstGeom>
            <a:noFill/>
            <a:ln w="3175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</a:pPr>
              <a:endParaRPr lang="nl-NL" sz="1600" smtClean="0"/>
            </a:p>
          </p:txBody>
        </p:sp>
        <p:cxnSp>
          <p:nvCxnSpPr>
            <p:cNvPr id="117" name="Straight Arrow Connector 116"/>
            <p:cNvCxnSpPr>
              <a:endCxn id="116" idx="2"/>
            </p:cNvCxnSpPr>
            <p:nvPr/>
          </p:nvCxnSpPr>
          <p:spPr>
            <a:xfrm flipV="1">
              <a:off x="6432549" y="1418120"/>
              <a:ext cx="1" cy="249974"/>
            </a:xfrm>
            <a:prstGeom prst="straightConnector1">
              <a:avLst/>
            </a:prstGeom>
            <a:ln w="25400">
              <a:solidFill>
                <a:schemeClr val="accent4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18" name="TextBox 117"/>
            <p:cNvSpPr txBox="1"/>
            <p:nvPr/>
          </p:nvSpPr>
          <p:spPr>
            <a:xfrm>
              <a:off x="5330826" y="1645643"/>
              <a:ext cx="3111500" cy="349702"/>
            </a:xfrm>
            <a:prstGeom prst="rect">
              <a:avLst/>
            </a:prstGeom>
            <a:noFill/>
          </p:spPr>
          <p:txBody>
            <a:bodyPr wrap="square" lIns="36000" tIns="36000" rIns="36000" bIns="36000" rtlCol="0">
              <a:spAutoFit/>
            </a:bodyPr>
            <a:lstStyle/>
            <a:p>
              <a:r>
                <a:rPr lang="nl-NL" b="1" dirty="0" smtClean="0">
                  <a:solidFill>
                    <a:schemeClr val="accent4"/>
                  </a:solidFill>
                </a:rPr>
                <a:t>Je stopt er </a:t>
              </a:r>
              <a:r>
                <a:rPr lang="nl-NL" b="1" dirty="0" err="1" smtClean="0">
                  <a:solidFill>
                    <a:schemeClr val="accent4"/>
                  </a:solidFill>
                </a:rPr>
                <a:t>float</a:t>
              </a:r>
              <a:r>
                <a:rPr lang="nl-NL" b="1" dirty="0" smtClean="0">
                  <a:solidFill>
                    <a:schemeClr val="accent4"/>
                  </a:solidFill>
                </a:rPr>
                <a:t> waarden in.</a:t>
              </a:r>
            </a:p>
          </p:txBody>
        </p:sp>
      </p:grpSp>
      <p:grpSp>
        <p:nvGrpSpPr>
          <p:cNvPr id="134" name="Group 133"/>
          <p:cNvGrpSpPr/>
          <p:nvPr/>
        </p:nvGrpSpPr>
        <p:grpSpPr>
          <a:xfrm>
            <a:off x="1562101" y="5353722"/>
            <a:ext cx="8115299" cy="821522"/>
            <a:chOff x="1343026" y="748997"/>
            <a:chExt cx="8115299" cy="821522"/>
          </a:xfrm>
        </p:grpSpPr>
        <p:sp>
          <p:nvSpPr>
            <p:cNvPr id="135" name="Rectangle 134"/>
            <p:cNvSpPr/>
            <p:nvPr/>
          </p:nvSpPr>
          <p:spPr>
            <a:xfrm>
              <a:off x="1343026" y="1096906"/>
              <a:ext cx="4051299" cy="473613"/>
            </a:xfrm>
            <a:prstGeom prst="rect">
              <a:avLst/>
            </a:prstGeom>
            <a:noFill/>
            <a:ln w="3175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</a:pPr>
              <a:endParaRPr lang="nl-NL" sz="1600" smtClean="0"/>
            </a:p>
          </p:txBody>
        </p:sp>
        <p:cxnSp>
          <p:nvCxnSpPr>
            <p:cNvPr id="136" name="Straight Arrow Connector 135"/>
            <p:cNvCxnSpPr>
              <a:stCxn id="137" idx="2"/>
              <a:endCxn id="135" idx="3"/>
            </p:cNvCxnSpPr>
            <p:nvPr/>
          </p:nvCxnSpPr>
          <p:spPr>
            <a:xfrm flipH="1">
              <a:off x="5394325" y="1098699"/>
              <a:ext cx="749300" cy="235014"/>
            </a:xfrm>
            <a:prstGeom prst="straightConnector1">
              <a:avLst/>
            </a:prstGeom>
            <a:ln w="25400">
              <a:solidFill>
                <a:schemeClr val="accent4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37" name="TextBox 136"/>
            <p:cNvSpPr txBox="1"/>
            <p:nvPr/>
          </p:nvSpPr>
          <p:spPr>
            <a:xfrm>
              <a:off x="2828924" y="748997"/>
              <a:ext cx="6629401" cy="349702"/>
            </a:xfrm>
            <a:prstGeom prst="rect">
              <a:avLst/>
            </a:prstGeom>
            <a:noFill/>
          </p:spPr>
          <p:txBody>
            <a:bodyPr wrap="square" lIns="36000" tIns="36000" rIns="36000" bIns="36000" rtlCol="0">
              <a:spAutoFit/>
            </a:bodyPr>
            <a:lstStyle/>
            <a:p>
              <a:r>
                <a:rPr lang="nl-NL" b="1" dirty="0" smtClean="0">
                  <a:solidFill>
                    <a:schemeClr val="accent4"/>
                  </a:solidFill>
                </a:rPr>
                <a:t>Teken de inhoud van de huidige buffer als </a:t>
              </a:r>
              <a:r>
                <a:rPr lang="nl-NL" b="1" dirty="0" err="1" smtClean="0">
                  <a:solidFill>
                    <a:schemeClr val="accent4"/>
                  </a:solidFill>
                </a:rPr>
                <a:t>triangles</a:t>
              </a:r>
              <a:r>
                <a:rPr lang="nl-NL" b="1" dirty="0" smtClean="0">
                  <a:solidFill>
                    <a:schemeClr val="accent4"/>
                  </a:solidFill>
                </a:rPr>
                <a:t> in de view.</a:t>
              </a:r>
            </a:p>
          </p:txBody>
        </p:sp>
      </p:grpSp>
      <p:grpSp>
        <p:nvGrpSpPr>
          <p:cNvPr id="159" name="Group 158"/>
          <p:cNvGrpSpPr/>
          <p:nvPr/>
        </p:nvGrpSpPr>
        <p:grpSpPr>
          <a:xfrm>
            <a:off x="5200650" y="2489200"/>
            <a:ext cx="3365500" cy="3654348"/>
            <a:chOff x="10090150" y="1110530"/>
            <a:chExt cx="3365500" cy="3654348"/>
          </a:xfrm>
        </p:grpSpPr>
        <p:sp>
          <p:nvSpPr>
            <p:cNvPr id="144" name="Rectangle 143"/>
            <p:cNvSpPr/>
            <p:nvPr/>
          </p:nvSpPr>
          <p:spPr>
            <a:xfrm>
              <a:off x="10090150" y="4358478"/>
              <a:ext cx="412750" cy="406400"/>
            </a:xfrm>
            <a:prstGeom prst="rect">
              <a:avLst/>
            </a:prstGeom>
            <a:noFill/>
            <a:ln w="3175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</a:pPr>
              <a:endParaRPr lang="nl-NL" sz="1600" smtClean="0"/>
            </a:p>
          </p:txBody>
        </p:sp>
        <p:cxnSp>
          <p:nvCxnSpPr>
            <p:cNvPr id="145" name="Straight Arrow Connector 144"/>
            <p:cNvCxnSpPr>
              <a:stCxn id="146" idx="1"/>
              <a:endCxn id="144" idx="3"/>
            </p:cNvCxnSpPr>
            <p:nvPr/>
          </p:nvCxnSpPr>
          <p:spPr>
            <a:xfrm flipH="1">
              <a:off x="10502900" y="4561678"/>
              <a:ext cx="355600" cy="0"/>
            </a:xfrm>
            <a:prstGeom prst="straightConnector1">
              <a:avLst/>
            </a:prstGeom>
            <a:ln w="25400">
              <a:solidFill>
                <a:schemeClr val="accent4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6" name="TextBox 145"/>
            <p:cNvSpPr txBox="1"/>
            <p:nvPr/>
          </p:nvSpPr>
          <p:spPr>
            <a:xfrm>
              <a:off x="10858500" y="4386827"/>
              <a:ext cx="2006600" cy="349702"/>
            </a:xfrm>
            <a:prstGeom prst="rect">
              <a:avLst/>
            </a:prstGeom>
            <a:noFill/>
          </p:spPr>
          <p:txBody>
            <a:bodyPr wrap="square" lIns="36000" tIns="36000" rIns="36000" bIns="36000" rtlCol="0">
              <a:spAutoFit/>
            </a:bodyPr>
            <a:lstStyle/>
            <a:p>
              <a:r>
                <a:rPr lang="nl-NL" b="1" dirty="0" smtClean="0">
                  <a:solidFill>
                    <a:schemeClr val="accent4"/>
                  </a:solidFill>
                </a:rPr>
                <a:t>Aantal </a:t>
              </a:r>
              <a:r>
                <a:rPr lang="nl-NL" b="1" dirty="0" err="1" smtClean="0">
                  <a:solidFill>
                    <a:schemeClr val="accent4"/>
                  </a:solidFill>
                </a:rPr>
                <a:t>vertices</a:t>
              </a:r>
              <a:endParaRPr lang="nl-NL" b="1" dirty="0" smtClean="0">
                <a:solidFill>
                  <a:schemeClr val="accent4"/>
                </a:solidFill>
              </a:endParaRPr>
            </a:p>
          </p:txBody>
        </p:sp>
        <p:cxnSp>
          <p:nvCxnSpPr>
            <p:cNvPr id="149" name="Straight Arrow Connector 148"/>
            <p:cNvCxnSpPr>
              <a:stCxn id="146" idx="0"/>
              <a:endCxn id="34" idx="2"/>
            </p:cNvCxnSpPr>
            <p:nvPr/>
          </p:nvCxnSpPr>
          <p:spPr>
            <a:xfrm flipH="1" flipV="1">
              <a:off x="10902950" y="1110530"/>
              <a:ext cx="958850" cy="3276297"/>
            </a:xfrm>
            <a:prstGeom prst="straightConnector1">
              <a:avLst/>
            </a:prstGeom>
            <a:ln w="25400">
              <a:solidFill>
                <a:schemeClr val="accent4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2" name="Straight Arrow Connector 151"/>
            <p:cNvCxnSpPr>
              <a:stCxn id="146" idx="0"/>
              <a:endCxn id="42" idx="2"/>
            </p:cNvCxnSpPr>
            <p:nvPr/>
          </p:nvCxnSpPr>
          <p:spPr>
            <a:xfrm flipV="1">
              <a:off x="11861800" y="1135930"/>
              <a:ext cx="304800" cy="3250897"/>
            </a:xfrm>
            <a:prstGeom prst="straightConnector1">
              <a:avLst/>
            </a:prstGeom>
            <a:ln w="25400">
              <a:solidFill>
                <a:schemeClr val="accent4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6" name="Straight Arrow Connector 155"/>
            <p:cNvCxnSpPr>
              <a:stCxn id="146" idx="0"/>
              <a:endCxn id="44" idx="2"/>
            </p:cNvCxnSpPr>
            <p:nvPr/>
          </p:nvCxnSpPr>
          <p:spPr>
            <a:xfrm flipV="1">
              <a:off x="11861800" y="1148630"/>
              <a:ext cx="1593850" cy="3238197"/>
            </a:xfrm>
            <a:prstGeom prst="straightConnector1">
              <a:avLst/>
            </a:prstGeom>
            <a:ln w="25400">
              <a:solidFill>
                <a:schemeClr val="accent4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68" name="Group 167"/>
          <p:cNvGrpSpPr/>
          <p:nvPr/>
        </p:nvGrpSpPr>
        <p:grpSpPr>
          <a:xfrm>
            <a:off x="5613400" y="2501900"/>
            <a:ext cx="3530600" cy="3651970"/>
            <a:chOff x="5613400" y="2501900"/>
            <a:chExt cx="3530600" cy="3651970"/>
          </a:xfrm>
        </p:grpSpPr>
        <p:sp>
          <p:nvSpPr>
            <p:cNvPr id="128" name="Rectangle 127"/>
            <p:cNvSpPr/>
            <p:nvPr/>
          </p:nvSpPr>
          <p:spPr>
            <a:xfrm>
              <a:off x="6007099" y="5130800"/>
              <a:ext cx="266702" cy="445845"/>
            </a:xfrm>
            <a:prstGeom prst="rect">
              <a:avLst/>
            </a:prstGeom>
            <a:noFill/>
            <a:ln w="3175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</a:pPr>
              <a:endParaRPr lang="nl-NL" sz="1600" smtClean="0"/>
            </a:p>
          </p:txBody>
        </p:sp>
        <p:cxnSp>
          <p:nvCxnSpPr>
            <p:cNvPr id="129" name="Straight Arrow Connector 128"/>
            <p:cNvCxnSpPr>
              <a:endCxn id="128" idx="2"/>
            </p:cNvCxnSpPr>
            <p:nvPr/>
          </p:nvCxnSpPr>
          <p:spPr>
            <a:xfrm flipV="1">
              <a:off x="6140450" y="5576645"/>
              <a:ext cx="0" cy="249974"/>
            </a:xfrm>
            <a:prstGeom prst="straightConnector1">
              <a:avLst/>
            </a:prstGeom>
            <a:ln w="25400">
              <a:solidFill>
                <a:schemeClr val="accent4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30" name="TextBox 129"/>
            <p:cNvSpPr txBox="1"/>
            <p:nvPr/>
          </p:nvSpPr>
          <p:spPr>
            <a:xfrm>
              <a:off x="5613400" y="5804168"/>
              <a:ext cx="3530600" cy="349702"/>
            </a:xfrm>
            <a:prstGeom prst="rect">
              <a:avLst/>
            </a:prstGeom>
            <a:noFill/>
          </p:spPr>
          <p:txBody>
            <a:bodyPr wrap="square" lIns="36000" tIns="36000" rIns="36000" bIns="36000" rtlCol="0">
              <a:spAutoFit/>
            </a:bodyPr>
            <a:lstStyle/>
            <a:p>
              <a:r>
                <a:rPr lang="nl-NL" b="1" dirty="0" err="1" smtClean="0">
                  <a:solidFill>
                    <a:schemeClr val="accent4"/>
                  </a:solidFill>
                </a:rPr>
                <a:t>Vertices</a:t>
              </a:r>
              <a:r>
                <a:rPr lang="nl-NL" b="1" dirty="0" smtClean="0">
                  <a:solidFill>
                    <a:schemeClr val="accent4"/>
                  </a:solidFill>
                </a:rPr>
                <a:t> hebben 2 componenten.</a:t>
              </a:r>
            </a:p>
          </p:txBody>
        </p:sp>
        <p:cxnSp>
          <p:nvCxnSpPr>
            <p:cNvPr id="165" name="Straight Arrow Connector 164"/>
            <p:cNvCxnSpPr/>
            <p:nvPr/>
          </p:nvCxnSpPr>
          <p:spPr>
            <a:xfrm flipH="1" flipV="1">
              <a:off x="6972300" y="2501900"/>
              <a:ext cx="152400" cy="3415998"/>
            </a:xfrm>
            <a:prstGeom prst="straightConnector1">
              <a:avLst/>
            </a:prstGeom>
            <a:ln w="25400">
              <a:solidFill>
                <a:schemeClr val="accent4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6" name="Straight Arrow Connector 165"/>
            <p:cNvCxnSpPr/>
            <p:nvPr/>
          </p:nvCxnSpPr>
          <p:spPr>
            <a:xfrm flipV="1">
              <a:off x="7124700" y="2514600"/>
              <a:ext cx="463550" cy="3403298"/>
            </a:xfrm>
            <a:prstGeom prst="straightConnector1">
              <a:avLst/>
            </a:prstGeom>
            <a:ln w="25400">
              <a:solidFill>
                <a:schemeClr val="accent4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97515384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0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2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4" presetID="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7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2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3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>
                      <p:stCondLst>
                        <p:cond delay="indefinite"/>
                      </p:stCondLst>
                      <p:childTnLst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10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7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0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2" presetID="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4" dur="5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5" dur="5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6" fill="hold">
                      <p:stCondLst>
                        <p:cond delay="indefinite"/>
                      </p:stCondLst>
                      <p:childTnLst>
                        <p:par>
                          <p:cTn id="37" fill="hold">
                            <p:stCondLst>
                              <p:cond delay="0"/>
                            </p:stCondLst>
                            <p:childTnLst>
                              <p:par>
                                <p:cTn id="38" presetID="10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9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3" dur="500" fill="hold"/>
                                        <p:tgtEl>
                                          <p:spTgt spid="5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4" dur="500" fill="hold"/>
                                        <p:tgtEl>
                                          <p:spTgt spid="5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5" fill="hold">
                      <p:stCondLst>
                        <p:cond delay="indefinite"/>
                      </p:stCondLst>
                      <p:childTnLst>
                        <p:par>
                          <p:cTn id="46" fill="hold">
                            <p:stCondLst>
                              <p:cond delay="0"/>
                            </p:stCondLst>
                            <p:childTnLst>
                              <p:par>
                                <p:cTn id="47" presetID="10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48" dur="500"/>
                                        <p:tgtEl>
                                          <p:spTgt spid="5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0" presetID="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2" dur="500" fill="hold"/>
                                        <p:tgtEl>
                                          <p:spTgt spid="5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3" dur="500" fill="hold"/>
                                        <p:tgtEl>
                                          <p:spTgt spid="5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4" fill="hold">
                      <p:stCondLst>
                        <p:cond delay="indefinite"/>
                      </p:stCondLst>
                      <p:childTnLst>
                        <p:par>
                          <p:cTn id="55" fill="hold">
                            <p:stCondLst>
                              <p:cond delay="0"/>
                            </p:stCondLst>
                            <p:childTnLst>
                              <p:par>
                                <p:cTn id="56" presetID="10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57" dur="500"/>
                                        <p:tgtEl>
                                          <p:spTgt spid="5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9" presetID="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1" dur="500" fill="hold"/>
                                        <p:tgtEl>
                                          <p:spTgt spid="6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2" dur="500" fill="hold"/>
                                        <p:tgtEl>
                                          <p:spTgt spid="6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3" fill="hold">
                      <p:stCondLst>
                        <p:cond delay="indefinite"/>
                      </p:stCondLst>
                      <p:childTnLst>
                        <p:par>
                          <p:cTn id="64" fill="hold">
                            <p:stCondLst>
                              <p:cond delay="0"/>
                            </p:stCondLst>
                            <p:childTnLst>
                              <p:par>
                                <p:cTn id="65" presetID="10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6" dur="500"/>
                                        <p:tgtEl>
                                          <p:spTgt spid="6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6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8" presetID="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0" dur="500" fill="hold"/>
                                        <p:tgtEl>
                                          <p:spTgt spid="8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1" dur="500" fill="hold"/>
                                        <p:tgtEl>
                                          <p:spTgt spid="8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2" fill="hold">
                      <p:stCondLst>
                        <p:cond delay="indefinite"/>
                      </p:stCondLst>
                      <p:childTnLst>
                        <p:par>
                          <p:cTn id="73" fill="hold">
                            <p:stCondLst>
                              <p:cond delay="0"/>
                            </p:stCondLst>
                            <p:childTnLst>
                              <p:par>
                                <p:cTn id="74" presetID="10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75" dur="500"/>
                                        <p:tgtEl>
                                          <p:spTgt spid="8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7" presetID="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9" dur="500" fill="hold"/>
                                        <p:tgtEl>
                                          <p:spTgt spid="9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0" dur="500" fill="hold"/>
                                        <p:tgtEl>
                                          <p:spTgt spid="9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1" fill="hold">
                      <p:stCondLst>
                        <p:cond delay="indefinite"/>
                      </p:stCondLst>
                      <p:childTnLst>
                        <p:par>
                          <p:cTn id="82" fill="hold">
                            <p:stCondLst>
                              <p:cond delay="0"/>
                            </p:stCondLst>
                            <p:childTnLst>
                              <p:par>
                                <p:cTn id="83" presetID="10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84" dur="500"/>
                                        <p:tgtEl>
                                          <p:spTgt spid="9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85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9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6" presetID="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88" dur="500" fill="hold"/>
                                        <p:tgtEl>
                                          <p:spTgt spid="10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9" dur="500" fill="hold"/>
                                        <p:tgtEl>
                                          <p:spTgt spid="10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0" fill="hold">
                      <p:stCondLst>
                        <p:cond delay="indefinite"/>
                      </p:stCondLst>
                      <p:childTnLst>
                        <p:par>
                          <p:cTn id="91" fill="hold">
                            <p:stCondLst>
                              <p:cond delay="0"/>
                            </p:stCondLst>
                            <p:childTnLst>
                              <p:par>
                                <p:cTn id="92" presetID="10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93" dur="500"/>
                                        <p:tgtEl>
                                          <p:spTgt spid="10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94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0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5" presetID="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97" dur="500" fill="hold"/>
                                        <p:tgtEl>
                                          <p:spTgt spid="1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98" dur="500" fill="hold"/>
                                        <p:tgtEl>
                                          <p:spTgt spid="1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9" fill="hold">
                      <p:stCondLst>
                        <p:cond delay="indefinite"/>
                      </p:stCondLst>
                      <p:childTnLst>
                        <p:par>
                          <p:cTn id="100" fill="hold">
                            <p:stCondLst>
                              <p:cond delay="0"/>
                            </p:stCondLst>
                            <p:childTnLst>
                              <p:par>
                                <p:cTn id="101" presetID="10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02" dur="500"/>
                                        <p:tgtEl>
                                          <p:spTgt spid="11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03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4" presetID="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06" dur="500" fill="hold"/>
                                        <p:tgtEl>
                                          <p:spTgt spid="16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07" dur="500" fill="hold"/>
                                        <p:tgtEl>
                                          <p:spTgt spid="16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8" fill="hold">
                      <p:stCondLst>
                        <p:cond delay="indefinite"/>
                      </p:stCondLst>
                      <p:childTnLst>
                        <p:par>
                          <p:cTn id="109" fill="hold">
                            <p:stCondLst>
                              <p:cond delay="0"/>
                            </p:stCondLst>
                            <p:childTnLst>
                              <p:par>
                                <p:cTn id="110" presetID="10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11" dur="500"/>
                                        <p:tgtEl>
                                          <p:spTgt spid="168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1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3" presetID="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5" dur="500" fill="hold"/>
                                        <p:tgtEl>
                                          <p:spTgt spid="13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16" dur="500" fill="hold"/>
                                        <p:tgtEl>
                                          <p:spTgt spid="13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7" fill="hold">
                      <p:stCondLst>
                        <p:cond delay="indefinite"/>
                      </p:stCondLst>
                      <p:childTnLst>
                        <p:par>
                          <p:cTn id="118" fill="hold">
                            <p:stCondLst>
                              <p:cond delay="0"/>
                            </p:stCondLst>
                            <p:childTnLst>
                              <p:par>
                                <p:cTn id="119" presetID="10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20" dur="500"/>
                                        <p:tgtEl>
                                          <p:spTgt spid="13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21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22" presetID="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4" dur="500" fill="hold"/>
                                        <p:tgtEl>
                                          <p:spTgt spid="15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5" dur="500" fill="hold"/>
                                        <p:tgtEl>
                                          <p:spTgt spid="15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 smtClean="0"/>
              <a:t>Vertex order</a:t>
            </a:r>
            <a:endParaRPr lang="nl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12</a:t>
            </a:fld>
            <a:endParaRPr lang="en-GB" noProof="0" dirty="0"/>
          </a:p>
        </p:txBody>
      </p:sp>
      <p:pic>
        <p:nvPicPr>
          <p:cNvPr id="15362" name="Picture 2" descr="http://learnopengl.com/img/advanced/faceculling_windingorder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27606" y="1524000"/>
            <a:ext cx="7563969" cy="43576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34944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13</a:t>
            </a:fld>
            <a:endParaRPr lang="en-GB" noProof="0" dirty="0"/>
          </a:p>
        </p:txBody>
      </p:sp>
      <p:pic>
        <p:nvPicPr>
          <p:cNvPr id="18434" name="Picture 2" descr="https://cdn.meme.am/instances/500x/64321323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81075" y="685800"/>
            <a:ext cx="8201025" cy="53939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extBox 5"/>
          <p:cNvSpPr txBox="1"/>
          <p:nvPr/>
        </p:nvSpPr>
        <p:spPr>
          <a:xfrm>
            <a:off x="4864100" y="1943100"/>
            <a:ext cx="5041900" cy="2288694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lang="nl-NL" sz="1600" b="1" dirty="0" smtClean="0"/>
              <a:t>Open opdracht 1</a:t>
            </a:r>
          </a:p>
          <a:p>
            <a:r>
              <a:rPr lang="nl-NL" sz="1600" b="1" dirty="0" smtClean="0"/>
              <a:t>- Check het </a:t>
            </a:r>
            <a:r>
              <a:rPr lang="nl-NL" sz="1600" b="1" dirty="0" err="1" smtClean="0"/>
              <a:t>gitlab</a:t>
            </a:r>
            <a:r>
              <a:rPr lang="nl-NL" sz="1600" b="1" dirty="0" smtClean="0"/>
              <a:t> project uit</a:t>
            </a:r>
          </a:p>
          <a:p>
            <a:r>
              <a:rPr lang="nl-NL" sz="1600" b="1" dirty="0"/>
              <a:t>https://github.com/JesseBrand/WebGL</a:t>
            </a:r>
            <a:endParaRPr lang="nl-NL" sz="1600" b="1" dirty="0" smtClean="0"/>
          </a:p>
          <a:p>
            <a:r>
              <a:rPr lang="nl-NL" sz="1600" b="1" dirty="0" smtClean="0"/>
              <a:t>- Voeg een extra </a:t>
            </a:r>
            <a:r>
              <a:rPr lang="nl-NL" sz="1600" b="1" dirty="0" err="1" smtClean="0"/>
              <a:t>triangle</a:t>
            </a:r>
            <a:r>
              <a:rPr lang="nl-NL" sz="1600" b="1" dirty="0" smtClean="0"/>
              <a:t> toe om er een vierkant van te maken</a:t>
            </a:r>
          </a:p>
          <a:p>
            <a:r>
              <a:rPr lang="nl-NL" sz="1600" b="1" dirty="0" smtClean="0"/>
              <a:t>- Verander de kleur van het vierkant</a:t>
            </a:r>
          </a:p>
          <a:p>
            <a:r>
              <a:rPr lang="nl-NL" sz="1600" b="1" dirty="0" smtClean="0"/>
              <a:t>- Vervorm het vierkant, maak er een rechthoek van</a:t>
            </a:r>
          </a:p>
          <a:p>
            <a:r>
              <a:rPr lang="nl-NL" sz="1600" b="1" dirty="0" smtClean="0"/>
              <a:t>- Voeg een tweede rechthoek toe met een andere kleur.</a:t>
            </a:r>
          </a:p>
        </p:txBody>
      </p:sp>
    </p:spTree>
    <p:extLst>
      <p:ext uri="{BB962C8B-B14F-4D97-AF65-F5344CB8AC3E}">
        <p14:creationId xmlns:p14="http://schemas.microsoft.com/office/powerpoint/2010/main" val="21582712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 err="1" smtClean="0"/>
              <a:t>Vertices</a:t>
            </a:r>
            <a:r>
              <a:rPr lang="nl-NL" dirty="0" smtClean="0"/>
              <a:t> </a:t>
            </a:r>
            <a:r>
              <a:rPr lang="nl-NL" dirty="0" err="1" smtClean="0"/>
              <a:t>vs</a:t>
            </a:r>
            <a:r>
              <a:rPr lang="nl-NL" dirty="0" smtClean="0"/>
              <a:t> </a:t>
            </a:r>
            <a:r>
              <a:rPr lang="nl-NL" dirty="0" err="1" smtClean="0"/>
              <a:t>Vectors</a:t>
            </a:r>
            <a:endParaRPr lang="nl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14</a:t>
            </a:fld>
            <a:endParaRPr lang="en-GB" noProof="0" dirty="0"/>
          </a:p>
        </p:txBody>
      </p:sp>
      <p:graphicFrame>
        <p:nvGraphicFramePr>
          <p:cNvPr id="5" name="Table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11109172"/>
              </p:ext>
            </p:extLst>
          </p:nvPr>
        </p:nvGraphicFramePr>
        <p:xfrm>
          <a:off x="1701800" y="2802466"/>
          <a:ext cx="6604000" cy="1559560"/>
        </p:xfrm>
        <a:graphic>
          <a:graphicData uri="http://schemas.openxmlformats.org/drawingml/2006/table">
            <a:tbl>
              <a:tblPr firstRow="1" bandRow="1">
                <a:tableStyleId>{72833802-FEF1-4C79-8D5D-14CF1EAF98D9}</a:tableStyleId>
              </a:tblPr>
              <a:tblGrid>
                <a:gridCol w="3302000"/>
                <a:gridCol w="3302000"/>
              </a:tblGrid>
              <a:tr h="370840">
                <a:tc>
                  <a:txBody>
                    <a:bodyPr/>
                    <a:lstStyle/>
                    <a:p>
                      <a:r>
                        <a:rPr lang="nl-NL" dirty="0" smtClean="0"/>
                        <a:t>Vertex</a:t>
                      </a:r>
                      <a:endParaRPr lang="nl-NL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l-NL" dirty="0" smtClean="0"/>
                        <a:t>Vector</a:t>
                      </a:r>
                      <a:endParaRPr lang="nl-NL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nl-NL" dirty="0" err="1" smtClean="0"/>
                        <a:t>Coordinaat</a:t>
                      </a:r>
                      <a:endParaRPr lang="nl-NL" dirty="0" smtClean="0"/>
                    </a:p>
                    <a:p>
                      <a:r>
                        <a:rPr lang="nl-NL" dirty="0" smtClean="0"/>
                        <a:t>Positie</a:t>
                      </a:r>
                      <a:endParaRPr lang="nl-NL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l-NL" dirty="0" smtClean="0"/>
                        <a:t>Richting</a:t>
                      </a:r>
                    </a:p>
                    <a:p>
                      <a:r>
                        <a:rPr lang="nl-NL" dirty="0" err="1" smtClean="0"/>
                        <a:t>Evt</a:t>
                      </a:r>
                      <a:r>
                        <a:rPr lang="nl-NL" baseline="0" dirty="0" smtClean="0"/>
                        <a:t> afstand</a:t>
                      </a:r>
                    </a:p>
                    <a:p>
                      <a:r>
                        <a:rPr lang="nl-NL" baseline="0" dirty="0" smtClean="0"/>
                        <a:t>Kan genormaliseerd worden</a:t>
                      </a:r>
                    </a:p>
                    <a:p>
                      <a:r>
                        <a:rPr lang="nl-NL" baseline="0" dirty="0" err="1" smtClean="0"/>
                        <a:t>Bijv</a:t>
                      </a:r>
                      <a:r>
                        <a:rPr lang="nl-NL" baseline="0" dirty="0" smtClean="0"/>
                        <a:t>: </a:t>
                      </a:r>
                      <a:r>
                        <a:rPr lang="nl-NL" baseline="0" dirty="0" err="1" smtClean="0"/>
                        <a:t>Normal</a:t>
                      </a:r>
                      <a:endParaRPr lang="nl-NL" dirty="0"/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6" name="TextBox 5"/>
          <p:cNvSpPr txBox="1"/>
          <p:nvPr/>
        </p:nvSpPr>
        <p:spPr>
          <a:xfrm>
            <a:off x="4057650" y="1348852"/>
            <a:ext cx="1308100" cy="442035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lang="nl-NL" sz="2400" b="1" dirty="0" smtClean="0"/>
              <a:t>(x, y, </a:t>
            </a:r>
            <a:r>
              <a:rPr lang="nl-NL" sz="2400" b="1" dirty="0" err="1" smtClean="0"/>
              <a:t>z</a:t>
            </a:r>
            <a:r>
              <a:rPr lang="nl-NL" sz="2400" b="1" dirty="0" smtClean="0"/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3511317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 err="1" smtClean="0"/>
              <a:t>Transformations</a:t>
            </a:r>
            <a:r>
              <a:rPr lang="nl-NL" dirty="0" smtClean="0"/>
              <a:t>	</a:t>
            </a:r>
            <a:endParaRPr lang="nl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15</a:t>
            </a:fld>
            <a:endParaRPr lang="en-GB" noProof="0" dirty="0"/>
          </a:p>
        </p:txBody>
      </p:sp>
      <p:sp>
        <p:nvSpPr>
          <p:cNvPr id="5" name="AutoShape 2" descr="https://solarianprogrammer.com/images/2013/05/22/simple_transformations.jpg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l-NL"/>
          </a:p>
        </p:txBody>
      </p:sp>
      <p:sp>
        <p:nvSpPr>
          <p:cNvPr id="6" name="AutoShape 4" descr="https://solarianprogrammer.com/images/2013/05/22/simple_transformations.jpg"/>
          <p:cNvSpPr>
            <a:spLocks noChangeAspect="1" noChangeArrowheads="1"/>
          </p:cNvSpPr>
          <p:nvPr/>
        </p:nvSpPr>
        <p:spPr bwMode="auto">
          <a:xfrm>
            <a:off x="63500" y="-136525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l-NL"/>
          </a:p>
        </p:txBody>
      </p:sp>
      <p:pic>
        <p:nvPicPr>
          <p:cNvPr id="7173" name="Picture 5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73300" y="1152525"/>
            <a:ext cx="5324475" cy="499039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1626722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nl-NL" dirty="0" smtClean="0"/>
              <a:t>Order is </a:t>
            </a:r>
            <a:r>
              <a:rPr lang="nl-NL" dirty="0" err="1" smtClean="0"/>
              <a:t>very</a:t>
            </a:r>
            <a:r>
              <a:rPr lang="nl-NL" dirty="0" smtClean="0"/>
              <a:t> important!</a:t>
            </a:r>
            <a:endParaRPr lang="nl-NL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 err="1" smtClean="0"/>
              <a:t>Transformations</a:t>
            </a:r>
            <a:endParaRPr lang="nl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16</a:t>
            </a:fld>
            <a:endParaRPr lang="en-GB" noProof="0" dirty="0"/>
          </a:p>
        </p:txBody>
      </p:sp>
      <p:pic>
        <p:nvPicPr>
          <p:cNvPr id="6146" name="Picture 2" descr="http://what-when-how.com/wp-content/uploads/2012/05/tmp5324160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5575" y="1921596"/>
            <a:ext cx="9585325" cy="435696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4243965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 smtClean="0"/>
              <a:t>Matrices</a:t>
            </a:r>
            <a:endParaRPr lang="nl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17</a:t>
            </a:fld>
            <a:endParaRPr lang="en-GB" noProof="0" dirty="0"/>
          </a:p>
        </p:txBody>
      </p:sp>
      <p:pic>
        <p:nvPicPr>
          <p:cNvPr id="26626" name="Picture 2" descr="http://math.hws.edu/graphicsbook/c3/transform-matrices-3d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06575" y="1471612"/>
            <a:ext cx="5943600" cy="35321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8786497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 smtClean="0"/>
              <a:t>Global </a:t>
            </a:r>
            <a:r>
              <a:rPr lang="nl-NL" dirty="0" err="1" smtClean="0"/>
              <a:t>vs</a:t>
            </a:r>
            <a:r>
              <a:rPr lang="nl-NL" dirty="0" smtClean="0"/>
              <a:t> </a:t>
            </a:r>
            <a:r>
              <a:rPr lang="nl-NL" dirty="0" err="1" smtClean="0"/>
              <a:t>local</a:t>
            </a:r>
            <a:r>
              <a:rPr lang="nl-NL" dirty="0" smtClean="0"/>
              <a:t> </a:t>
            </a:r>
            <a:r>
              <a:rPr lang="nl-NL" dirty="0" err="1" smtClean="0"/>
              <a:t>coordinates</a:t>
            </a:r>
            <a:endParaRPr lang="nl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18</a:t>
            </a:fld>
            <a:endParaRPr lang="en-GB" noProof="0" dirty="0"/>
          </a:p>
        </p:txBody>
      </p:sp>
      <p:pic>
        <p:nvPicPr>
          <p:cNvPr id="27650" name="Picture 2" descr="http://www.dian-xiang.com/images/portfolio/post0/globallocalaxis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96975" y="1277937"/>
            <a:ext cx="7292975" cy="48355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3469825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19</a:t>
            </a:fld>
            <a:endParaRPr lang="en-GB" noProof="0" dirty="0"/>
          </a:p>
        </p:txBody>
      </p:sp>
      <p:pic>
        <p:nvPicPr>
          <p:cNvPr id="18434" name="Picture 2" descr="https://cdn.meme.am/instances/500x/64321323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81075" y="685800"/>
            <a:ext cx="8201025" cy="53939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extBox 5"/>
          <p:cNvSpPr txBox="1"/>
          <p:nvPr/>
        </p:nvSpPr>
        <p:spPr>
          <a:xfrm>
            <a:off x="4902200" y="2032000"/>
            <a:ext cx="5003800" cy="1796252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lang="nl-NL" sz="1600" b="1" dirty="0" smtClean="0"/>
              <a:t>Pak opdracht 2</a:t>
            </a:r>
          </a:p>
          <a:p>
            <a:r>
              <a:rPr lang="nl-NL" sz="1600" b="1" dirty="0" smtClean="0"/>
              <a:t>- Speel met de matrices en operaties om verschillende effecten uit te proberen.</a:t>
            </a:r>
          </a:p>
          <a:p>
            <a:r>
              <a:rPr lang="nl-NL" sz="1600" b="1" dirty="0" smtClean="0"/>
              <a:t>- Speel met de volgorde van de operaties  om het effect daarvan te zien.</a:t>
            </a:r>
          </a:p>
          <a:p>
            <a:r>
              <a:rPr lang="nl-NL" sz="1600" b="1" dirty="0" smtClean="0"/>
              <a:t>- Voeg een 2</a:t>
            </a:r>
            <a:r>
              <a:rPr lang="nl-NL" sz="1600" b="1" baseline="30000" dirty="0" smtClean="0"/>
              <a:t>e</a:t>
            </a:r>
            <a:r>
              <a:rPr lang="nl-NL" sz="1600" b="1" dirty="0" smtClean="0"/>
              <a:t> vorm toe en roteer / verplaats die naar een andere plek.</a:t>
            </a:r>
          </a:p>
        </p:txBody>
      </p:sp>
      <p:sp>
        <p:nvSpPr>
          <p:cNvPr id="5" name="Title 2"/>
          <p:cNvSpPr>
            <a:spLocks noGrp="1"/>
          </p:cNvSpPr>
          <p:nvPr>
            <p:ph type="title"/>
          </p:nvPr>
        </p:nvSpPr>
        <p:spPr>
          <a:xfrm>
            <a:off x="4802187" y="3892208"/>
            <a:ext cx="8522455" cy="854075"/>
          </a:xfrm>
        </p:spPr>
        <p:txBody>
          <a:bodyPr/>
          <a:lstStyle/>
          <a:p>
            <a:r>
              <a:rPr lang="nl-NL" dirty="0" smtClean="0"/>
              <a:t>Extra: </a:t>
            </a:r>
            <a:r>
              <a:rPr lang="nl-NL" dirty="0" err="1" smtClean="0"/>
              <a:t>Animation</a:t>
            </a:r>
            <a:r>
              <a:rPr lang="nl-NL" dirty="0" smtClean="0"/>
              <a:t> &amp; </a:t>
            </a:r>
            <a:r>
              <a:rPr lang="nl-NL" dirty="0" err="1" smtClean="0"/>
              <a:t>Movement</a:t>
            </a: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38362671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nl-NL" dirty="0" smtClean="0"/>
              <a:t>Kennis opdoen van </a:t>
            </a:r>
            <a:r>
              <a:rPr lang="nl-NL" dirty="0" err="1" smtClean="0"/>
              <a:t>WebGL</a:t>
            </a:r>
            <a:r>
              <a:rPr lang="nl-NL" dirty="0" smtClean="0"/>
              <a:t> en Three.J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nl-NL" dirty="0" smtClean="0"/>
              <a:t>Uitzoeken wat ervoor nodig is om Three.JS op de </a:t>
            </a:r>
            <a:r>
              <a:rPr lang="nl-NL" dirty="0" err="1" smtClean="0"/>
              <a:t>buildstraat</a:t>
            </a:r>
            <a:r>
              <a:rPr lang="nl-NL" dirty="0" smtClean="0"/>
              <a:t> beschikbaar te maken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nl-NL" dirty="0" smtClean="0"/>
              <a:t>Demo aan </a:t>
            </a:r>
            <a:r>
              <a:rPr lang="nl-NL" dirty="0" err="1" smtClean="0"/>
              <a:t>Tribe</a:t>
            </a:r>
            <a:endParaRPr lang="nl-NL" dirty="0" smtClean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nl-NL" dirty="0" smtClean="0"/>
              <a:t>Demo aan UX</a:t>
            </a:r>
            <a:endParaRPr lang="nl-NL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 smtClean="0"/>
              <a:t>Doel </a:t>
            </a:r>
            <a:r>
              <a:rPr lang="nl-NL" dirty="0" err="1" smtClean="0"/>
              <a:t>Chapter</a:t>
            </a:r>
            <a:r>
              <a:rPr lang="nl-NL" dirty="0" smtClean="0"/>
              <a:t> Meetings</a:t>
            </a:r>
            <a:endParaRPr lang="nl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2</a:t>
            </a:fld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8772724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 smtClean="0"/>
              <a:t>Camera’s</a:t>
            </a:r>
            <a:endParaRPr lang="nl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20</a:t>
            </a:fld>
            <a:endParaRPr lang="en-GB" noProof="0" dirty="0"/>
          </a:p>
        </p:txBody>
      </p:sp>
      <p:pic>
        <p:nvPicPr>
          <p:cNvPr id="9224" name="Picture 8" descr="http://images.gamedev.net/features/programming/oglch3excerpt/03fig11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84275" y="1142998"/>
            <a:ext cx="7297405" cy="52308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9740616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267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51163" y="1389063"/>
            <a:ext cx="4059237" cy="49669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 err="1" smtClean="0"/>
              <a:t>Viewport</a:t>
            </a:r>
            <a:r>
              <a:rPr lang="nl-NL" dirty="0" smtClean="0"/>
              <a:t> &amp; </a:t>
            </a:r>
            <a:r>
              <a:rPr lang="nl-NL" dirty="0" err="1" smtClean="0"/>
              <a:t>Frustum</a:t>
            </a:r>
            <a:endParaRPr lang="nl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21</a:t>
            </a:fld>
            <a:endParaRPr lang="en-GB" noProof="0" dirty="0"/>
          </a:p>
        </p:txBody>
      </p:sp>
      <p:sp>
        <p:nvSpPr>
          <p:cNvPr id="5" name="TextBox 4"/>
          <p:cNvSpPr txBox="1"/>
          <p:nvPr/>
        </p:nvSpPr>
        <p:spPr>
          <a:xfrm>
            <a:off x="2922606" y="4476038"/>
            <a:ext cx="928707" cy="318924"/>
          </a:xfrm>
          <a:prstGeom prst="rect">
            <a:avLst/>
          </a:prstGeom>
          <a:noFill/>
        </p:spPr>
        <p:txBody>
          <a:bodyPr wrap="none" lIns="36000" tIns="36000" rIns="36000" bIns="36000" rtlCol="0">
            <a:spAutoFit/>
          </a:bodyPr>
          <a:lstStyle/>
          <a:p>
            <a:r>
              <a:rPr lang="nl-NL" sz="1600" b="1" dirty="0" err="1" smtClean="0"/>
              <a:t>Viewport</a:t>
            </a:r>
            <a:endParaRPr lang="nl-NL" sz="1600" b="1" dirty="0" smtClean="0"/>
          </a:p>
        </p:txBody>
      </p:sp>
      <p:sp>
        <p:nvSpPr>
          <p:cNvPr id="7" name="TextBox 6"/>
          <p:cNvSpPr txBox="1"/>
          <p:nvPr/>
        </p:nvSpPr>
        <p:spPr>
          <a:xfrm>
            <a:off x="2193158" y="3365500"/>
            <a:ext cx="805276" cy="318924"/>
          </a:xfrm>
          <a:prstGeom prst="rect">
            <a:avLst/>
          </a:prstGeom>
          <a:noFill/>
        </p:spPr>
        <p:txBody>
          <a:bodyPr wrap="none" lIns="36000" tIns="36000" rIns="36000" bIns="36000" rtlCol="0">
            <a:spAutoFit/>
          </a:bodyPr>
          <a:lstStyle/>
          <a:p>
            <a:r>
              <a:rPr lang="nl-NL" sz="1600" b="1" dirty="0" smtClean="0"/>
              <a:t>Camera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5373706" y="1174038"/>
            <a:ext cx="861381" cy="318924"/>
          </a:xfrm>
          <a:prstGeom prst="rect">
            <a:avLst/>
          </a:prstGeom>
          <a:noFill/>
        </p:spPr>
        <p:txBody>
          <a:bodyPr wrap="none" lIns="36000" tIns="36000" rIns="36000" bIns="36000" rtlCol="0">
            <a:spAutoFit/>
          </a:bodyPr>
          <a:lstStyle/>
          <a:p>
            <a:r>
              <a:rPr lang="nl-NL" sz="1600" b="1" dirty="0" err="1" smtClean="0"/>
              <a:t>Frustum</a:t>
            </a:r>
            <a:endParaRPr lang="nl-NL" sz="1600" b="1" dirty="0" smtClean="0"/>
          </a:p>
        </p:txBody>
      </p:sp>
    </p:spTree>
    <p:extLst>
      <p:ext uri="{BB962C8B-B14F-4D97-AF65-F5344CB8AC3E}">
        <p14:creationId xmlns:p14="http://schemas.microsoft.com/office/powerpoint/2010/main" val="29208096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 smtClean="0"/>
              <a:t>Camera </a:t>
            </a:r>
            <a:r>
              <a:rPr lang="nl-NL" dirty="0" err="1" smtClean="0"/>
              <a:t>Projections</a:t>
            </a:r>
            <a:endParaRPr lang="nl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22</a:t>
            </a:fld>
            <a:endParaRPr lang="en-GB" noProof="0" dirty="0"/>
          </a:p>
        </p:txBody>
      </p:sp>
      <p:pic>
        <p:nvPicPr>
          <p:cNvPr id="9220" name="Picture 4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7650" y="1214438"/>
            <a:ext cx="9410700" cy="4429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9358144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338" name="Picture 2"/>
          <p:cNvPicPr>
            <a:picLocks noGrp="1" noChangeAspect="1" noChangeArrowheads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82800" y="2027787"/>
            <a:ext cx="6489700" cy="39936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 err="1" smtClean="0"/>
              <a:t>Meshes</a:t>
            </a:r>
            <a:r>
              <a:rPr lang="nl-NL" dirty="0" smtClean="0"/>
              <a:t>, </a:t>
            </a:r>
            <a:r>
              <a:rPr lang="nl-NL" dirty="0" err="1" smtClean="0"/>
              <a:t>Triangles</a:t>
            </a:r>
            <a:r>
              <a:rPr lang="nl-NL" dirty="0" smtClean="0"/>
              <a:t> (Tris), </a:t>
            </a:r>
            <a:r>
              <a:rPr lang="nl-NL" dirty="0" err="1" smtClean="0"/>
              <a:t>Edges</a:t>
            </a:r>
            <a:endParaRPr lang="nl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23</a:t>
            </a:fld>
            <a:endParaRPr lang="en-GB" noProof="0" dirty="0"/>
          </a:p>
        </p:txBody>
      </p:sp>
      <p:sp>
        <p:nvSpPr>
          <p:cNvPr id="5" name="Rectangle 4"/>
          <p:cNvSpPr/>
          <p:nvPr/>
        </p:nvSpPr>
        <p:spPr>
          <a:xfrm>
            <a:off x="1511300" y="1473200"/>
            <a:ext cx="7340600" cy="4737100"/>
          </a:xfrm>
          <a:prstGeom prst="rect">
            <a:avLst/>
          </a:prstGeom>
          <a:noFill/>
          <a:ln w="635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nl-NL" sz="1600" smtClean="0"/>
          </a:p>
        </p:txBody>
      </p:sp>
      <p:sp>
        <p:nvSpPr>
          <p:cNvPr id="6" name="TextBox 5"/>
          <p:cNvSpPr txBox="1"/>
          <p:nvPr/>
        </p:nvSpPr>
        <p:spPr>
          <a:xfrm>
            <a:off x="4565519" y="1181100"/>
            <a:ext cx="571238" cy="318924"/>
          </a:xfrm>
          <a:prstGeom prst="rect">
            <a:avLst/>
          </a:prstGeom>
          <a:noFill/>
        </p:spPr>
        <p:txBody>
          <a:bodyPr wrap="none" lIns="36000" tIns="36000" rIns="36000" bIns="36000" rtlCol="0">
            <a:spAutoFit/>
          </a:bodyPr>
          <a:lstStyle/>
          <a:p>
            <a:r>
              <a:rPr lang="nl-NL" sz="1600" b="1" dirty="0" err="1" smtClean="0"/>
              <a:t>Mesh</a:t>
            </a:r>
            <a:endParaRPr lang="nl-NL" sz="1600" b="1" dirty="0" smtClean="0"/>
          </a:p>
        </p:txBody>
      </p:sp>
      <p:sp>
        <p:nvSpPr>
          <p:cNvPr id="7" name="Oval 6"/>
          <p:cNvSpPr/>
          <p:nvPr/>
        </p:nvSpPr>
        <p:spPr>
          <a:xfrm>
            <a:off x="4851138" y="3416300"/>
            <a:ext cx="825762" cy="279400"/>
          </a:xfrm>
          <a:prstGeom prst="ellipse">
            <a:avLst/>
          </a:prstGeom>
          <a:noFill/>
          <a:ln w="254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nl-NL" sz="1600" smtClean="0"/>
          </a:p>
        </p:txBody>
      </p:sp>
      <p:sp>
        <p:nvSpPr>
          <p:cNvPr id="9" name="Oval 8"/>
          <p:cNvSpPr/>
          <p:nvPr/>
        </p:nvSpPr>
        <p:spPr>
          <a:xfrm>
            <a:off x="4851138" y="2171700"/>
            <a:ext cx="978162" cy="825500"/>
          </a:xfrm>
          <a:prstGeom prst="ellipse">
            <a:avLst/>
          </a:prstGeom>
          <a:noFill/>
          <a:ln w="254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nl-NL" sz="1600" smtClean="0"/>
          </a:p>
        </p:txBody>
      </p:sp>
      <p:cxnSp>
        <p:nvCxnSpPr>
          <p:cNvPr id="10" name="Straight Connector 9"/>
          <p:cNvCxnSpPr>
            <a:stCxn id="7" idx="4"/>
          </p:cNvCxnSpPr>
          <p:nvPr/>
        </p:nvCxnSpPr>
        <p:spPr>
          <a:xfrm>
            <a:off x="5264019" y="3695700"/>
            <a:ext cx="76200" cy="1028700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Box 12"/>
          <p:cNvSpPr txBox="1"/>
          <p:nvPr/>
        </p:nvSpPr>
        <p:spPr>
          <a:xfrm>
            <a:off x="5149719" y="4751224"/>
            <a:ext cx="539177" cy="318924"/>
          </a:xfrm>
          <a:prstGeom prst="rect">
            <a:avLst/>
          </a:prstGeom>
          <a:noFill/>
        </p:spPr>
        <p:txBody>
          <a:bodyPr wrap="none" lIns="36000" tIns="36000" rIns="36000" bIns="36000" rtlCol="0">
            <a:spAutoFit/>
          </a:bodyPr>
          <a:lstStyle/>
          <a:p>
            <a:r>
              <a:rPr lang="nl-NL" sz="1600" b="1" dirty="0" err="1" smtClean="0"/>
              <a:t>Edge</a:t>
            </a:r>
            <a:endParaRPr lang="nl-NL" sz="1600" b="1" dirty="0" smtClean="0"/>
          </a:p>
        </p:txBody>
      </p:sp>
      <p:sp>
        <p:nvSpPr>
          <p:cNvPr id="14" name="TextBox 13"/>
          <p:cNvSpPr txBox="1"/>
          <p:nvPr/>
        </p:nvSpPr>
        <p:spPr>
          <a:xfrm>
            <a:off x="4007390" y="2161848"/>
            <a:ext cx="843748" cy="318924"/>
          </a:xfrm>
          <a:prstGeom prst="rect">
            <a:avLst/>
          </a:prstGeom>
          <a:noFill/>
        </p:spPr>
        <p:txBody>
          <a:bodyPr wrap="none" lIns="36000" tIns="36000" rIns="36000" bIns="36000" rtlCol="0">
            <a:spAutoFit/>
          </a:bodyPr>
          <a:lstStyle/>
          <a:p>
            <a:r>
              <a:rPr lang="nl-NL" sz="1600" b="1" dirty="0" err="1" smtClean="0"/>
              <a:t>Triangle</a:t>
            </a:r>
            <a:endParaRPr lang="nl-NL" sz="1600" b="1" dirty="0" smtClean="0"/>
          </a:p>
        </p:txBody>
      </p:sp>
    </p:spTree>
    <p:extLst>
      <p:ext uri="{BB962C8B-B14F-4D97-AF65-F5344CB8AC3E}">
        <p14:creationId xmlns:p14="http://schemas.microsoft.com/office/powerpoint/2010/main" val="28294461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395" name="Picture 11" descr="http://www.opengl-tutorial.org/assets/images/tuto-9-vbo-indexing/goodsmooth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38700" y="-486569"/>
            <a:ext cx="4572000" cy="27320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 err="1" smtClean="0"/>
              <a:t>Normals</a:t>
            </a:r>
            <a:endParaRPr lang="nl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24</a:t>
            </a:fld>
            <a:endParaRPr lang="en-GB" noProof="0" dirty="0"/>
          </a:p>
        </p:txBody>
      </p:sp>
      <p:pic>
        <p:nvPicPr>
          <p:cNvPr id="16389" name="Picture 5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5300" y="1585913"/>
            <a:ext cx="8915400" cy="4143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AutoShape 7" descr="Image result for opengl vertex vector"/>
          <p:cNvSpPr>
            <a:spLocks noChangeAspect="1" noChangeArrowheads="1"/>
          </p:cNvSpPr>
          <p:nvPr/>
        </p:nvSpPr>
        <p:spPr bwMode="auto">
          <a:xfrm>
            <a:off x="155575" y="-136525"/>
            <a:ext cx="296863" cy="2968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l-NL"/>
          </a:p>
        </p:txBody>
      </p:sp>
      <p:sp>
        <p:nvSpPr>
          <p:cNvPr id="6" name="AutoShape 9" descr="Image result for opengl vertex vector"/>
          <p:cNvSpPr>
            <a:spLocks noChangeAspect="1" noChangeArrowheads="1"/>
          </p:cNvSpPr>
          <p:nvPr/>
        </p:nvSpPr>
        <p:spPr bwMode="auto">
          <a:xfrm>
            <a:off x="307975" y="15875"/>
            <a:ext cx="296863" cy="2968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8075385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 err="1" smtClean="0"/>
              <a:t>Lights</a:t>
            </a:r>
            <a:endParaRPr lang="nl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25</a:t>
            </a:fld>
            <a:endParaRPr lang="en-GB" noProof="0" dirty="0"/>
          </a:p>
        </p:txBody>
      </p:sp>
      <p:pic>
        <p:nvPicPr>
          <p:cNvPr id="17410" name="Picture 2" descr="http://i.stack.imgur.com/3udUJ.gif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8975" y="1033462"/>
            <a:ext cx="8572500" cy="51895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9958737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 err="1" smtClean="0"/>
              <a:t>Rendering</a:t>
            </a:r>
            <a:r>
              <a:rPr lang="nl-NL" dirty="0" smtClean="0"/>
              <a:t> Modes</a:t>
            </a:r>
            <a:endParaRPr lang="nl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26</a:t>
            </a:fld>
            <a:endParaRPr lang="en-GB" noProof="0" dirty="0"/>
          </a:p>
        </p:txBody>
      </p:sp>
      <p:pic>
        <p:nvPicPr>
          <p:cNvPr id="22530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7912" y="1011238"/>
            <a:ext cx="7750175" cy="4835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4750644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 err="1" smtClean="0"/>
              <a:t>Materials</a:t>
            </a:r>
            <a:endParaRPr lang="nl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27</a:t>
            </a:fld>
            <a:endParaRPr lang="en-GB" noProof="0" dirty="0"/>
          </a:p>
        </p:txBody>
      </p:sp>
      <p:pic>
        <p:nvPicPr>
          <p:cNvPr id="21506" name="Picture 2" descr="http://www.glprogramming.com/red/images/teapots.gif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66975" y="0"/>
            <a:ext cx="5657850" cy="68008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2014207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483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00613" y="171450"/>
            <a:ext cx="4321175" cy="3257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 err="1" smtClean="0"/>
              <a:t>Shaders</a:t>
            </a:r>
            <a:r>
              <a:rPr lang="nl-NL" dirty="0" smtClean="0"/>
              <a:t> - </a:t>
            </a:r>
            <a:r>
              <a:rPr lang="nl-NL" dirty="0" err="1" smtClean="0"/>
              <a:t>Lighting</a:t>
            </a:r>
            <a:r>
              <a:rPr lang="nl-NL" dirty="0" smtClean="0"/>
              <a:t> Types</a:t>
            </a:r>
            <a:endParaRPr lang="nl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28</a:t>
            </a:fld>
            <a:endParaRPr lang="en-GB" noProof="0" dirty="0"/>
          </a:p>
        </p:txBody>
      </p:sp>
      <p:pic>
        <p:nvPicPr>
          <p:cNvPr id="20482" name="Picture 2" descr="http://math.hws.edu/eck/cs424/notes2013/images/09/reflection1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89075" y="3402012"/>
            <a:ext cx="6149975" cy="28225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8668118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 err="1" smtClean="0"/>
              <a:t>Shaders</a:t>
            </a:r>
            <a:r>
              <a:rPr lang="nl-NL" dirty="0" smtClean="0"/>
              <a:t> - Phong</a:t>
            </a:r>
            <a:endParaRPr lang="nl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29</a:t>
            </a:fld>
            <a:endParaRPr lang="en-GB" noProof="0" dirty="0"/>
          </a:p>
        </p:txBody>
      </p:sp>
      <p:pic>
        <p:nvPicPr>
          <p:cNvPr id="19458" name="Picture 2" descr="https://upload.wikimedia.org/wikipedia/commons/thumb/6/6b/Phong_components_version_4.png/655px-Phong_components_version_4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5575" y="2074862"/>
            <a:ext cx="9675492" cy="26876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2184475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GB" dirty="0" smtClean="0"/>
              <a:t>What is it and what is it not?</a:t>
            </a:r>
          </a:p>
          <a:p>
            <a:endParaRPr lang="en-GB" dirty="0"/>
          </a:p>
          <a:p>
            <a:r>
              <a:rPr lang="en-GB" b="1" dirty="0" smtClean="0"/>
              <a:t>Wikipedia</a:t>
            </a:r>
            <a:r>
              <a:rPr lang="en-GB" dirty="0" smtClean="0"/>
              <a:t>: </a:t>
            </a:r>
            <a:r>
              <a:rPr lang="en-US" dirty="0" err="1"/>
              <a:t>WebGL</a:t>
            </a:r>
            <a:r>
              <a:rPr lang="en-US" dirty="0"/>
              <a:t> (Web Graphics Library) is a JavaScript API for rendering interactive 3D computer graphics and 2D graphics within any compatible web browser without the use of plug-ins</a:t>
            </a:r>
            <a:r>
              <a:rPr lang="en-US" dirty="0" smtClean="0"/>
              <a:t>.</a:t>
            </a:r>
            <a:r>
              <a:rPr lang="en-US" dirty="0"/>
              <a:t> </a:t>
            </a:r>
            <a:r>
              <a:rPr lang="en-US" dirty="0" err="1"/>
              <a:t>WebGL</a:t>
            </a:r>
            <a:r>
              <a:rPr lang="en-US" dirty="0"/>
              <a:t> is integrated completely into all the web standards of the browser allowing GPU accelerated usage of physics and image processing and effects as part of the web page canvas</a:t>
            </a:r>
            <a:r>
              <a:rPr lang="en-US" dirty="0" smtClean="0"/>
              <a:t>.</a:t>
            </a:r>
          </a:p>
          <a:p>
            <a:endParaRPr lang="en-US" dirty="0"/>
          </a:p>
          <a:p>
            <a:r>
              <a:rPr lang="en-US" dirty="0" err="1"/>
              <a:t>WebGL</a:t>
            </a:r>
            <a:r>
              <a:rPr lang="en-US" dirty="0"/>
              <a:t> 1.0 is based on OpenGL </a:t>
            </a:r>
            <a:r>
              <a:rPr lang="en-US" dirty="0" smtClean="0"/>
              <a:t>ES 2.0</a:t>
            </a:r>
            <a:r>
              <a:rPr lang="en-US" dirty="0"/>
              <a:t> (for Embedded Systems) </a:t>
            </a:r>
            <a:r>
              <a:rPr lang="en-US" dirty="0" smtClean="0"/>
              <a:t>and </a:t>
            </a:r>
            <a:r>
              <a:rPr lang="en-US" dirty="0"/>
              <a:t>provides an API for 3D graphics.</a:t>
            </a:r>
            <a:endParaRPr lang="en-GB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err="1" smtClean="0"/>
              <a:t>WebGL</a:t>
            </a: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3</a:t>
            </a:fld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813363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 err="1" smtClean="0"/>
              <a:t>Textures</a:t>
            </a:r>
            <a:endParaRPr lang="nl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30</a:t>
            </a:fld>
            <a:endParaRPr lang="en-GB" noProof="0" dirty="0"/>
          </a:p>
        </p:txBody>
      </p:sp>
      <p:pic>
        <p:nvPicPr>
          <p:cNvPr id="24578" name="Picture 2" descr="http://www.real3dtutorials.com/images/img00017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6275" y="1704975"/>
            <a:ext cx="8391525" cy="355400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1365712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 smtClean="0"/>
              <a:t>U/V </a:t>
            </a:r>
            <a:r>
              <a:rPr lang="nl-NL" dirty="0" err="1" smtClean="0"/>
              <a:t>Coordinates</a:t>
            </a:r>
            <a:endParaRPr lang="nl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31</a:t>
            </a:fld>
            <a:endParaRPr lang="en-GB" noProof="0" dirty="0"/>
          </a:p>
        </p:txBody>
      </p:sp>
      <p:pic>
        <p:nvPicPr>
          <p:cNvPr id="23554" name="Picture 2" descr="http://i.stack.imgur.com/nMrVF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5574" y="1246432"/>
            <a:ext cx="9534525" cy="48527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4391278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 err="1" smtClean="0"/>
              <a:t>Specular</a:t>
            </a:r>
            <a:r>
              <a:rPr lang="nl-NL" dirty="0" smtClean="0"/>
              <a:t> </a:t>
            </a:r>
            <a:r>
              <a:rPr lang="nl-NL" dirty="0" err="1" smtClean="0"/>
              <a:t>Maps</a:t>
            </a:r>
            <a:endParaRPr lang="nl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32</a:t>
            </a:fld>
            <a:endParaRPr lang="en-GB" noProof="0" dirty="0"/>
          </a:p>
        </p:txBody>
      </p:sp>
      <p:pic>
        <p:nvPicPr>
          <p:cNvPr id="25602" name="Picture 2" descr="Colour map of the Earth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88" y="4379459"/>
            <a:ext cx="4976812" cy="24880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5604" name="Picture 4" descr="Specular map of the Earth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48247" y="4379459"/>
            <a:ext cx="4957754" cy="24785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AutoShape 6" descr="Image result for specular map globe"/>
          <p:cNvSpPr>
            <a:spLocks noChangeAspect="1" noChangeArrowheads="1"/>
          </p:cNvSpPr>
          <p:nvPr/>
        </p:nvSpPr>
        <p:spPr bwMode="auto">
          <a:xfrm>
            <a:off x="155575" y="-136525"/>
            <a:ext cx="296863" cy="2968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l-NL"/>
          </a:p>
        </p:txBody>
      </p:sp>
      <p:sp>
        <p:nvSpPr>
          <p:cNvPr id="6" name="AutoShape 8" descr="Image result for specular map globe"/>
          <p:cNvSpPr>
            <a:spLocks noChangeAspect="1" noChangeArrowheads="1"/>
          </p:cNvSpPr>
          <p:nvPr/>
        </p:nvSpPr>
        <p:spPr bwMode="auto">
          <a:xfrm>
            <a:off x="307975" y="15875"/>
            <a:ext cx="296863" cy="2968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l-NL"/>
          </a:p>
        </p:txBody>
      </p:sp>
      <p:pic>
        <p:nvPicPr>
          <p:cNvPr id="25610" name="Picture 10" descr="http://4.bp.blogspot.com/-hFfZ4JriKOs/UkdEkLAgjtI/AAAAAAAAK_c/VUeZoZeSsng/s1600/specular.jp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83188" y="914400"/>
            <a:ext cx="6930118" cy="346505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7740809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nl-NL" b="1" dirty="0" err="1" smtClean="0">
                <a:solidFill>
                  <a:schemeClr val="accent4"/>
                </a:solidFill>
              </a:rPr>
              <a:t>Frameworks</a:t>
            </a:r>
            <a:endParaRPr lang="nl-NL" b="1" dirty="0">
              <a:solidFill>
                <a:schemeClr val="accent4"/>
              </a:solidFill>
            </a:endParaRPr>
          </a:p>
          <a:p>
            <a:r>
              <a:rPr lang="nl-NL" b="1" dirty="0" smtClean="0"/>
              <a:t>Three.js</a:t>
            </a:r>
            <a:r>
              <a:rPr lang="nl-NL" dirty="0" smtClean="0"/>
              <a:t> </a:t>
            </a:r>
            <a:r>
              <a:rPr lang="nl-NL" dirty="0"/>
              <a:t>- </a:t>
            </a:r>
            <a:r>
              <a:rPr lang="nl-NL" dirty="0">
                <a:hlinkClick r:id="rId2"/>
              </a:rPr>
              <a:t>http://threejs.org</a:t>
            </a:r>
            <a:r>
              <a:rPr lang="nl-NL" dirty="0" smtClean="0">
                <a:hlinkClick r:id="rId2"/>
              </a:rPr>
              <a:t>/</a:t>
            </a:r>
            <a:endParaRPr lang="nl-NL" dirty="0" smtClean="0"/>
          </a:p>
          <a:p>
            <a:r>
              <a:rPr lang="nl-NL" b="1" dirty="0" smtClean="0"/>
              <a:t>Blend4web</a:t>
            </a:r>
            <a:r>
              <a:rPr lang="nl-NL" dirty="0" smtClean="0"/>
              <a:t> </a:t>
            </a:r>
            <a:r>
              <a:rPr lang="nl-NL" dirty="0"/>
              <a:t>- </a:t>
            </a:r>
            <a:r>
              <a:rPr lang="nl-NL" dirty="0">
                <a:hlinkClick r:id="rId3"/>
              </a:rPr>
              <a:t>https://www.blend4web.com/en</a:t>
            </a:r>
            <a:r>
              <a:rPr lang="nl-NL" dirty="0" smtClean="0">
                <a:hlinkClick r:id="rId3"/>
              </a:rPr>
              <a:t>/</a:t>
            </a:r>
            <a:endParaRPr lang="nl-NL" dirty="0" smtClean="0"/>
          </a:p>
          <a:p>
            <a:r>
              <a:rPr lang="nl-NL" b="1" dirty="0" err="1" smtClean="0"/>
              <a:t>Copperlicht</a:t>
            </a:r>
            <a:r>
              <a:rPr lang="nl-NL" dirty="0"/>
              <a:t> - </a:t>
            </a:r>
            <a:r>
              <a:rPr lang="nl-NL" dirty="0">
                <a:hlinkClick r:id="rId4"/>
              </a:rPr>
              <a:t>http://www.ambiera.com/copperlicht</a:t>
            </a:r>
            <a:r>
              <a:rPr lang="nl-NL" dirty="0" smtClean="0">
                <a:hlinkClick r:id="rId4"/>
              </a:rPr>
              <a:t>/</a:t>
            </a:r>
            <a:endParaRPr lang="nl-NL" dirty="0" smtClean="0"/>
          </a:p>
          <a:p>
            <a:r>
              <a:rPr lang="nl-NL" b="1" dirty="0" smtClean="0"/>
              <a:t>Clara.io</a:t>
            </a:r>
            <a:r>
              <a:rPr lang="nl-NL" dirty="0"/>
              <a:t> - </a:t>
            </a:r>
            <a:r>
              <a:rPr lang="nl-NL" dirty="0">
                <a:hlinkClick r:id="rId5"/>
              </a:rPr>
              <a:t>https://clara.io</a:t>
            </a:r>
            <a:r>
              <a:rPr lang="nl-NL" dirty="0" smtClean="0">
                <a:hlinkClick r:id="rId5"/>
              </a:rPr>
              <a:t>/</a:t>
            </a:r>
            <a:endParaRPr lang="nl-NL" dirty="0" smtClean="0"/>
          </a:p>
          <a:p>
            <a:r>
              <a:rPr lang="nl-NL" b="1" dirty="0" err="1"/>
              <a:t>Unity</a:t>
            </a:r>
            <a:r>
              <a:rPr lang="nl-NL" dirty="0"/>
              <a:t> – </a:t>
            </a:r>
            <a:r>
              <a:rPr lang="nl-NL" dirty="0">
                <a:hlinkClick r:id="rId6"/>
              </a:rPr>
              <a:t>https://unity3d.com/</a:t>
            </a:r>
            <a:endParaRPr lang="nl-NL" dirty="0"/>
          </a:p>
          <a:p>
            <a:endParaRPr lang="nl-NL" dirty="0"/>
          </a:p>
          <a:p>
            <a:r>
              <a:rPr lang="nl-NL" dirty="0"/>
              <a:t>…</a:t>
            </a:r>
            <a:r>
              <a:rPr lang="nl-NL" dirty="0" err="1"/>
              <a:t>and</a:t>
            </a:r>
            <a:r>
              <a:rPr lang="nl-NL" dirty="0"/>
              <a:t> more - </a:t>
            </a:r>
            <a:r>
              <a:rPr lang="nl-NL" dirty="0">
                <a:hlinkClick r:id="rId7"/>
              </a:rPr>
              <a:t>https://en.wikipedia.org/wiki/List_of_WebGL_frameworks</a:t>
            </a:r>
            <a:endParaRPr lang="nl-NL" dirty="0"/>
          </a:p>
          <a:p>
            <a:endParaRPr lang="nl-NL" dirty="0" smtClean="0"/>
          </a:p>
          <a:p>
            <a:r>
              <a:rPr lang="nl-NL" b="1" dirty="0" smtClean="0">
                <a:solidFill>
                  <a:schemeClr val="accent4"/>
                </a:solidFill>
              </a:rPr>
              <a:t>Libraries</a:t>
            </a:r>
            <a:endParaRPr lang="nl-NL" b="1" dirty="0">
              <a:solidFill>
                <a:schemeClr val="accent4"/>
              </a:solidFill>
            </a:endParaRPr>
          </a:p>
          <a:p>
            <a:r>
              <a:rPr lang="nl-NL" b="1" dirty="0" smtClean="0"/>
              <a:t>gl-matrix</a:t>
            </a:r>
            <a:r>
              <a:rPr lang="nl-NL" dirty="0" smtClean="0"/>
              <a:t> - </a:t>
            </a:r>
            <a:r>
              <a:rPr lang="nl-NL" dirty="0" smtClean="0">
                <a:hlinkClick r:id="rId8"/>
              </a:rPr>
              <a:t>https</a:t>
            </a:r>
            <a:r>
              <a:rPr lang="nl-NL" dirty="0">
                <a:hlinkClick r:id="rId8"/>
              </a:rPr>
              <a:t>://</a:t>
            </a:r>
            <a:r>
              <a:rPr lang="nl-NL" dirty="0" smtClean="0">
                <a:hlinkClick r:id="rId8"/>
              </a:rPr>
              <a:t>github.com/toji/gl-matrix</a:t>
            </a:r>
            <a:endParaRPr lang="nl-NL" dirty="0" smtClean="0"/>
          </a:p>
          <a:p>
            <a:endParaRPr lang="nl-NL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 smtClean="0"/>
              <a:t>Libraries en </a:t>
            </a:r>
            <a:r>
              <a:rPr lang="nl-NL" dirty="0" err="1" smtClean="0"/>
              <a:t>frameworks</a:t>
            </a:r>
            <a:endParaRPr lang="nl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33</a:t>
            </a:fld>
            <a:endParaRPr lang="en-GB" noProof="0" dirty="0"/>
          </a:p>
        </p:txBody>
      </p:sp>
      <p:sp>
        <p:nvSpPr>
          <p:cNvPr id="5" name="TextBox 4"/>
          <p:cNvSpPr txBox="1"/>
          <p:nvPr/>
        </p:nvSpPr>
        <p:spPr>
          <a:xfrm>
            <a:off x="10312400" y="1155700"/>
            <a:ext cx="3657600" cy="503590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lang="nl-NL" sz="1400" dirty="0" smtClean="0"/>
              <a:t>Uiteenlopend van simpele </a:t>
            </a:r>
            <a:r>
              <a:rPr lang="nl-NL" sz="1400" dirty="0" err="1" smtClean="0"/>
              <a:t>libraries</a:t>
            </a:r>
            <a:r>
              <a:rPr lang="nl-NL" sz="1400" dirty="0" smtClean="0"/>
              <a:t> naar </a:t>
            </a:r>
            <a:r>
              <a:rPr lang="nl-NL" sz="1400" dirty="0" err="1" smtClean="0"/>
              <a:t>js</a:t>
            </a:r>
            <a:r>
              <a:rPr lang="nl-NL" sz="1400" dirty="0" smtClean="0"/>
              <a:t> </a:t>
            </a:r>
            <a:r>
              <a:rPr lang="nl-NL" sz="1400" dirty="0" err="1" smtClean="0"/>
              <a:t>frameworks</a:t>
            </a:r>
            <a:r>
              <a:rPr lang="nl-NL" sz="1400" dirty="0" smtClean="0"/>
              <a:t> naar full-</a:t>
            </a:r>
            <a:r>
              <a:rPr lang="nl-NL" sz="1400" dirty="0" err="1" smtClean="0"/>
              <a:t>fledged</a:t>
            </a:r>
            <a:r>
              <a:rPr lang="nl-NL" sz="1400" dirty="0" smtClean="0"/>
              <a:t> editor suites</a:t>
            </a:r>
          </a:p>
        </p:txBody>
      </p:sp>
    </p:spTree>
    <p:extLst>
      <p:ext uri="{BB962C8B-B14F-4D97-AF65-F5344CB8AC3E}">
        <p14:creationId xmlns:p14="http://schemas.microsoft.com/office/powerpoint/2010/main" val="355992808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nl-NL" dirty="0" err="1" smtClean="0"/>
              <a:t>Deep</a:t>
            </a:r>
            <a:r>
              <a:rPr lang="nl-NL" dirty="0" smtClean="0"/>
              <a:t> </a:t>
            </a:r>
            <a:r>
              <a:rPr lang="nl-NL" dirty="0" err="1" smtClean="0"/>
              <a:t>dive</a:t>
            </a:r>
            <a:r>
              <a:rPr lang="nl-NL" dirty="0" smtClean="0"/>
              <a:t> </a:t>
            </a:r>
            <a:r>
              <a:rPr lang="nl-NL" dirty="0" err="1" smtClean="0"/>
              <a:t>into</a:t>
            </a:r>
            <a:r>
              <a:rPr lang="nl-NL" dirty="0" smtClean="0"/>
              <a:t> three.js</a:t>
            </a:r>
          </a:p>
          <a:p>
            <a:r>
              <a:rPr lang="nl-NL" dirty="0" smtClean="0">
                <a:hlinkClick r:id="rId2"/>
              </a:rPr>
              <a:t>http</a:t>
            </a:r>
            <a:r>
              <a:rPr lang="nl-NL" dirty="0">
                <a:hlinkClick r:id="rId2"/>
              </a:rPr>
              <a:t>://threejs.org/examples/#</a:t>
            </a:r>
            <a:r>
              <a:rPr lang="nl-NL" dirty="0" smtClean="0">
                <a:hlinkClick r:id="rId2"/>
              </a:rPr>
              <a:t>webgl_geometry_cube</a:t>
            </a:r>
            <a:endParaRPr lang="nl-NL" dirty="0" smtClean="0"/>
          </a:p>
          <a:p>
            <a:endParaRPr lang="nl-NL" dirty="0" smtClean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 smtClean="0"/>
              <a:t>Next time</a:t>
            </a:r>
            <a:endParaRPr lang="nl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34</a:t>
            </a:fld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4185776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nl-NL" dirty="0">
                <a:hlinkClick r:id="rId2"/>
              </a:rPr>
              <a:t>http://learningwebgl.com/blog/?</a:t>
            </a:r>
            <a:r>
              <a:rPr lang="nl-NL" dirty="0" smtClean="0">
                <a:hlinkClick r:id="rId2"/>
              </a:rPr>
              <a:t>page_id=1217</a:t>
            </a:r>
          </a:p>
          <a:p>
            <a:r>
              <a:rPr lang="nl-NL" dirty="0" smtClean="0">
                <a:hlinkClick r:id="rId2"/>
              </a:rPr>
              <a:t>http</a:t>
            </a:r>
            <a:r>
              <a:rPr lang="nl-NL" dirty="0">
                <a:hlinkClick r:id="rId2"/>
              </a:rPr>
              <a:t>://webglfundamentals.org</a:t>
            </a:r>
            <a:r>
              <a:rPr lang="nl-NL" dirty="0" smtClean="0">
                <a:hlinkClick r:id="rId2"/>
              </a:rPr>
              <a:t>/</a:t>
            </a:r>
            <a:endParaRPr lang="nl-NL" dirty="0" smtClean="0"/>
          </a:p>
          <a:p>
            <a:r>
              <a:rPr lang="nl-NL" dirty="0">
                <a:hlinkClick r:id="rId3"/>
              </a:rPr>
              <a:t>https://developer.mozilla.org/en-US/docs/Web/API/WebGL_API/Tutorial</a:t>
            </a:r>
          </a:p>
          <a:p>
            <a:r>
              <a:rPr lang="nl-NL" dirty="0" smtClean="0">
                <a:hlinkClick r:id="rId3"/>
              </a:rPr>
              <a:t>http</a:t>
            </a:r>
            <a:r>
              <a:rPr lang="nl-NL" dirty="0">
                <a:hlinkClick r:id="rId3"/>
              </a:rPr>
              <a:t>://www.html5rocks.com/en/tutorials/webgl/webgl_fundamentals</a:t>
            </a:r>
            <a:r>
              <a:rPr lang="nl-NL" dirty="0" smtClean="0">
                <a:hlinkClick r:id="rId3"/>
              </a:rPr>
              <a:t>/</a:t>
            </a:r>
            <a:endParaRPr lang="nl-NL" dirty="0" smtClean="0"/>
          </a:p>
          <a:p>
            <a:r>
              <a:rPr lang="nl-NL" dirty="0">
                <a:hlinkClick r:id="rId4"/>
              </a:rPr>
              <a:t>http://</a:t>
            </a:r>
            <a:r>
              <a:rPr lang="nl-NL" dirty="0" smtClean="0">
                <a:hlinkClick r:id="rId4"/>
              </a:rPr>
              <a:t>www.creativebloq.com/javascript/get-started-webgl-draw-square-7112981</a:t>
            </a:r>
            <a:endParaRPr lang="nl-NL" dirty="0" smtClean="0"/>
          </a:p>
          <a:p>
            <a:endParaRPr lang="nl-NL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 smtClean="0"/>
              <a:t>Resources &amp; </a:t>
            </a:r>
            <a:r>
              <a:rPr lang="nl-NL" dirty="0" err="1" smtClean="0"/>
              <a:t>Tutorials</a:t>
            </a:r>
            <a:endParaRPr lang="nl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35</a:t>
            </a:fld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11656560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nl-NL" b="1" dirty="0" smtClean="0"/>
              <a:t>Wikipedia: </a:t>
            </a:r>
            <a:r>
              <a:rPr lang="nl-NL" dirty="0" err="1" smtClean="0"/>
              <a:t>OpenGL</a:t>
            </a:r>
            <a:r>
              <a:rPr lang="nl-NL" dirty="0"/>
              <a:t> is a cross-</a:t>
            </a:r>
            <a:r>
              <a:rPr lang="nl-NL" dirty="0" err="1"/>
              <a:t>language</a:t>
            </a:r>
            <a:r>
              <a:rPr lang="nl-NL" dirty="0"/>
              <a:t>, cross-platform </a:t>
            </a:r>
            <a:r>
              <a:rPr lang="nl-NL" dirty="0" err="1"/>
              <a:t>application</a:t>
            </a:r>
            <a:r>
              <a:rPr lang="nl-NL" dirty="0"/>
              <a:t> </a:t>
            </a:r>
            <a:r>
              <a:rPr lang="nl-NL" dirty="0" err="1"/>
              <a:t>programming</a:t>
            </a:r>
            <a:r>
              <a:rPr lang="nl-NL" dirty="0"/>
              <a:t> interface (API) </a:t>
            </a:r>
            <a:r>
              <a:rPr lang="nl-NL" dirty="0" err="1"/>
              <a:t>for</a:t>
            </a:r>
            <a:r>
              <a:rPr lang="nl-NL" dirty="0"/>
              <a:t> </a:t>
            </a:r>
            <a:r>
              <a:rPr lang="nl-NL" dirty="0" err="1"/>
              <a:t>rendering</a:t>
            </a:r>
            <a:r>
              <a:rPr lang="nl-NL" dirty="0"/>
              <a:t> 2D </a:t>
            </a:r>
            <a:r>
              <a:rPr lang="nl-NL" dirty="0" err="1"/>
              <a:t>and</a:t>
            </a:r>
            <a:r>
              <a:rPr lang="nl-NL" dirty="0"/>
              <a:t> 3Dvector </a:t>
            </a:r>
            <a:r>
              <a:rPr lang="nl-NL" dirty="0" err="1"/>
              <a:t>graphics</a:t>
            </a:r>
            <a:r>
              <a:rPr lang="nl-NL" dirty="0"/>
              <a:t>. The API is </a:t>
            </a:r>
            <a:r>
              <a:rPr lang="nl-NL" dirty="0" err="1"/>
              <a:t>typically</a:t>
            </a:r>
            <a:r>
              <a:rPr lang="nl-NL" dirty="0"/>
              <a:t> </a:t>
            </a:r>
            <a:r>
              <a:rPr lang="nl-NL" dirty="0" err="1"/>
              <a:t>used</a:t>
            </a:r>
            <a:r>
              <a:rPr lang="nl-NL" dirty="0"/>
              <a:t>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interact</a:t>
            </a:r>
            <a:r>
              <a:rPr lang="nl-NL" dirty="0"/>
              <a:t> </a:t>
            </a:r>
            <a:r>
              <a:rPr lang="nl-NL" dirty="0" err="1"/>
              <a:t>with</a:t>
            </a:r>
            <a:r>
              <a:rPr lang="nl-NL" dirty="0"/>
              <a:t> a </a:t>
            </a:r>
            <a:r>
              <a:rPr lang="nl-NL" dirty="0" err="1"/>
              <a:t>graphics</a:t>
            </a:r>
            <a:r>
              <a:rPr lang="nl-NL" dirty="0"/>
              <a:t> processing unit (GPU),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chieve</a:t>
            </a:r>
            <a:r>
              <a:rPr lang="nl-NL" dirty="0"/>
              <a:t> hardware-</a:t>
            </a:r>
            <a:r>
              <a:rPr lang="nl-NL" dirty="0" err="1"/>
              <a:t>accelerated</a:t>
            </a:r>
            <a:r>
              <a:rPr lang="nl-NL" dirty="0"/>
              <a:t> </a:t>
            </a:r>
            <a:r>
              <a:rPr lang="nl-NL" dirty="0" err="1" smtClean="0"/>
              <a:t>rendering</a:t>
            </a:r>
            <a:r>
              <a:rPr lang="nl-NL" dirty="0" smtClean="0"/>
              <a:t>.</a:t>
            </a:r>
          </a:p>
          <a:p>
            <a:endParaRPr lang="nl-NL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 err="1" smtClean="0"/>
              <a:t>WebGL</a:t>
            </a:r>
            <a:r>
              <a:rPr lang="nl-NL" dirty="0" smtClean="0"/>
              <a:t> </a:t>
            </a:r>
            <a:r>
              <a:rPr lang="nl-NL" dirty="0" err="1" smtClean="0"/>
              <a:t>vs</a:t>
            </a:r>
            <a:r>
              <a:rPr lang="nl-NL" dirty="0" smtClean="0"/>
              <a:t> </a:t>
            </a:r>
            <a:r>
              <a:rPr lang="nl-NL" dirty="0" err="1" smtClean="0"/>
              <a:t>OpenGL</a:t>
            </a:r>
            <a:endParaRPr lang="nl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4</a:t>
            </a:fld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0583670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nl-NL" b="1" dirty="0" err="1" smtClean="0">
                <a:solidFill>
                  <a:schemeClr val="accent4"/>
                </a:solidFill>
              </a:rPr>
              <a:t>Examples</a:t>
            </a:r>
            <a:endParaRPr lang="nl-NL" b="1" dirty="0">
              <a:solidFill>
                <a:schemeClr val="accent4"/>
              </a:solidFill>
            </a:endParaRPr>
          </a:p>
          <a:p>
            <a:r>
              <a:rPr lang="nl-NL" dirty="0" smtClean="0">
                <a:hlinkClick r:id="rId2"/>
              </a:rPr>
              <a:t>http</a:t>
            </a:r>
            <a:r>
              <a:rPr lang="nl-NL" dirty="0">
                <a:hlinkClick r:id="rId2"/>
              </a:rPr>
              <a:t>://threejs.org/examples/#</a:t>
            </a:r>
            <a:r>
              <a:rPr lang="nl-NL" dirty="0" smtClean="0">
                <a:hlinkClick r:id="rId2"/>
              </a:rPr>
              <a:t>webgl_loader_collada_keyframe</a:t>
            </a:r>
          </a:p>
          <a:p>
            <a:r>
              <a:rPr lang="nl-NL" dirty="0" smtClean="0">
                <a:hlinkClick r:id="rId2"/>
              </a:rPr>
              <a:t>http</a:t>
            </a:r>
            <a:r>
              <a:rPr lang="nl-NL" dirty="0">
                <a:hlinkClick r:id="rId2"/>
              </a:rPr>
              <a:t>://threejs.org/examples/#</a:t>
            </a:r>
            <a:r>
              <a:rPr lang="nl-NL" dirty="0" smtClean="0">
                <a:hlinkClick r:id="rId2"/>
              </a:rPr>
              <a:t>webgl_animation_cloth</a:t>
            </a:r>
            <a:endParaRPr lang="nl-NL" dirty="0" smtClean="0"/>
          </a:p>
          <a:p>
            <a:r>
              <a:rPr lang="nl-NL" dirty="0">
                <a:hlinkClick r:id="rId3"/>
              </a:rPr>
              <a:t>http://threejs.org/examples/#</a:t>
            </a:r>
            <a:r>
              <a:rPr lang="nl-NL" dirty="0" smtClean="0">
                <a:hlinkClick r:id="rId3"/>
              </a:rPr>
              <a:t>webgl_postprocessing_dof2</a:t>
            </a:r>
            <a:endParaRPr lang="nl-NL" dirty="0" smtClean="0"/>
          </a:p>
          <a:p>
            <a:r>
              <a:rPr lang="nl-NL" dirty="0">
                <a:hlinkClick r:id="rId4"/>
              </a:rPr>
              <a:t>http://threejs.org/examples/#</a:t>
            </a:r>
            <a:r>
              <a:rPr lang="nl-NL" dirty="0" smtClean="0">
                <a:hlinkClick r:id="rId4"/>
              </a:rPr>
              <a:t>webgl_materials_video</a:t>
            </a:r>
            <a:endParaRPr lang="nl-NL" dirty="0" smtClean="0"/>
          </a:p>
          <a:p>
            <a:r>
              <a:rPr lang="nl-NL" dirty="0">
                <a:hlinkClick r:id="rId5"/>
              </a:rPr>
              <a:t>http://threejs.org/examples/#</a:t>
            </a:r>
            <a:r>
              <a:rPr lang="nl-NL" dirty="0" smtClean="0">
                <a:hlinkClick r:id="rId5"/>
              </a:rPr>
              <a:t>webgl_materials_cubemap_balls_reflection</a:t>
            </a:r>
            <a:endParaRPr lang="nl-NL" dirty="0" smtClean="0"/>
          </a:p>
          <a:p>
            <a:endParaRPr lang="nl-NL" dirty="0" smtClean="0"/>
          </a:p>
          <a:p>
            <a:r>
              <a:rPr lang="nl-NL" b="1" dirty="0" smtClean="0">
                <a:solidFill>
                  <a:schemeClr val="accent4"/>
                </a:solidFill>
              </a:rPr>
              <a:t>Real-life </a:t>
            </a:r>
            <a:r>
              <a:rPr lang="nl-NL" b="1" dirty="0" err="1" smtClean="0">
                <a:solidFill>
                  <a:schemeClr val="accent4"/>
                </a:solidFill>
              </a:rPr>
              <a:t>examples</a:t>
            </a:r>
            <a:endParaRPr lang="nl-NL" b="1" dirty="0">
              <a:solidFill>
                <a:schemeClr val="accent4"/>
              </a:solidFill>
            </a:endParaRPr>
          </a:p>
          <a:p>
            <a:r>
              <a:rPr lang="nl-NL" dirty="0" smtClean="0">
                <a:hlinkClick r:id="rId6"/>
              </a:rPr>
              <a:t>http</a:t>
            </a:r>
            <a:r>
              <a:rPr lang="nl-NL" dirty="0">
                <a:hlinkClick r:id="rId6"/>
              </a:rPr>
              <a:t>://eyes.nasa.gov/curiosity</a:t>
            </a:r>
            <a:r>
              <a:rPr lang="nl-NL" dirty="0" smtClean="0">
                <a:hlinkClick r:id="rId6"/>
              </a:rPr>
              <a:t>/</a:t>
            </a:r>
            <a:endParaRPr lang="nl-NL" dirty="0" smtClean="0"/>
          </a:p>
          <a:p>
            <a:r>
              <a:rPr lang="nl-NL" dirty="0" smtClean="0">
                <a:hlinkClick r:id="rId7"/>
              </a:rPr>
              <a:t>https://secured-static.greenpeace.org/russia/...</a:t>
            </a:r>
            <a:endParaRPr lang="nl-NL" dirty="0" smtClean="0"/>
          </a:p>
          <a:p>
            <a:endParaRPr lang="nl-NL" dirty="0" smtClean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 err="1" smtClean="0"/>
              <a:t>Examples</a:t>
            </a:r>
            <a:endParaRPr lang="nl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5</a:t>
            </a:fld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265247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nl-NL" dirty="0" smtClean="0"/>
              <a:t>Wat is een scene?</a:t>
            </a:r>
          </a:p>
          <a:p>
            <a:endParaRPr lang="nl-NL" dirty="0"/>
          </a:p>
          <a:p>
            <a:r>
              <a:rPr lang="nl-NL" dirty="0" smtClean="0"/>
              <a:t>De verzameling van alle objecten in de huidige bestaande 3d wereld.</a:t>
            </a:r>
          </a:p>
          <a:p>
            <a:endParaRPr lang="nl-NL" dirty="0" smtClean="0"/>
          </a:p>
          <a:p>
            <a:r>
              <a:rPr lang="nl-NL" dirty="0" smtClean="0"/>
              <a:t>Soorten objecten: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nl-NL" dirty="0" smtClean="0"/>
              <a:t>Camera’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nl-NL" dirty="0" err="1" smtClean="0"/>
              <a:t>Meshes</a:t>
            </a:r>
            <a:endParaRPr lang="nl-NL" dirty="0" smtClean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nl-NL" dirty="0" smtClean="0"/>
              <a:t>Lichten</a:t>
            </a:r>
            <a:endParaRPr lang="nl-NL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 smtClean="0"/>
              <a:t>Onderdelen van een scene</a:t>
            </a:r>
            <a:endParaRPr lang="nl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6</a:t>
            </a:fld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0675776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 err="1" smtClean="0"/>
              <a:t>Coordinate</a:t>
            </a:r>
            <a:r>
              <a:rPr lang="nl-NL" dirty="0" smtClean="0"/>
              <a:t> System</a:t>
            </a:r>
            <a:endParaRPr lang="nl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7</a:t>
            </a:fld>
            <a:endParaRPr lang="en-GB" noProof="0" dirty="0"/>
          </a:p>
        </p:txBody>
      </p:sp>
      <p:pic>
        <p:nvPicPr>
          <p:cNvPr id="12290" name="Picture 2" descr="http://www.cocos2d-x.org/attachments/download/156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04976" y="939801"/>
            <a:ext cx="6546420" cy="5397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1180020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 err="1" smtClean="0"/>
              <a:t>Vertices</a:t>
            </a:r>
            <a:r>
              <a:rPr lang="nl-NL" dirty="0" smtClean="0"/>
              <a:t> (</a:t>
            </a:r>
            <a:r>
              <a:rPr lang="nl-NL" dirty="0" err="1" smtClean="0"/>
              <a:t>Singular</a:t>
            </a:r>
            <a:r>
              <a:rPr lang="nl-NL" dirty="0" smtClean="0"/>
              <a:t>: Vertex)</a:t>
            </a:r>
            <a:endParaRPr lang="nl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8</a:t>
            </a:fld>
            <a:endParaRPr lang="en-GB" noProof="0" dirty="0"/>
          </a:p>
        </p:txBody>
      </p:sp>
      <p:pic>
        <p:nvPicPr>
          <p:cNvPr id="13314" name="Picture 2"/>
          <p:cNvPicPr>
            <a:picLocks noGrp="1" noChangeAspect="1" noChangeArrowheads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90738" y="1396206"/>
            <a:ext cx="5715000" cy="4686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1186429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 err="1" smtClean="0"/>
              <a:t>Triangles</a:t>
            </a:r>
            <a:r>
              <a:rPr lang="nl-NL" dirty="0" smtClean="0"/>
              <a:t> (tris)</a:t>
            </a:r>
            <a:endParaRPr lang="nl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9</a:t>
            </a:fld>
            <a:endParaRPr lang="en-GB" noProof="0" dirty="0"/>
          </a:p>
        </p:txBody>
      </p:sp>
      <p:pic>
        <p:nvPicPr>
          <p:cNvPr id="5122" name="Picture 2" descr="http://www.tutorialspoint.com/webgl/images/geometry.jpg"/>
          <p:cNvPicPr>
            <a:picLocks noGrp="1" noChangeAspect="1" noChangeArrowheads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61964" y="1277938"/>
            <a:ext cx="7972547" cy="49228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9265027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PRING_RESOURCE_PATHS_HASH_PRESENTER" val="98755fb961bcb85c763cf62196f86d8244fc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heme/theme1.xml><?xml version="1.0" encoding="utf-8"?>
<a:theme xmlns:a="http://schemas.openxmlformats.org/drawingml/2006/main" name="ING_PP_Template_16x9_ING_Me_Embedded">
  <a:themeElements>
    <a:clrScheme name="ING APRIL 2015">
      <a:dk1>
        <a:srgbClr val="333333"/>
      </a:dk1>
      <a:lt1>
        <a:sysClr val="window" lastClr="FFFFFF"/>
      </a:lt1>
      <a:dk2>
        <a:srgbClr val="FF6200"/>
      </a:dk2>
      <a:lt2>
        <a:srgbClr val="767676"/>
      </a:lt2>
      <a:accent1>
        <a:srgbClr val="FF6200"/>
      </a:accent1>
      <a:accent2>
        <a:srgbClr val="A8A8A8"/>
      </a:accent2>
      <a:accent3>
        <a:srgbClr val="525199"/>
      </a:accent3>
      <a:accent4>
        <a:srgbClr val="60A6DA"/>
      </a:accent4>
      <a:accent5>
        <a:srgbClr val="AB0066"/>
      </a:accent5>
      <a:accent6>
        <a:srgbClr val="D0D93C"/>
      </a:accent6>
      <a:hlink>
        <a:srgbClr val="525199"/>
      </a:hlink>
      <a:folHlink>
        <a:srgbClr val="AB0066"/>
      </a:folHlink>
    </a:clrScheme>
    <a:fontScheme name="ING ME">
      <a:majorFont>
        <a:latin typeface="ING Me"/>
        <a:ea typeface=""/>
        <a:cs typeface=""/>
      </a:majorFont>
      <a:minorFont>
        <a:latin typeface="ING Me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FF6200"/>
        </a:solidFill>
        <a:ln w="6350">
          <a:solidFill>
            <a:srgbClr val="FF6200"/>
          </a:solidFill>
        </a:ln>
      </a:spPr>
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<a:prstTxWarp prst="textNoShape">
          <a:avLst/>
        </a:prstTxWarp>
        <a:noAutofit/>
      </a:bodyPr>
      <a:lstStyle>
        <a:defPPr>
          <a:lnSpc>
            <a:spcPct val="90000"/>
          </a:lnSpc>
          <a:defRPr sz="160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rgbClr val="A8A8A8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36000" tIns="36000" rIns="36000" bIns="36000" rtlCol="0">
        <a:spAutoFit/>
      </a:bodyPr>
      <a:lstStyle>
        <a:defPPr>
          <a:defRPr sz="140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xmlns="" name="ING_PP_Template_16x9_08042015.potx" id="{6D084BF0-9966-4FDC-A0E8-0296637E5E37}" vid="{40DDC393-4B6B-4664-98B0-883141C8FD4C}"/>
    </a:ext>
  </a:extLst>
</a:theme>
</file>

<file path=ppt/theme/theme2.xml><?xml version="1.0" encoding="utf-8"?>
<a:theme xmlns:a="http://schemas.openxmlformats.org/drawingml/2006/main" name="Mck - Think fwd - act now _ Wide">
  <a:themeElements>
    <a:clrScheme name="Current">
      <a:dk1>
        <a:srgbClr val="000000"/>
      </a:dk1>
      <a:lt1>
        <a:srgbClr val="FFFFFF"/>
      </a:lt1>
      <a:dk2>
        <a:srgbClr val="FF6600"/>
      </a:dk2>
      <a:lt2>
        <a:srgbClr val="E9EEF6"/>
      </a:lt2>
      <a:accent1>
        <a:srgbClr val="C5C5C5"/>
      </a:accent1>
      <a:accent2>
        <a:srgbClr val="FFA500"/>
      </a:accent2>
      <a:accent3>
        <a:srgbClr val="FF6600"/>
      </a:accent3>
      <a:accent4>
        <a:srgbClr val="000056"/>
      </a:accent4>
      <a:accent5>
        <a:srgbClr val="E75C00"/>
      </a:accent5>
      <a:accent6>
        <a:srgbClr val="808080"/>
      </a:accent6>
      <a:hlink>
        <a:srgbClr val="FFA500"/>
      </a:hlink>
      <a:folHlink>
        <a:srgbClr val="000056"/>
      </a:folHlink>
    </a:clrScheme>
    <a:fontScheme name="McKJapanese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000000"/>
        </a:dk1>
        <a:lt1>
          <a:srgbClr val="FFFFFF"/>
        </a:lt1>
        <a:dk2>
          <a:srgbClr val="FF6600"/>
        </a:dk2>
        <a:lt2>
          <a:srgbClr val="E9EEF6"/>
        </a:lt2>
        <a:accent1>
          <a:srgbClr val="C5C5C5"/>
        </a:accent1>
        <a:accent2>
          <a:srgbClr val="FFA500"/>
        </a:accent2>
        <a:accent3>
          <a:srgbClr val="FF6600"/>
        </a:accent3>
        <a:accent4>
          <a:srgbClr val="000056"/>
        </a:accent4>
        <a:accent5>
          <a:srgbClr val="E75C00"/>
        </a:accent5>
        <a:accent6>
          <a:srgbClr val="808080"/>
        </a:accent6>
        <a:hlink>
          <a:srgbClr val="FFA500"/>
        </a:hlink>
        <a:folHlink>
          <a:srgbClr val="000056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1_ING_PP_Template_16x9_ING_Me_Embedded">
  <a:themeElements>
    <a:clrScheme name="ING APRIL 2015">
      <a:dk1>
        <a:srgbClr val="333333"/>
      </a:dk1>
      <a:lt1>
        <a:sysClr val="window" lastClr="FFFFFF"/>
      </a:lt1>
      <a:dk2>
        <a:srgbClr val="FF6200"/>
      </a:dk2>
      <a:lt2>
        <a:srgbClr val="767676"/>
      </a:lt2>
      <a:accent1>
        <a:srgbClr val="FF6200"/>
      </a:accent1>
      <a:accent2>
        <a:srgbClr val="A8A8A8"/>
      </a:accent2>
      <a:accent3>
        <a:srgbClr val="525199"/>
      </a:accent3>
      <a:accent4>
        <a:srgbClr val="60A6DA"/>
      </a:accent4>
      <a:accent5>
        <a:srgbClr val="AB0066"/>
      </a:accent5>
      <a:accent6>
        <a:srgbClr val="D0D93C"/>
      </a:accent6>
      <a:hlink>
        <a:srgbClr val="525199"/>
      </a:hlink>
      <a:folHlink>
        <a:srgbClr val="AB0066"/>
      </a:folHlink>
    </a:clrScheme>
    <a:fontScheme name="ING ME">
      <a:majorFont>
        <a:latin typeface="ING Me"/>
        <a:ea typeface=""/>
        <a:cs typeface=""/>
      </a:majorFont>
      <a:minorFont>
        <a:latin typeface="ING Me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FF6200"/>
        </a:solidFill>
        <a:ln w="6350">
          <a:solidFill>
            <a:srgbClr val="FF6200"/>
          </a:solidFill>
        </a:ln>
      </a:spPr>
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<a:prstTxWarp prst="textNoShape">
          <a:avLst/>
        </a:prstTxWarp>
        <a:noAutofit/>
      </a:bodyPr>
      <a:lstStyle>
        <a:defPPr>
          <a:lnSpc>
            <a:spcPct val="90000"/>
          </a:lnSpc>
          <a:defRPr sz="160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rgbClr val="A8A8A8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36000" tIns="36000" rIns="36000" bIns="36000" rtlCol="0">
        <a:spAutoFit/>
      </a:bodyPr>
      <a:lstStyle>
        <a:defPPr>
          <a:defRPr sz="140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xmlns="" name="ING_PP_Template_16x9_08042015.potx" id="{6D084BF0-9966-4FDC-A0E8-0296637E5E37}" vid="{40DDC393-4B6B-4664-98B0-883141C8FD4C}"/>
    </a:ext>
  </a:extLst>
</a:theme>
</file>

<file path=ppt/theme/theme4.xml><?xml version="1.0" encoding="utf-8"?>
<a:theme xmlns:a="http://schemas.openxmlformats.org/drawingml/2006/main" name="1_Mck - Think fwd - act now _ Wide">
  <a:themeElements>
    <a:clrScheme name="Current">
      <a:dk1>
        <a:srgbClr val="000000"/>
      </a:dk1>
      <a:lt1>
        <a:srgbClr val="FFFFFF"/>
      </a:lt1>
      <a:dk2>
        <a:srgbClr val="FF6600"/>
      </a:dk2>
      <a:lt2>
        <a:srgbClr val="E9EEF6"/>
      </a:lt2>
      <a:accent1>
        <a:srgbClr val="C5C5C5"/>
      </a:accent1>
      <a:accent2>
        <a:srgbClr val="FFA500"/>
      </a:accent2>
      <a:accent3>
        <a:srgbClr val="FF6600"/>
      </a:accent3>
      <a:accent4>
        <a:srgbClr val="000056"/>
      </a:accent4>
      <a:accent5>
        <a:srgbClr val="E75C00"/>
      </a:accent5>
      <a:accent6>
        <a:srgbClr val="808080"/>
      </a:accent6>
      <a:hlink>
        <a:srgbClr val="FFA500"/>
      </a:hlink>
      <a:folHlink>
        <a:srgbClr val="000056"/>
      </a:folHlink>
    </a:clrScheme>
    <a:fontScheme name="McKJapanese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000000"/>
        </a:dk1>
        <a:lt1>
          <a:srgbClr val="FFFFFF"/>
        </a:lt1>
        <a:dk2>
          <a:srgbClr val="FF6600"/>
        </a:dk2>
        <a:lt2>
          <a:srgbClr val="E9EEF6"/>
        </a:lt2>
        <a:accent1>
          <a:srgbClr val="C5C5C5"/>
        </a:accent1>
        <a:accent2>
          <a:srgbClr val="FFA500"/>
        </a:accent2>
        <a:accent3>
          <a:srgbClr val="FF6600"/>
        </a:accent3>
        <a:accent4>
          <a:srgbClr val="000056"/>
        </a:accent4>
        <a:accent5>
          <a:srgbClr val="E75C00"/>
        </a:accent5>
        <a:accent6>
          <a:srgbClr val="808080"/>
        </a:accent6>
        <a:hlink>
          <a:srgbClr val="FFA500"/>
        </a:hlink>
        <a:folHlink>
          <a:srgbClr val="000056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5.xml><?xml version="1.0" encoding="utf-8"?>
<a:theme xmlns:a="http://schemas.openxmlformats.org/drawingml/2006/main" name="2_ING_PP_Template_16x9_ING_Me_Embedded">
  <a:themeElements>
    <a:clrScheme name="ING APRIL 2015">
      <a:dk1>
        <a:srgbClr val="333333"/>
      </a:dk1>
      <a:lt1>
        <a:sysClr val="window" lastClr="FFFFFF"/>
      </a:lt1>
      <a:dk2>
        <a:srgbClr val="FF6200"/>
      </a:dk2>
      <a:lt2>
        <a:srgbClr val="767676"/>
      </a:lt2>
      <a:accent1>
        <a:srgbClr val="FF6200"/>
      </a:accent1>
      <a:accent2>
        <a:srgbClr val="A8A8A8"/>
      </a:accent2>
      <a:accent3>
        <a:srgbClr val="525199"/>
      </a:accent3>
      <a:accent4>
        <a:srgbClr val="60A6DA"/>
      </a:accent4>
      <a:accent5>
        <a:srgbClr val="AB0066"/>
      </a:accent5>
      <a:accent6>
        <a:srgbClr val="D0D93C"/>
      </a:accent6>
      <a:hlink>
        <a:srgbClr val="525199"/>
      </a:hlink>
      <a:folHlink>
        <a:srgbClr val="AB0066"/>
      </a:folHlink>
    </a:clrScheme>
    <a:fontScheme name="ING ME">
      <a:majorFont>
        <a:latin typeface="ING Me"/>
        <a:ea typeface=""/>
        <a:cs typeface=""/>
      </a:majorFont>
      <a:minorFont>
        <a:latin typeface="ING Me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FF6200"/>
        </a:solidFill>
        <a:ln w="6350">
          <a:solidFill>
            <a:srgbClr val="FF6200"/>
          </a:solidFill>
        </a:ln>
      </a:spPr>
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<a:prstTxWarp prst="textNoShape">
          <a:avLst/>
        </a:prstTxWarp>
        <a:noAutofit/>
      </a:bodyPr>
      <a:lstStyle>
        <a:defPPr>
          <a:lnSpc>
            <a:spcPct val="90000"/>
          </a:lnSpc>
          <a:defRPr sz="160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rgbClr val="A8A8A8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36000" tIns="36000" rIns="36000" bIns="36000" rtlCol="0">
        <a:spAutoFit/>
      </a:bodyPr>
      <a:lstStyle>
        <a:defPPr>
          <a:defRPr sz="1400" smtClean="0"/>
        </a:defPPr>
      </a:lstStyle>
    </a:txDef>
  </a:objectDefaults>
  <a:extraClrSchemeLst/>
  <a:extLst>
    <a:ext uri="{05A4C25C-085E-4340-85A3-A5531E510DB2}">
      <thm15:themeFamily xmlns="" xmlns:thm15="http://schemas.microsoft.com/office/thememl/2012/main" name="ING_PP_Template_16x9_08042015.potx" id="{6D084BF0-9966-4FDC-A0E8-0296637E5E37}" vid="{40DDC393-4B6B-4664-98B0-883141C8FD4C}"/>
    </a:ext>
  </a:extLst>
</a:theme>
</file>

<file path=ppt/theme/theme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ING ME">
      <a:majorFont>
        <a:latin typeface="ING Me"/>
        <a:ea typeface=""/>
        <a:cs typeface=""/>
      </a:majorFont>
      <a:minorFont>
        <a:latin typeface="ING Me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7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8B945356526C2B43A2CE667CA8BF87BF" ma:contentTypeVersion="1" ma:contentTypeDescription="Create a new document." ma:contentTypeScope="" ma:versionID="fee854732b468a7a1ce22056fc36b7a7">
  <xsd:schema xmlns:xsd="http://www.w3.org/2001/XMLSchema" xmlns:xs="http://www.w3.org/2001/XMLSchema" xmlns:p="http://schemas.microsoft.com/office/2006/metadata/properties" xmlns:ns1="http://schemas.microsoft.com/sharepoint/v3" targetNamespace="http://schemas.microsoft.com/office/2006/metadata/properties" ma:root="true" ma:fieldsID="a447206dab0015f8b9f8924535193e8c" ns1:_="">
    <xsd:import namespace="http://schemas.microsoft.com/sharepoint/v3"/>
    <xsd:element name="properties">
      <xsd:complexType>
        <xsd:sequence>
          <xsd:element name="documentManagement">
            <xsd:complexType>
              <xsd:all>
                <xsd:element ref="ns1:PublishingStartDate" minOccurs="0"/>
                <xsd:element ref="ns1:PublishingExpirationDat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PublishingStartDate" ma:index="8" nillable="true" ma:displayName="Scheduling Start Date" ma:description="" ma:hidden="true" ma:internalName="PublishingStartDate">
      <xsd:simpleType>
        <xsd:restriction base="dms:Unknown"/>
      </xsd:simpleType>
    </xsd:element>
    <xsd:element name="PublishingExpirationDate" ma:index="9" nillable="true" ma:displayName="Scheduling End Date" ma:description="" ma:hidden="true" ma:internalName="PublishingExpirationDate">
      <xsd:simpleType>
        <xsd:restriction base="dms:Unknown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PublishingExpirationDate xmlns="http://schemas.microsoft.com/sharepoint/v3" xsi:nil="true"/>
    <PublishingStartDate xmlns="http://schemas.microsoft.com/sharepoint/v3" xsi:nil="true"/>
  </documentManagement>
</p:properties>
</file>

<file path=customXml/itemProps1.xml><?xml version="1.0" encoding="utf-8"?>
<ds:datastoreItem xmlns:ds="http://schemas.openxmlformats.org/officeDocument/2006/customXml" ds:itemID="{2C84CDBF-5EAE-4640-B063-3824C655A9B2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1649D9FA-143E-418E-90EC-74A3CE19A3C1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6BAD22DE-37A7-423E-B4CE-B51818BC1129}">
  <ds:schemaRefs>
    <ds:schemaRef ds:uri="http://purl.org/dc/terms/"/>
    <ds:schemaRef ds:uri="http://www.w3.org/XML/1998/namespace"/>
    <ds:schemaRef ds:uri="http://purl.org/dc/dcmitype/"/>
    <ds:schemaRef ds:uri="http://schemas.microsoft.com/office/2006/metadata/properties"/>
    <ds:schemaRef ds:uri="http://schemas.microsoft.com/office/2006/documentManagement/types"/>
    <ds:schemaRef ds:uri="http://schemas.microsoft.com/office/infopath/2007/PartnerControls"/>
    <ds:schemaRef ds:uri="http://purl.org/dc/elements/1.1/"/>
    <ds:schemaRef ds:uri="http://schemas.openxmlformats.org/package/2006/metadata/core-properties"/>
    <ds:schemaRef ds:uri="http://schemas.microsoft.com/sharepoint/v3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ING_PP_Template_16x9_ING_Me_Embedded</Template>
  <TotalTime>0</TotalTime>
  <Words>534</Words>
  <Application>Microsoft Office PowerPoint</Application>
  <PresentationFormat>A4 Paper (210x297 mm)</PresentationFormat>
  <Paragraphs>196</Paragraphs>
  <Slides>35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5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5</vt:i4>
      </vt:variant>
    </vt:vector>
  </HeadingPairs>
  <TitlesOfParts>
    <vt:vector size="46" baseType="lpstr">
      <vt:lpstr>Arial</vt:lpstr>
      <vt:lpstr>ING Me</vt:lpstr>
      <vt:lpstr>Rockwell ING</vt:lpstr>
      <vt:lpstr>ＭＳ Ｐゴシック</vt:lpstr>
      <vt:lpstr>Arial Unicode MS</vt:lpstr>
      <vt:lpstr>ING_PP_Template_16x9_ING_Me_Embedded</vt:lpstr>
      <vt:lpstr>Mck - Think fwd - act now _ Wide</vt:lpstr>
      <vt:lpstr>1_ING_PP_Template_16x9_ING_Me_Embedded</vt:lpstr>
      <vt:lpstr>1_Mck - Think fwd - act now _ Wide</vt:lpstr>
      <vt:lpstr>2_ING_PP_Template_16x9_ING_Me_Embedded</vt:lpstr>
      <vt:lpstr>think-cell Slide</vt:lpstr>
      <vt:lpstr>WebGL: Introductie</vt:lpstr>
      <vt:lpstr>Doel Chapter Meetings</vt:lpstr>
      <vt:lpstr>WebGL</vt:lpstr>
      <vt:lpstr>WebGL vs OpenGL</vt:lpstr>
      <vt:lpstr>Examples</vt:lpstr>
      <vt:lpstr>Onderdelen van een scene</vt:lpstr>
      <vt:lpstr>Coordinate System</vt:lpstr>
      <vt:lpstr>Vertices (Singular: Vertex)</vt:lpstr>
      <vt:lpstr>Triangles (tris)</vt:lpstr>
      <vt:lpstr>Getting Started</vt:lpstr>
      <vt:lpstr>Getting Started</vt:lpstr>
      <vt:lpstr>Vertex order</vt:lpstr>
      <vt:lpstr>PowerPoint Presentation</vt:lpstr>
      <vt:lpstr>Vertices vs Vectors</vt:lpstr>
      <vt:lpstr>Transformations </vt:lpstr>
      <vt:lpstr>Transformations</vt:lpstr>
      <vt:lpstr>Matrices</vt:lpstr>
      <vt:lpstr>Global vs local coordinates</vt:lpstr>
      <vt:lpstr>Extra: Animation &amp; Movement</vt:lpstr>
      <vt:lpstr>Camera’s</vt:lpstr>
      <vt:lpstr>Viewport &amp; Frustum</vt:lpstr>
      <vt:lpstr>Camera Projections</vt:lpstr>
      <vt:lpstr>Meshes, Triangles (Tris), Edges</vt:lpstr>
      <vt:lpstr>Normals</vt:lpstr>
      <vt:lpstr>Lights</vt:lpstr>
      <vt:lpstr>Rendering Modes</vt:lpstr>
      <vt:lpstr>Materials</vt:lpstr>
      <vt:lpstr>Shaders - Lighting Types</vt:lpstr>
      <vt:lpstr>Shaders - Phong</vt:lpstr>
      <vt:lpstr>Textures</vt:lpstr>
      <vt:lpstr>U/V Coordinates</vt:lpstr>
      <vt:lpstr>Specular Maps</vt:lpstr>
      <vt:lpstr>Libraries en frameworks</vt:lpstr>
      <vt:lpstr>Next time</vt:lpstr>
      <vt:lpstr>Resources &amp; Tutorials</vt:lpstr>
    </vt:vector>
  </TitlesOfParts>
  <Company>ING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esentatie</dc:title>
  <dc:creator>Klopper, S.H. (Sander)</dc:creator>
  <cp:keywords>ING Me Embedded, Template 16x9</cp:keywords>
  <cp:lastModifiedBy>Brand, J. (Jesse)</cp:lastModifiedBy>
  <cp:revision>85</cp:revision>
  <dcterms:created xsi:type="dcterms:W3CDTF">2015-10-23T07:10:09Z</dcterms:created>
  <dcterms:modified xsi:type="dcterms:W3CDTF">2016-05-17T14:44:3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8B945356526C2B43A2CE667CA8BF87BF</vt:lpwstr>
  </property>
</Properties>
</file>